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mp4" ContentType="video/mp4"/>
  <Default Extension="png" ContentType="image/png"/>
  <Default Extension="rels" ContentType="application/vnd.openxmlformats-package.relationships+xml"/>
  <Default Extension="svg" ContentType="image/svg+xml"/>
  <Default Extension="tiff" ContentType="image/tiff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notesSlides/notesSlide8.xml" ContentType="application/vnd.openxmlformats-officedocument.presentationml.notesSlide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notesSlides/notesSlide9.xml" ContentType="application/vnd.openxmlformats-officedocument.presentationml.notesSlide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diagrams/data6.xml" ContentType="application/vnd.openxmlformats-officedocument.drawingml.diagramData+xml"/>
  <Override PartName="/ppt/diagrams/layout6.xml" ContentType="application/vnd.openxmlformats-officedocument.drawingml.diagramLayout+xml"/>
  <Override PartName="/ppt/diagrams/quickStyle6.xml" ContentType="application/vnd.openxmlformats-officedocument.drawingml.diagramStyle+xml"/>
  <Override PartName="/ppt/diagrams/colors6.xml" ContentType="application/vnd.openxmlformats-officedocument.drawingml.diagramColors+xml"/>
  <Override PartName="/ppt/diagrams/drawing6.xml" ContentType="application/vnd.ms-office.drawingml.diagramDrawing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notesSlides/notesSlide12.xml" ContentType="application/vnd.openxmlformats-officedocument.presentationml.notesSlide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notesSlides/notesSlide13.xml" ContentType="application/vnd.openxmlformats-officedocument.presentationml.notesSlide+xml"/>
  <Override PartName="/ppt/diagrams/data7.xml" ContentType="application/vnd.openxmlformats-officedocument.drawingml.diagramData+xml"/>
  <Override PartName="/ppt/diagrams/layout7.xml" ContentType="application/vnd.openxmlformats-officedocument.drawingml.diagramLayout+xml"/>
  <Override PartName="/ppt/diagrams/quickStyle7.xml" ContentType="application/vnd.openxmlformats-officedocument.drawingml.diagramStyle+xml"/>
  <Override PartName="/ppt/diagrams/colors7.xml" ContentType="application/vnd.openxmlformats-officedocument.drawingml.diagramColors+xml"/>
  <Override PartName="/ppt/diagrams/drawing7.xml" ContentType="application/vnd.ms-office.drawingml.diagramDrawing+xml"/>
  <Override PartName="/ppt/diagrams/data8.xml" ContentType="application/vnd.openxmlformats-officedocument.drawingml.diagramData+xml"/>
  <Override PartName="/ppt/diagrams/layout8.xml" ContentType="application/vnd.openxmlformats-officedocument.drawingml.diagramLayout+xml"/>
  <Override PartName="/ppt/diagrams/quickStyle8.xml" ContentType="application/vnd.openxmlformats-officedocument.drawingml.diagramStyle+xml"/>
  <Override PartName="/ppt/diagrams/colors8.xml" ContentType="application/vnd.openxmlformats-officedocument.drawingml.diagramColors+xml"/>
  <Override PartName="/ppt/diagrams/drawing8.xml" ContentType="application/vnd.ms-office.drawingml.diagramDrawing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diagrams/data9.xml" ContentType="application/vnd.openxmlformats-officedocument.drawingml.diagramData+xml"/>
  <Override PartName="/ppt/diagrams/layout9.xml" ContentType="application/vnd.openxmlformats-officedocument.drawingml.diagramLayout+xml"/>
  <Override PartName="/ppt/diagrams/quickStyle9.xml" ContentType="application/vnd.openxmlformats-officedocument.drawingml.diagramStyle+xml"/>
  <Override PartName="/ppt/diagrams/colors9.xml" ContentType="application/vnd.openxmlformats-officedocument.drawingml.diagramColors+xml"/>
  <Override PartName="/ppt/diagrams/drawing9.xml" ContentType="application/vnd.ms-office.drawingml.diagramDrawing+xml"/>
  <Override PartName="/ppt/diagrams/data10.xml" ContentType="application/vnd.openxmlformats-officedocument.drawingml.diagramData+xml"/>
  <Override PartName="/ppt/diagrams/layout10.xml" ContentType="application/vnd.openxmlformats-officedocument.drawingml.diagramLayout+xml"/>
  <Override PartName="/ppt/diagrams/quickStyle10.xml" ContentType="application/vnd.openxmlformats-officedocument.drawingml.diagramStyle+xml"/>
  <Override PartName="/ppt/diagrams/colors10.xml" ContentType="application/vnd.openxmlformats-officedocument.drawingml.diagramColors+xml"/>
  <Override PartName="/ppt/diagrams/drawing10.xml" ContentType="application/vnd.ms-office.drawingml.diagramDrawing+xml"/>
  <Override PartName="/ppt/notesSlides/notesSlide19.xml" ContentType="application/vnd.openxmlformats-officedocument.presentationml.notesSlide+xml"/>
  <Override PartName="/ppt/diagrams/data11.xml" ContentType="application/vnd.openxmlformats-officedocument.drawingml.diagramData+xml"/>
  <Override PartName="/ppt/diagrams/layout11.xml" ContentType="application/vnd.openxmlformats-officedocument.drawingml.diagramLayout+xml"/>
  <Override PartName="/ppt/diagrams/quickStyle11.xml" ContentType="application/vnd.openxmlformats-officedocument.drawingml.diagramStyle+xml"/>
  <Override PartName="/ppt/diagrams/colors11.xml" ContentType="application/vnd.openxmlformats-officedocument.drawingml.diagramColors+xml"/>
  <Override PartName="/ppt/diagrams/drawing11.xml" ContentType="application/vnd.ms-office.drawingml.diagramDrawing+xml"/>
  <Override PartName="/ppt/diagrams/data12.xml" ContentType="application/vnd.openxmlformats-officedocument.drawingml.diagramData+xml"/>
  <Override PartName="/ppt/diagrams/layout12.xml" ContentType="application/vnd.openxmlformats-officedocument.drawingml.diagramLayout+xml"/>
  <Override PartName="/ppt/diagrams/quickStyle12.xml" ContentType="application/vnd.openxmlformats-officedocument.drawingml.diagramStyle+xml"/>
  <Override PartName="/ppt/diagrams/colors12.xml" ContentType="application/vnd.openxmlformats-officedocument.drawingml.diagramColors+xml"/>
  <Override PartName="/ppt/diagrams/drawing12.xml" ContentType="application/vnd.ms-office.drawingml.diagramDrawing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notesSlides/notesSlide20.xml" ContentType="application/vnd.openxmlformats-officedocument.presentationml.notesSlide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notesSlides/notesSlide2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3"/>
  </p:sldMasterIdLst>
  <p:notesMasterIdLst>
    <p:notesMasterId r:id="rId57"/>
  </p:notesMasterIdLst>
  <p:handoutMasterIdLst>
    <p:handoutMasterId r:id="rId58"/>
  </p:handoutMasterIdLst>
  <p:sldIdLst>
    <p:sldId id="334" r:id="rId4"/>
    <p:sldId id="515" r:id="rId5"/>
    <p:sldId id="342" r:id="rId6"/>
    <p:sldId id="336" r:id="rId7"/>
    <p:sldId id="341" r:id="rId8"/>
    <p:sldId id="346" r:id="rId9"/>
    <p:sldId id="559" r:id="rId10"/>
    <p:sldId id="371" r:id="rId11"/>
    <p:sldId id="366" r:id="rId12"/>
    <p:sldId id="377" r:id="rId13"/>
    <p:sldId id="561" r:id="rId14"/>
    <p:sldId id="555" r:id="rId15"/>
    <p:sldId id="554" r:id="rId16"/>
    <p:sldId id="557" r:id="rId17"/>
    <p:sldId id="339" r:id="rId18"/>
    <p:sldId id="433" r:id="rId19"/>
    <p:sldId id="442" r:id="rId20"/>
    <p:sldId id="437" r:id="rId21"/>
    <p:sldId id="438" r:id="rId22"/>
    <p:sldId id="439" r:id="rId23"/>
    <p:sldId id="562" r:id="rId24"/>
    <p:sldId id="383" r:id="rId25"/>
    <p:sldId id="387" r:id="rId26"/>
    <p:sldId id="361" r:id="rId27"/>
    <p:sldId id="392" r:id="rId28"/>
    <p:sldId id="538" r:id="rId29"/>
    <p:sldId id="537" r:id="rId30"/>
    <p:sldId id="540" r:id="rId31"/>
    <p:sldId id="563" r:id="rId32"/>
    <p:sldId id="405" r:id="rId33"/>
    <p:sldId id="402" r:id="rId34"/>
    <p:sldId id="542" r:id="rId35"/>
    <p:sldId id="398" r:id="rId36"/>
    <p:sldId id="545" r:id="rId37"/>
    <p:sldId id="395" r:id="rId38"/>
    <p:sldId id="548" r:id="rId39"/>
    <p:sldId id="551" r:id="rId40"/>
    <p:sldId id="567" r:id="rId41"/>
    <p:sldId id="496" r:id="rId42"/>
    <p:sldId id="564" r:id="rId43"/>
    <p:sldId id="396" r:id="rId44"/>
    <p:sldId id="410" r:id="rId45"/>
    <p:sldId id="385" r:id="rId46"/>
    <p:sldId id="411" r:id="rId47"/>
    <p:sldId id="565" r:id="rId48"/>
    <p:sldId id="566" r:id="rId49"/>
    <p:sldId id="370" r:id="rId50"/>
    <p:sldId id="422" r:id="rId51"/>
    <p:sldId id="500" r:id="rId52"/>
    <p:sldId id="502" r:id="rId53"/>
    <p:sldId id="510" r:id="rId54"/>
    <p:sldId id="514" r:id="rId55"/>
    <p:sldId id="558" r:id="rId56"/>
  </p:sldIdLst>
  <p:sldSz cx="12192000" cy="6858000"/>
  <p:notesSz cx="6858000" cy="9144000"/>
  <p:custDataLst>
    <p:tags r:id="rId59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tandardabschnitt" id="{BE406C35-8C1D-4C50-814B-71A4C036F86F}">
          <p14:sldIdLst>
            <p14:sldId id="334"/>
            <p14:sldId id="515"/>
            <p14:sldId id="342"/>
            <p14:sldId id="336"/>
            <p14:sldId id="341"/>
            <p14:sldId id="346"/>
            <p14:sldId id="559"/>
            <p14:sldId id="371"/>
          </p14:sldIdLst>
        </p14:section>
        <p14:section name="Datensatz" id="{1A2C2496-2061-46EF-AF71-0484BDA97C9B}">
          <p14:sldIdLst>
            <p14:sldId id="366"/>
            <p14:sldId id="377"/>
          </p14:sldIdLst>
        </p14:section>
        <p14:section name="Single Network" id="{E50C6FB9-E8B6-4045-BD6F-643545B5AF09}">
          <p14:sldIdLst>
            <p14:sldId id="561"/>
            <p14:sldId id="555"/>
            <p14:sldId id="554"/>
            <p14:sldId id="557"/>
            <p14:sldId id="339"/>
            <p14:sldId id="433"/>
            <p14:sldId id="442"/>
            <p14:sldId id="437"/>
            <p14:sldId id="438"/>
            <p14:sldId id="439"/>
          </p14:sldIdLst>
        </p14:section>
        <p14:section name="Mutli-Network" id="{3467FC57-9B74-42A2-B232-B8D8EE3C5EB9}">
          <p14:sldIdLst>
            <p14:sldId id="562"/>
            <p14:sldId id="383"/>
            <p14:sldId id="387"/>
            <p14:sldId id="361"/>
            <p14:sldId id="392"/>
            <p14:sldId id="538"/>
            <p14:sldId id="537"/>
            <p14:sldId id="540"/>
          </p14:sldIdLst>
        </p14:section>
        <p14:section name="Ensembles" id="{BBB21DAC-9994-4CFE-B8B7-AD24B9CFD6FD}">
          <p14:sldIdLst>
            <p14:sldId id="563"/>
            <p14:sldId id="405"/>
            <p14:sldId id="402"/>
            <p14:sldId id="542"/>
            <p14:sldId id="398"/>
            <p14:sldId id="545"/>
            <p14:sldId id="395"/>
            <p14:sldId id="548"/>
            <p14:sldId id="551"/>
            <p14:sldId id="567"/>
            <p14:sldId id="496"/>
          </p14:sldIdLst>
        </p14:section>
        <p14:section name="Datensatz" id="{E12F5EAD-F257-42A9-92D1-7295F464A42C}">
          <p14:sldIdLst>
            <p14:sldId id="564"/>
            <p14:sldId id="396"/>
            <p14:sldId id="410"/>
            <p14:sldId id="385"/>
            <p14:sldId id="411"/>
          </p14:sldIdLst>
        </p14:section>
        <p14:section name="W-Netz" id="{719DBE97-A058-4B19-BA18-AD4CC6DE5F72}">
          <p14:sldIdLst>
            <p14:sldId id="565"/>
            <p14:sldId id="566"/>
            <p14:sldId id="370"/>
            <p14:sldId id="422"/>
            <p14:sldId id="500"/>
            <p14:sldId id="502"/>
          </p14:sldIdLst>
        </p14:section>
        <p14:section name="Ausblick" id="{C75B84E0-9992-4A94-8115-3CA24A1F8BDA}">
          <p14:sldIdLst>
            <p14:sldId id="510"/>
            <p14:sldId id="514"/>
            <p14:sldId id="558"/>
          </p14:sldIdLst>
        </p14:section>
        <p14:section name="rest" id="{005A5BAA-3B18-4724-B27F-EDF75CF9EC48}">
          <p14:sldIdLst/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000000"/>
    <a:srgbClr val="3F6672"/>
    <a:srgbClr val="E1E4E8"/>
    <a:srgbClr val="99BDCC"/>
    <a:srgbClr val="023D4A"/>
    <a:srgbClr val="8DA0A8"/>
    <a:srgbClr val="5B7583"/>
    <a:srgbClr val="FF9900"/>
    <a:srgbClr val="00779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C083E6E3-FA7D-4D7B-A595-EF9225AFEA82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C083E6E3-FA7D-4D7B-A595-EF9225AFEA82}" styleName="Helle Formatvorlage 1 - Akz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831" autoAdjust="0"/>
    <p:restoredTop sz="78844" autoAdjust="0"/>
  </p:normalViewPr>
  <p:slideViewPr>
    <p:cSldViewPr snapToGrid="0" showGuides="1">
      <p:cViewPr varScale="1">
        <p:scale>
          <a:sx n="99" d="100"/>
          <a:sy n="99" d="100"/>
        </p:scale>
        <p:origin x="1584" y="184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25" d="100"/>
        <a:sy n="125" d="100"/>
      </p:scale>
      <p:origin x="0" y="0"/>
    </p:cViewPr>
  </p:notesTextViewPr>
  <p:sorterViewPr>
    <p:cViewPr varScale="1">
      <p:scale>
        <a:sx n="100" d="100"/>
        <a:sy n="100" d="100"/>
      </p:scale>
      <p:origin x="0" y="-8670"/>
    </p:cViewPr>
  </p:sorterViewPr>
  <p:notesViewPr>
    <p:cSldViewPr snapToGrid="0">
      <p:cViewPr varScale="1">
        <p:scale>
          <a:sx n="80" d="100"/>
          <a:sy n="80" d="100"/>
        </p:scale>
        <p:origin x="2874" y="10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26" Type="http://schemas.openxmlformats.org/officeDocument/2006/relationships/slide" Target="slides/slide23.xml"/><Relationship Id="rId39" Type="http://schemas.openxmlformats.org/officeDocument/2006/relationships/slide" Target="slides/slide36.xml"/><Relationship Id="rId21" Type="http://schemas.openxmlformats.org/officeDocument/2006/relationships/slide" Target="slides/slide18.xml"/><Relationship Id="rId34" Type="http://schemas.openxmlformats.org/officeDocument/2006/relationships/slide" Target="slides/slide31.xml"/><Relationship Id="rId42" Type="http://schemas.openxmlformats.org/officeDocument/2006/relationships/slide" Target="slides/slide39.xml"/><Relationship Id="rId47" Type="http://schemas.openxmlformats.org/officeDocument/2006/relationships/slide" Target="slides/slide44.xml"/><Relationship Id="rId50" Type="http://schemas.openxmlformats.org/officeDocument/2006/relationships/slide" Target="slides/slide47.xml"/><Relationship Id="rId55" Type="http://schemas.openxmlformats.org/officeDocument/2006/relationships/slide" Target="slides/slide52.xml"/><Relationship Id="rId63" Type="http://schemas.openxmlformats.org/officeDocument/2006/relationships/tableStyles" Target="tableStyles.xml"/><Relationship Id="rId7" Type="http://schemas.openxmlformats.org/officeDocument/2006/relationships/slide" Target="slides/slide4.xml"/><Relationship Id="rId2" Type="http://schemas.openxmlformats.org/officeDocument/2006/relationships/customXml" Target="../customXml/item2.xml"/><Relationship Id="rId16" Type="http://schemas.openxmlformats.org/officeDocument/2006/relationships/slide" Target="slides/slide13.xml"/><Relationship Id="rId29" Type="http://schemas.openxmlformats.org/officeDocument/2006/relationships/slide" Target="slides/slide26.xml"/><Relationship Id="rId11" Type="http://schemas.openxmlformats.org/officeDocument/2006/relationships/slide" Target="slides/slide8.xml"/><Relationship Id="rId24" Type="http://schemas.openxmlformats.org/officeDocument/2006/relationships/slide" Target="slides/slide21.xml"/><Relationship Id="rId32" Type="http://schemas.openxmlformats.org/officeDocument/2006/relationships/slide" Target="slides/slide29.xml"/><Relationship Id="rId37" Type="http://schemas.openxmlformats.org/officeDocument/2006/relationships/slide" Target="slides/slide34.xml"/><Relationship Id="rId40" Type="http://schemas.openxmlformats.org/officeDocument/2006/relationships/slide" Target="slides/slide37.xml"/><Relationship Id="rId45" Type="http://schemas.openxmlformats.org/officeDocument/2006/relationships/slide" Target="slides/slide42.xml"/><Relationship Id="rId53" Type="http://schemas.openxmlformats.org/officeDocument/2006/relationships/slide" Target="slides/slide50.xml"/><Relationship Id="rId58" Type="http://schemas.openxmlformats.org/officeDocument/2006/relationships/handoutMaster" Target="handoutMasters/handoutMaster1.xml"/><Relationship Id="rId5" Type="http://schemas.openxmlformats.org/officeDocument/2006/relationships/slide" Target="slides/slide2.xml"/><Relationship Id="rId61" Type="http://schemas.openxmlformats.org/officeDocument/2006/relationships/viewProps" Target="viewProps.xml"/><Relationship Id="rId19" Type="http://schemas.openxmlformats.org/officeDocument/2006/relationships/slide" Target="slides/slide16.xml"/><Relationship Id="rId14" Type="http://schemas.openxmlformats.org/officeDocument/2006/relationships/slide" Target="slides/slide11.xml"/><Relationship Id="rId22" Type="http://schemas.openxmlformats.org/officeDocument/2006/relationships/slide" Target="slides/slide19.xml"/><Relationship Id="rId27" Type="http://schemas.openxmlformats.org/officeDocument/2006/relationships/slide" Target="slides/slide24.xml"/><Relationship Id="rId30" Type="http://schemas.openxmlformats.org/officeDocument/2006/relationships/slide" Target="slides/slide27.xml"/><Relationship Id="rId35" Type="http://schemas.openxmlformats.org/officeDocument/2006/relationships/slide" Target="slides/slide32.xml"/><Relationship Id="rId43" Type="http://schemas.openxmlformats.org/officeDocument/2006/relationships/slide" Target="slides/slide40.xml"/><Relationship Id="rId48" Type="http://schemas.openxmlformats.org/officeDocument/2006/relationships/slide" Target="slides/slide45.xml"/><Relationship Id="rId56" Type="http://schemas.openxmlformats.org/officeDocument/2006/relationships/slide" Target="slides/slide53.xml"/><Relationship Id="rId8" Type="http://schemas.openxmlformats.org/officeDocument/2006/relationships/slide" Target="slides/slide5.xml"/><Relationship Id="rId51" Type="http://schemas.openxmlformats.org/officeDocument/2006/relationships/slide" Target="slides/slide48.xml"/><Relationship Id="rId3" Type="http://schemas.openxmlformats.org/officeDocument/2006/relationships/slideMaster" Target="slideMasters/slideMaster1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slide" Target="slides/slide22.xml"/><Relationship Id="rId33" Type="http://schemas.openxmlformats.org/officeDocument/2006/relationships/slide" Target="slides/slide30.xml"/><Relationship Id="rId38" Type="http://schemas.openxmlformats.org/officeDocument/2006/relationships/slide" Target="slides/slide35.xml"/><Relationship Id="rId46" Type="http://schemas.openxmlformats.org/officeDocument/2006/relationships/slide" Target="slides/slide43.xml"/><Relationship Id="rId59" Type="http://schemas.openxmlformats.org/officeDocument/2006/relationships/tags" Target="tags/tag1.xml"/><Relationship Id="rId20" Type="http://schemas.openxmlformats.org/officeDocument/2006/relationships/slide" Target="slides/slide17.xml"/><Relationship Id="rId41" Type="http://schemas.openxmlformats.org/officeDocument/2006/relationships/slide" Target="slides/slide38.xml"/><Relationship Id="rId54" Type="http://schemas.openxmlformats.org/officeDocument/2006/relationships/slide" Target="slides/slide51.xml"/><Relationship Id="rId62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3.xml"/><Relationship Id="rId15" Type="http://schemas.openxmlformats.org/officeDocument/2006/relationships/slide" Target="slides/slide12.xml"/><Relationship Id="rId23" Type="http://schemas.openxmlformats.org/officeDocument/2006/relationships/slide" Target="slides/slide20.xml"/><Relationship Id="rId28" Type="http://schemas.openxmlformats.org/officeDocument/2006/relationships/slide" Target="slides/slide25.xml"/><Relationship Id="rId36" Type="http://schemas.openxmlformats.org/officeDocument/2006/relationships/slide" Target="slides/slide33.xml"/><Relationship Id="rId49" Type="http://schemas.openxmlformats.org/officeDocument/2006/relationships/slide" Target="slides/slide46.xml"/><Relationship Id="rId57" Type="http://schemas.openxmlformats.org/officeDocument/2006/relationships/notesMaster" Target="notesMasters/notesMaster1.xml"/><Relationship Id="rId10" Type="http://schemas.openxmlformats.org/officeDocument/2006/relationships/slide" Target="slides/slide7.xml"/><Relationship Id="rId31" Type="http://schemas.openxmlformats.org/officeDocument/2006/relationships/slide" Target="slides/slide28.xml"/><Relationship Id="rId44" Type="http://schemas.openxmlformats.org/officeDocument/2006/relationships/slide" Target="slides/slide41.xml"/><Relationship Id="rId52" Type="http://schemas.openxmlformats.org/officeDocument/2006/relationships/slide" Target="slides/slide49.xml"/><Relationship Id="rId60" Type="http://schemas.openxmlformats.org/officeDocument/2006/relationships/presProps" Target="presProps.xml"/><Relationship Id="rId4" Type="http://schemas.openxmlformats.org/officeDocument/2006/relationships/slide" Target="slides/slide1.xml"/><Relationship Id="rId9" Type="http://schemas.openxmlformats.org/officeDocument/2006/relationships/slide" Target="slides/slide6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0"/>
          <c:order val="0"/>
          <c:tx>
            <c:strRef>
              <c:f>Tabelle1!$B$1</c:f>
              <c:strCache>
                <c:ptCount val="1"/>
                <c:pt idx="0">
                  <c:v>Aufteilung der Daten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>
                <a:noFill/>
              </a:ln>
              <a:effectLst>
                <a:outerShdw blurRad="254000" sx="102000" sy="102000" algn="ctr" rotWithShape="0">
                  <a:prstClr val="black">
                    <a:alpha val="2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1-464D-40C5-9CA8-D8613481A68F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>
                <a:noFill/>
              </a:ln>
              <a:effectLst>
                <a:outerShdw blurRad="254000" sx="102000" sy="102000" algn="ctr" rotWithShape="0">
                  <a:prstClr val="black">
                    <a:alpha val="2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3-464D-40C5-9CA8-D8613481A68F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>
                <a:noFill/>
              </a:ln>
              <a:effectLst>
                <a:outerShdw blurRad="254000" sx="102000" sy="102000" algn="ctr" rotWithShape="0">
                  <a:prstClr val="black">
                    <a:alpha val="2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5-464D-40C5-9CA8-D8613481A68F}"/>
              </c:ext>
            </c:extLst>
          </c:dPt>
          <c:dLbls>
            <c:spPr>
              <a:pattFill prst="pct75">
                <a:fgClr>
                  <a:schemeClr val="dk1">
                    <a:lumMod val="75000"/>
                    <a:lumOff val="25000"/>
                  </a:schemeClr>
                </a:fgClr>
                <a:bgClr>
                  <a:schemeClr val="dk1">
                    <a:lumMod val="65000"/>
                    <a:lumOff val="35000"/>
                  </a:schemeClr>
                </a:bgClr>
              </a:patt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330" b="1" i="0" u="none" strike="noStrike" kern="1200" baseline="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pPr>
                <a:endParaRPr lang="en-DE"/>
              </a:p>
            </c:txPr>
            <c:dLblPos val="ctr"/>
            <c:showLegendKey val="0"/>
            <c:showVal val="0"/>
            <c:showCatName val="0"/>
            <c:showSerName val="0"/>
            <c:showPercent val="1"/>
            <c:showBubbleSize val="0"/>
            <c:showLeaderLines val="1"/>
            <c:leaderLines>
              <c:spPr>
                <a:ln w="9525">
                  <a:solidFill>
                    <a:schemeClr val="dk1">
                      <a:lumMod val="50000"/>
                      <a:lumOff val="50000"/>
                    </a:schemeClr>
                  </a:solidFill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Tabelle1!$A$2:$A$4</c:f>
              <c:strCache>
                <c:ptCount val="3"/>
                <c:pt idx="0">
                  <c:v>Training</c:v>
                </c:pt>
                <c:pt idx="1">
                  <c:v>Validierung</c:v>
                </c:pt>
                <c:pt idx="2">
                  <c:v>Test</c:v>
                </c:pt>
              </c:strCache>
            </c:strRef>
          </c:cat>
          <c:val>
            <c:numRef>
              <c:f>Tabelle1!$B$2:$B$4</c:f>
              <c:numCache>
                <c:formatCode>General</c:formatCode>
                <c:ptCount val="3"/>
                <c:pt idx="0">
                  <c:v>4611</c:v>
                </c:pt>
                <c:pt idx="1">
                  <c:v>1431</c:v>
                </c:pt>
                <c:pt idx="2">
                  <c:v>131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464D-40C5-9CA8-D8613481A68F}"/>
            </c:ext>
          </c:extLst>
        </c:ser>
        <c:dLbls>
          <c:dLblPos val="ctr"/>
          <c:showLegendKey val="0"/>
          <c:showVal val="0"/>
          <c:showCatName val="0"/>
          <c:showSerName val="0"/>
          <c:showPercent val="1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r"/>
      <c:overlay val="0"/>
      <c:spPr>
        <a:solidFill>
          <a:schemeClr val="bg1"/>
        </a:solidFill>
        <a:ln>
          <a:solidFill>
            <a:schemeClr val="bg1"/>
          </a:solidFill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00" b="0" i="0" u="none" strike="noStrike" kern="1200" baseline="0">
              <a:solidFill>
                <a:schemeClr val="dk1">
                  <a:lumMod val="75000"/>
                  <a:lumOff val="25000"/>
                </a:schemeClr>
              </a:solidFill>
              <a:latin typeface="+mn-lt"/>
              <a:ea typeface="+mn-ea"/>
              <a:cs typeface="+mn-cs"/>
            </a:defRPr>
          </a:pPr>
          <a:endParaRPr lang="en-DE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solidFill>
      <a:schemeClr val="bg1"/>
    </a:solidFill>
    <a:ln w="9525" cap="flat" cmpd="sng" algn="ctr">
      <a:solidFill>
        <a:schemeClr val="bg1"/>
      </a:solidFill>
      <a:round/>
    </a:ln>
    <a:effectLst/>
  </c:spPr>
  <c:txPr>
    <a:bodyPr/>
    <a:lstStyle/>
    <a:p>
      <a:pPr>
        <a:defRPr/>
      </a:pPr>
      <a:endParaRPr lang="en-DE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53">
  <cs:axisTitle>
    <cs:lnRef idx="0"/>
    <cs:fillRef idx="0"/>
    <cs:effectRef idx="0"/>
    <cs:fontRef idx="minor">
      <a:schemeClr val="dk1">
        <a:lumMod val="75000"/>
        <a:lumOff val="25000"/>
      </a:schemeClr>
    </cs:fontRef>
    <cs:defRPr sz="1197" b="1" kern="1200"/>
  </cs:axisTitle>
  <cs:categoryAxis>
    <cs:lnRef idx="0"/>
    <cs:fillRef idx="0"/>
    <cs:effectRef idx="0"/>
    <cs:fontRef idx="minor">
      <a:schemeClr val="dk1">
        <a:lumMod val="75000"/>
        <a:lumOff val="25000"/>
      </a:schemeClr>
    </cs:fontRef>
    <cs:spPr>
      <a:ln w="19050" cap="flat" cmpd="sng" algn="ctr">
        <a:solidFill>
          <a:schemeClr val="dk1">
            <a:lumMod val="75000"/>
            <a:lumOff val="25000"/>
          </a:schemeClr>
        </a:solidFill>
        <a:round/>
      </a:ln>
    </cs:spPr>
    <cs:defRPr sz="1197" kern="1200" cap="all" baseline="0"/>
  </cs:categoryAxis>
  <cs:chartArea>
    <cs:lnRef idx="0"/>
    <cs:fillRef idx="0"/>
    <cs:effectRef idx="0"/>
    <cs:fontRef idx="minor">
      <a:schemeClr val="dk1"/>
    </cs:fontRef>
    <cs:spPr>
      <a:gradFill flip="none" rotWithShape="1">
        <a:gsLst>
          <a:gs pos="0">
            <a:schemeClr val="lt1"/>
          </a:gs>
          <a:gs pos="39000">
            <a:schemeClr val="lt1"/>
          </a:gs>
          <a:gs pos="100000">
            <a:schemeClr val="lt1">
              <a:lumMod val="75000"/>
            </a:schemeClr>
          </a:gs>
        </a:gsLst>
        <a:path path="circle">
          <a:fillToRect l="50000" t="-80000" r="50000" b="180000"/>
        </a:path>
        <a:tileRect/>
      </a:gradFill>
      <a:ln w="9525" cap="flat" cmpd="sng" algn="ctr">
        <a:solidFill>
          <a:schemeClr val="dk1">
            <a:lumMod val="25000"/>
            <a:lumOff val="7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lt1"/>
    </cs:fontRef>
    <cs:spPr>
      <a:pattFill prst="pct75">
        <a:fgClr>
          <a:schemeClr val="dk1">
            <a:lumMod val="75000"/>
            <a:lumOff val="25000"/>
          </a:schemeClr>
        </a:fgClr>
        <a:bgClr>
          <a:schemeClr val="dk1">
            <a:lumMod val="65000"/>
            <a:lumOff val="35000"/>
          </a:schemeClr>
        </a:bgClr>
      </a:pattFill>
      <a:effectLst>
        <a:outerShdw blurRad="50800" dist="38100" dir="2700000" algn="tl" rotWithShape="0">
          <a:prstClr val="black">
            <a:alpha val="40000"/>
          </a:prstClr>
        </a:outerShdw>
      </a:effectLst>
    </cs:spPr>
    <cs:defRPr sz="1330" b="1" i="0" u="none" strike="noStrike" kern="1200" baseline="0"/>
  </cs:dataLabel>
  <cs:dataLabelCallout>
    <cs:lnRef idx="0"/>
    <cs:fillRef idx="0"/>
    <cs:effectRef idx="0"/>
    <cs:fontRef idx="minor">
      <a:schemeClr val="lt1"/>
    </cs:fontRef>
    <cs:spPr>
      <a:pattFill prst="pct75">
        <a:fgClr>
          <a:schemeClr val="dk1">
            <a:lumMod val="75000"/>
            <a:lumOff val="25000"/>
          </a:schemeClr>
        </a:fgClr>
        <a:bgClr>
          <a:schemeClr val="dk1">
            <a:lumMod val="65000"/>
            <a:lumOff val="35000"/>
          </a:schemeClr>
        </a:bgClr>
      </a:pattFill>
      <a:effectLst>
        <a:outerShdw blurRad="50800" dist="38100" dir="2700000" algn="tl" rotWithShape="0">
          <a:prstClr val="black">
            <a:alpha val="40000"/>
          </a:prstClr>
        </a:outerShdw>
      </a:effectLst>
    </cs:spPr>
    <cs:defRPr sz="1330" b="1" i="0" u="none" strike="noStrike" kern="1200" baseline="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effectLst>
        <a:outerShdw blurRad="254000" sx="102000" sy="102000" algn="ctr" rotWithShape="0">
          <a:prstClr val="black">
            <a:alpha val="20000"/>
          </a:prstClr>
        </a:outerShdw>
      </a:effectLst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effectLst>
        <a:outerShdw blurRad="254000" sx="102000" sy="102000" algn="ctr" rotWithShape="0">
          <a:prstClr val="black">
            <a:alpha val="20000"/>
          </a:prstClr>
        </a:outerShdw>
      </a:effectLst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31750" cap="rnd">
        <a:solidFill>
          <a:schemeClr val="phClr">
            <a:alpha val="85000"/>
          </a:schemeClr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dk1"/>
    </cs:fontRef>
    <cs:spPr>
      <a:solidFill>
        <a:schemeClr val="phClr">
          <a:alpha val="85000"/>
        </a:schemeClr>
      </a:solidFill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dk1">
        <a:lumMod val="75000"/>
        <a:lumOff val="25000"/>
      </a:schemeClr>
    </cs:fontRef>
    <cs:spPr>
      <a:ln w="9525">
        <a:solidFill>
          <a:schemeClr val="dk1">
            <a:lumMod val="35000"/>
            <a:lumOff val="6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50000"/>
          <a:lumOff val="50000"/>
        </a:schemeClr>
      </a:solidFill>
      <a:ln w="9525">
        <a:solidFill>
          <a:schemeClr val="dk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35000"/>
            <a:lumOff val="65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dk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100000">
              <a:schemeClr val="dk1">
                <a:lumMod val="95000"/>
                <a:lumOff val="5000"/>
                <a:alpha val="42000"/>
              </a:schemeClr>
            </a:gs>
            <a:gs pos="0">
              <a:schemeClr val="lt1">
                <a:lumMod val="75000"/>
                <a:alpha val="36000"/>
              </a:schemeClr>
            </a:gs>
          </a:gsLst>
          <a:lin ang="5400000" scaled="0"/>
        </a:gra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gradFill>
          <a:gsLst>
            <a:gs pos="100000">
              <a:schemeClr val="dk1">
                <a:lumMod val="95000"/>
                <a:lumOff val="5000"/>
                <a:alpha val="42000"/>
              </a:schemeClr>
            </a:gs>
            <a:gs pos="0">
              <a:schemeClr val="lt1">
                <a:lumMod val="75000"/>
                <a:alpha val="36000"/>
              </a:schemeClr>
            </a:gs>
          </a:gsLst>
          <a:lin ang="5400000" scaled="0"/>
        </a:gra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35000"/>
            <a:lumOff val="65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</a:ln>
    </cs:spPr>
  </cs:leaderLine>
  <cs:legend>
    <cs:lnRef idx="0"/>
    <cs:fillRef idx="0"/>
    <cs:effectRef idx="0"/>
    <cs:fontRef idx="minor">
      <a:schemeClr val="dk1">
        <a:lumMod val="75000"/>
        <a:lumOff val="25000"/>
      </a:schemeClr>
    </cs:fontRef>
    <cs:spPr>
      <a:solidFill>
        <a:schemeClr val="lt1">
          <a:lumMod val="95000"/>
          <a:alpha val="39000"/>
        </a:schemeClr>
      </a:solidFill>
    </cs:spPr>
    <cs:defRPr sz="1197" kern="1200"/>
  </cs:legend>
  <cs:plotArea>
    <cs:lnRef idx="0"/>
    <cs:fillRef idx="0"/>
    <cs:effectRef idx="0"/>
    <cs:fontRef idx="minor">
      <a:schemeClr val="dk1"/>
    </cs:fontRef>
  </cs:plotArea>
  <cs:plotArea3D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dk1">
        <a:lumMod val="75000"/>
        <a:lumOff val="25000"/>
      </a:schemeClr>
    </cs:fontRef>
    <cs:spPr>
      <a:ln w="31750" cap="flat" cmpd="sng" algn="ctr">
        <a:solidFill>
          <a:schemeClr val="dk1">
            <a:lumMod val="75000"/>
            <a:lumOff val="2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  <a:round/>
      </a:ln>
    </cs:spPr>
  </cs:seriesLine>
  <cs:title>
    <cs:lnRef idx="0"/>
    <cs:fillRef idx="0"/>
    <cs:effectRef idx="0"/>
    <cs:fontRef idx="minor">
      <a:schemeClr val="dk1">
        <a:lumMod val="75000"/>
        <a:lumOff val="25000"/>
      </a:schemeClr>
    </cs:fontRef>
    <cs:defRPr sz="2200" b="1" kern="120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dk1">
        <a:lumMod val="75000"/>
        <a:lumOff val="2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dk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dk1">
        <a:lumMod val="75000"/>
        <a:lumOff val="25000"/>
      </a:schemeClr>
    </cs:fontRef>
    <cs:spPr>
      <a:ln>
        <a:noFill/>
      </a:ln>
    </cs:spPr>
    <cs:defRPr sz="1197" kern="1200"/>
  </cs:valueAxis>
  <cs:wall>
    <cs:lnRef idx="0"/>
    <cs:fillRef idx="0"/>
    <cs:effectRef idx="0"/>
    <cs:fontRef idx="minor">
      <a:schemeClr val="dk1"/>
    </cs:fontRef>
  </cs:wall>
</cs:chartStyl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3">
  <dgm:title val=""/>
  <dgm:desc val=""/>
  <dgm:catLst>
    <dgm:cat type="colorful" pri="103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3"/>
      <a:schemeClr val="accent4"/>
    </dgm:fillClrLst>
    <dgm:linClrLst>
      <a:schemeClr val="accent3"/>
      <a:schemeClr val="accent4"/>
    </dgm:linClrLst>
    <dgm:effectClrLst/>
    <dgm:txLinClrLst/>
    <dgm:txFillClrLst/>
    <dgm:txEffectClrLst/>
  </dgm:styleLbl>
  <dgm:styleLbl name="ln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3">
        <a:alpha val="50000"/>
      </a:schemeClr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3">
        <a:tint val="50000"/>
      </a:schemeClr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3"/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0.xml><?xml version="1.0" encoding="utf-8"?>
<dgm:colorsDef xmlns:dgm="http://schemas.openxmlformats.org/drawingml/2006/diagram" xmlns:a="http://schemas.openxmlformats.org/drawingml/2006/main" uniqueId="urn:microsoft.com/office/officeart/2005/8/colors/colorful3">
  <dgm:title val=""/>
  <dgm:desc val=""/>
  <dgm:catLst>
    <dgm:cat type="colorful" pri="103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3"/>
      <a:schemeClr val="accent4"/>
    </dgm:fillClrLst>
    <dgm:linClrLst>
      <a:schemeClr val="accent3"/>
      <a:schemeClr val="accent4"/>
    </dgm:linClrLst>
    <dgm:effectClrLst/>
    <dgm:txLinClrLst/>
    <dgm:txFillClrLst/>
    <dgm:txEffectClrLst/>
  </dgm:styleLbl>
  <dgm:styleLbl name="ln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3">
        <a:alpha val="50000"/>
      </a:schemeClr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3">
        <a:tint val="50000"/>
      </a:schemeClr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3"/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1.xml><?xml version="1.0" encoding="utf-8"?>
<dgm:colorsDef xmlns:dgm="http://schemas.openxmlformats.org/drawingml/2006/diagram" xmlns:a="http://schemas.openxmlformats.org/drawingml/2006/main" uniqueId="urn:microsoft.com/office/officeart/2005/8/colors/colorful3">
  <dgm:title val=""/>
  <dgm:desc val=""/>
  <dgm:catLst>
    <dgm:cat type="colorful" pri="103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3"/>
      <a:schemeClr val="accent4"/>
    </dgm:fillClrLst>
    <dgm:linClrLst>
      <a:schemeClr val="accent3"/>
      <a:schemeClr val="accent4"/>
    </dgm:linClrLst>
    <dgm:effectClrLst/>
    <dgm:txLinClrLst/>
    <dgm:txFillClrLst/>
    <dgm:txEffectClrLst/>
  </dgm:styleLbl>
  <dgm:styleLbl name="ln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3">
        <a:alpha val="50000"/>
      </a:schemeClr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3">
        <a:tint val="50000"/>
      </a:schemeClr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3"/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2.xml><?xml version="1.0" encoding="utf-8"?>
<dgm:colorsDef xmlns:dgm="http://schemas.openxmlformats.org/drawingml/2006/diagram" xmlns:a="http://schemas.openxmlformats.org/drawingml/2006/main" uniqueId="urn:microsoft.com/office/officeart/2005/8/colors/colorful3">
  <dgm:title val=""/>
  <dgm:desc val=""/>
  <dgm:catLst>
    <dgm:cat type="colorful" pri="103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3"/>
      <a:schemeClr val="accent4"/>
    </dgm:fillClrLst>
    <dgm:linClrLst>
      <a:schemeClr val="accent3"/>
      <a:schemeClr val="accent4"/>
    </dgm:linClrLst>
    <dgm:effectClrLst/>
    <dgm:txLinClrLst/>
    <dgm:txFillClrLst/>
    <dgm:txEffectClrLst/>
  </dgm:styleLbl>
  <dgm:styleLbl name="ln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3">
        <a:alpha val="50000"/>
      </a:schemeClr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3">
        <a:tint val="50000"/>
      </a:schemeClr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3"/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colorful3">
  <dgm:title val=""/>
  <dgm:desc val=""/>
  <dgm:catLst>
    <dgm:cat type="colorful" pri="103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3"/>
      <a:schemeClr val="accent4"/>
    </dgm:fillClrLst>
    <dgm:linClrLst>
      <a:schemeClr val="accent3"/>
      <a:schemeClr val="accent4"/>
    </dgm:linClrLst>
    <dgm:effectClrLst/>
    <dgm:txLinClrLst/>
    <dgm:txFillClrLst/>
    <dgm:txEffectClrLst/>
  </dgm:styleLbl>
  <dgm:styleLbl name="ln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3">
        <a:alpha val="50000"/>
      </a:schemeClr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3">
        <a:tint val="50000"/>
      </a:schemeClr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3"/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colorful3">
  <dgm:title val=""/>
  <dgm:desc val=""/>
  <dgm:catLst>
    <dgm:cat type="colorful" pri="103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3"/>
      <a:schemeClr val="accent4"/>
    </dgm:fillClrLst>
    <dgm:linClrLst>
      <a:schemeClr val="accent3"/>
      <a:schemeClr val="accent4"/>
    </dgm:linClrLst>
    <dgm:effectClrLst/>
    <dgm:txLinClrLst/>
    <dgm:txFillClrLst/>
    <dgm:txEffectClrLst/>
  </dgm:styleLbl>
  <dgm:styleLbl name="ln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3">
        <a:alpha val="50000"/>
      </a:schemeClr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3">
        <a:tint val="50000"/>
      </a:schemeClr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3"/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colorful3">
  <dgm:title val=""/>
  <dgm:desc val=""/>
  <dgm:catLst>
    <dgm:cat type="colorful" pri="103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3"/>
      <a:schemeClr val="accent4"/>
    </dgm:fillClrLst>
    <dgm:linClrLst>
      <a:schemeClr val="accent3"/>
      <a:schemeClr val="accent4"/>
    </dgm:linClrLst>
    <dgm:effectClrLst/>
    <dgm:txLinClrLst/>
    <dgm:txFillClrLst/>
    <dgm:txEffectClrLst/>
  </dgm:styleLbl>
  <dgm:styleLbl name="ln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3">
        <a:alpha val="50000"/>
      </a:schemeClr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3">
        <a:tint val="50000"/>
      </a:schemeClr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3"/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colorful3">
  <dgm:title val=""/>
  <dgm:desc val=""/>
  <dgm:catLst>
    <dgm:cat type="colorful" pri="103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3"/>
      <a:schemeClr val="accent4"/>
    </dgm:fillClrLst>
    <dgm:linClrLst>
      <a:schemeClr val="accent3"/>
      <a:schemeClr val="accent4"/>
    </dgm:linClrLst>
    <dgm:effectClrLst/>
    <dgm:txLinClrLst/>
    <dgm:txFillClrLst/>
    <dgm:txEffectClrLst/>
  </dgm:styleLbl>
  <dgm:styleLbl name="ln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3">
        <a:alpha val="50000"/>
      </a:schemeClr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3">
        <a:tint val="50000"/>
      </a:schemeClr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3"/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colorful3">
  <dgm:title val=""/>
  <dgm:desc val=""/>
  <dgm:catLst>
    <dgm:cat type="colorful" pri="103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3"/>
      <a:schemeClr val="accent4"/>
    </dgm:fillClrLst>
    <dgm:linClrLst>
      <a:schemeClr val="accent3"/>
      <a:schemeClr val="accent4"/>
    </dgm:linClrLst>
    <dgm:effectClrLst/>
    <dgm:txLinClrLst/>
    <dgm:txFillClrLst/>
    <dgm:txEffectClrLst/>
  </dgm:styleLbl>
  <dgm:styleLbl name="ln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3">
        <a:alpha val="50000"/>
      </a:schemeClr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3">
        <a:tint val="50000"/>
      </a:schemeClr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3"/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7.xml><?xml version="1.0" encoding="utf-8"?>
<dgm:colorsDef xmlns:dgm="http://schemas.openxmlformats.org/drawingml/2006/diagram" xmlns:a="http://schemas.openxmlformats.org/drawingml/2006/main" uniqueId="urn:microsoft.com/office/officeart/2005/8/colors/colorful3">
  <dgm:title val=""/>
  <dgm:desc val=""/>
  <dgm:catLst>
    <dgm:cat type="colorful" pri="103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3"/>
      <a:schemeClr val="accent4"/>
    </dgm:fillClrLst>
    <dgm:linClrLst>
      <a:schemeClr val="accent3"/>
      <a:schemeClr val="accent4"/>
    </dgm:linClrLst>
    <dgm:effectClrLst/>
    <dgm:txLinClrLst/>
    <dgm:txFillClrLst/>
    <dgm:txEffectClrLst/>
  </dgm:styleLbl>
  <dgm:styleLbl name="ln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3">
        <a:alpha val="50000"/>
      </a:schemeClr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3">
        <a:tint val="50000"/>
      </a:schemeClr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3"/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8.xml><?xml version="1.0" encoding="utf-8"?>
<dgm:colorsDef xmlns:dgm="http://schemas.openxmlformats.org/drawingml/2006/diagram" xmlns:a="http://schemas.openxmlformats.org/drawingml/2006/main" uniqueId="urn:microsoft.com/office/officeart/2005/8/colors/colorful3">
  <dgm:title val=""/>
  <dgm:desc val=""/>
  <dgm:catLst>
    <dgm:cat type="colorful" pri="103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3"/>
      <a:schemeClr val="accent4"/>
    </dgm:fillClrLst>
    <dgm:linClrLst>
      <a:schemeClr val="accent3"/>
      <a:schemeClr val="accent4"/>
    </dgm:linClrLst>
    <dgm:effectClrLst/>
    <dgm:txLinClrLst/>
    <dgm:txFillClrLst/>
    <dgm:txEffectClrLst/>
  </dgm:styleLbl>
  <dgm:styleLbl name="ln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3">
        <a:alpha val="50000"/>
      </a:schemeClr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3">
        <a:tint val="50000"/>
      </a:schemeClr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3"/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9.xml><?xml version="1.0" encoding="utf-8"?>
<dgm:colorsDef xmlns:dgm="http://schemas.openxmlformats.org/drawingml/2006/diagram" xmlns:a="http://schemas.openxmlformats.org/drawingml/2006/main" uniqueId="urn:microsoft.com/office/officeart/2005/8/colors/colorful3">
  <dgm:title val=""/>
  <dgm:desc val=""/>
  <dgm:catLst>
    <dgm:cat type="colorful" pri="103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3"/>
      <a:schemeClr val="accent4"/>
    </dgm:fillClrLst>
    <dgm:linClrLst>
      <a:schemeClr val="accent3"/>
      <a:schemeClr val="accent4"/>
    </dgm:linClrLst>
    <dgm:effectClrLst/>
    <dgm:txLinClrLst/>
    <dgm:txFillClrLst/>
    <dgm:txEffectClrLst/>
  </dgm:styleLbl>
  <dgm:styleLbl name="ln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3">
        <a:alpha val="50000"/>
      </a:schemeClr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3">
        <a:tint val="50000"/>
      </a:schemeClr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3"/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96C9D5F4-FF4F-420D-8420-A926E166D7A2}" type="doc">
      <dgm:prSet loTypeId="urn:microsoft.com/office/officeart/2008/layout/HorizontalMultiLevelHierarchy" loCatId="hierarchy" qsTypeId="urn:microsoft.com/office/officeart/2005/8/quickstyle/simple1" qsCatId="simple" csTypeId="urn:microsoft.com/office/officeart/2005/8/colors/colorful3" csCatId="colorful" phldr="1"/>
      <dgm:spPr/>
      <dgm:t>
        <a:bodyPr/>
        <a:lstStyle/>
        <a:p>
          <a:endParaRPr lang="en-US"/>
        </a:p>
      </dgm:t>
    </dgm:pt>
    <dgm:pt modelId="{D0997319-AE2C-4C46-ADCB-BA43BE3F3F54}">
      <dgm:prSet phldrT="[Text]" custT="1"/>
      <dgm:spPr/>
      <dgm:t>
        <a:bodyPr/>
        <a:lstStyle/>
        <a:p>
          <a:r>
            <a:rPr lang="de-DE" sz="1400" b="0" i="0" dirty="0">
              <a:latin typeface="Myriad Pro" panose="020B0503030403020204" pitchFamily="34" charset="0"/>
            </a:rPr>
            <a:t>Eingabebild </a:t>
          </a:r>
        </a:p>
      </dgm:t>
    </dgm:pt>
    <dgm:pt modelId="{EDD69CBB-FC0D-413C-A203-D32C53DEA1CA}" type="parTrans" cxnId="{9486E231-E761-415A-A46A-B222DD3C9A89}">
      <dgm:prSet/>
      <dgm:spPr/>
      <dgm:t>
        <a:bodyPr/>
        <a:lstStyle/>
        <a:p>
          <a:endParaRPr lang="en-US" sz="1600"/>
        </a:p>
      </dgm:t>
    </dgm:pt>
    <dgm:pt modelId="{E975384C-827E-414A-AEB5-7C3391463B49}" type="sibTrans" cxnId="{9486E231-E761-415A-A46A-B222DD3C9A89}">
      <dgm:prSet/>
      <dgm:spPr/>
      <dgm:t>
        <a:bodyPr/>
        <a:lstStyle/>
        <a:p>
          <a:endParaRPr lang="en-US" sz="1600"/>
        </a:p>
      </dgm:t>
    </dgm:pt>
    <dgm:pt modelId="{8E70AA8F-7583-4AFE-9EDE-87363894E1F8}">
      <dgm:prSet phldrT="[Text]" custT="1"/>
      <dgm:spPr/>
      <dgm:t>
        <a:bodyPr/>
        <a:lstStyle/>
        <a:p>
          <a:r>
            <a:rPr lang="de-DE" sz="1000" b="0" i="0" cap="none" baseline="0" dirty="0" err="1">
              <a:latin typeface="Myriad Pro" panose="020B0503030403020204" pitchFamily="34" charset="0"/>
            </a:rPr>
            <a:t>Supervised</a:t>
          </a:r>
          <a:endParaRPr lang="de-DE" sz="1000" b="0" i="0" cap="none" baseline="0" dirty="0">
            <a:latin typeface="Myriad Pro" panose="020B0503030403020204" pitchFamily="34" charset="0"/>
          </a:endParaRPr>
        </a:p>
      </dgm:t>
    </dgm:pt>
    <dgm:pt modelId="{B164CB56-71EE-412E-A3A2-1509A3B08E05}" type="parTrans" cxnId="{707B8E58-ABA5-4C9A-AFCF-298CB05D08DA}">
      <dgm:prSet/>
      <dgm:spPr/>
      <dgm:t>
        <a:bodyPr/>
        <a:lstStyle/>
        <a:p>
          <a:endParaRPr lang="en-US" sz="1600"/>
        </a:p>
      </dgm:t>
    </dgm:pt>
    <dgm:pt modelId="{50009256-33DA-4FAC-A050-2DE70DDCC26C}" type="sibTrans" cxnId="{707B8E58-ABA5-4C9A-AFCF-298CB05D08DA}">
      <dgm:prSet/>
      <dgm:spPr/>
      <dgm:t>
        <a:bodyPr/>
        <a:lstStyle/>
        <a:p>
          <a:endParaRPr lang="en-US" sz="1600"/>
        </a:p>
      </dgm:t>
    </dgm:pt>
    <dgm:pt modelId="{434F1058-EF12-4590-BD43-496B2D33656A}">
      <dgm:prSet phldrT="[Text]" custT="1"/>
      <dgm:spPr/>
      <dgm:t>
        <a:bodyPr/>
        <a:lstStyle/>
        <a:p>
          <a:r>
            <a:rPr lang="de-DE" sz="1000" b="0" i="0" dirty="0" err="1">
              <a:latin typeface="Myriad Pro" panose="020B0503030403020204" pitchFamily="34" charset="0"/>
            </a:rPr>
            <a:t>Unsupervised</a:t>
          </a:r>
          <a:endParaRPr lang="de-DE" sz="1000" b="0" i="0" dirty="0">
            <a:latin typeface="Myriad Pro" panose="020B0503030403020204" pitchFamily="34" charset="0"/>
          </a:endParaRPr>
        </a:p>
      </dgm:t>
    </dgm:pt>
    <dgm:pt modelId="{17815460-B569-463A-BACE-734F709F874A}" type="parTrans" cxnId="{9E137BA1-2E21-43A2-A338-650B162A3662}">
      <dgm:prSet/>
      <dgm:spPr/>
      <dgm:t>
        <a:bodyPr/>
        <a:lstStyle/>
        <a:p>
          <a:endParaRPr lang="en-US" sz="1600"/>
        </a:p>
      </dgm:t>
    </dgm:pt>
    <dgm:pt modelId="{BC8F1DC2-66B6-4B6F-BD02-84C41DB8AF5C}" type="sibTrans" cxnId="{9E137BA1-2E21-43A2-A338-650B162A3662}">
      <dgm:prSet/>
      <dgm:spPr/>
      <dgm:t>
        <a:bodyPr/>
        <a:lstStyle/>
        <a:p>
          <a:endParaRPr lang="en-US" sz="1600"/>
        </a:p>
      </dgm:t>
    </dgm:pt>
    <dgm:pt modelId="{50C4D88C-9CB0-4513-8456-755395491158}" type="pres">
      <dgm:prSet presAssocID="{96C9D5F4-FF4F-420D-8420-A926E166D7A2}" presName="Name0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</dgm:pt>
    <dgm:pt modelId="{506FBA0B-6598-4404-B87A-56869B8718E3}" type="pres">
      <dgm:prSet presAssocID="{D0997319-AE2C-4C46-ADCB-BA43BE3F3F54}" presName="root1" presStyleCnt="0"/>
      <dgm:spPr/>
    </dgm:pt>
    <dgm:pt modelId="{DCF5B4EF-DE4F-4292-A3B2-724C163A44AB}" type="pres">
      <dgm:prSet presAssocID="{D0997319-AE2C-4C46-ADCB-BA43BE3F3F54}" presName="LevelOneTextNode" presStyleLbl="node0" presStyleIdx="0" presStyleCnt="1">
        <dgm:presLayoutVars>
          <dgm:chPref val="3"/>
        </dgm:presLayoutVars>
      </dgm:prSet>
      <dgm:spPr/>
    </dgm:pt>
    <dgm:pt modelId="{7E8A6FC8-F240-4C27-8F75-0549E9D1CE4E}" type="pres">
      <dgm:prSet presAssocID="{D0997319-AE2C-4C46-ADCB-BA43BE3F3F54}" presName="level2hierChild" presStyleCnt="0"/>
      <dgm:spPr/>
    </dgm:pt>
    <dgm:pt modelId="{BE328E0A-C287-4B1A-BD90-C0F3098FFCD9}" type="pres">
      <dgm:prSet presAssocID="{B164CB56-71EE-412E-A3A2-1509A3B08E05}" presName="conn2-1" presStyleLbl="parChTrans1D2" presStyleIdx="0" presStyleCnt="2"/>
      <dgm:spPr/>
    </dgm:pt>
    <dgm:pt modelId="{1EB559E9-DB95-4028-B960-01A592B99E92}" type="pres">
      <dgm:prSet presAssocID="{B164CB56-71EE-412E-A3A2-1509A3B08E05}" presName="connTx" presStyleLbl="parChTrans1D2" presStyleIdx="0" presStyleCnt="2"/>
      <dgm:spPr/>
    </dgm:pt>
    <dgm:pt modelId="{9893F228-CFAA-415F-97D9-8C8EA9FB1BC5}" type="pres">
      <dgm:prSet presAssocID="{8E70AA8F-7583-4AFE-9EDE-87363894E1F8}" presName="root2" presStyleCnt="0"/>
      <dgm:spPr/>
    </dgm:pt>
    <dgm:pt modelId="{49ADAAAB-354D-4968-9DE9-378E6595E5BB}" type="pres">
      <dgm:prSet presAssocID="{8E70AA8F-7583-4AFE-9EDE-87363894E1F8}" presName="LevelTwoTextNode" presStyleLbl="node2" presStyleIdx="0" presStyleCnt="2" custLinFactY="-46619" custLinFactNeighborX="-825" custLinFactNeighborY="-100000">
        <dgm:presLayoutVars>
          <dgm:chPref val="3"/>
        </dgm:presLayoutVars>
      </dgm:prSet>
      <dgm:spPr/>
    </dgm:pt>
    <dgm:pt modelId="{46E2FE2A-A747-4DEE-AAF5-53A8EE84B06B}" type="pres">
      <dgm:prSet presAssocID="{8E70AA8F-7583-4AFE-9EDE-87363894E1F8}" presName="level3hierChild" presStyleCnt="0"/>
      <dgm:spPr/>
    </dgm:pt>
    <dgm:pt modelId="{CD37291B-5548-4F1B-8F2F-200AE5B0DCAE}" type="pres">
      <dgm:prSet presAssocID="{17815460-B569-463A-BACE-734F709F874A}" presName="conn2-1" presStyleLbl="parChTrans1D2" presStyleIdx="1" presStyleCnt="2"/>
      <dgm:spPr/>
    </dgm:pt>
    <dgm:pt modelId="{D4121B60-61D6-41A4-AAB9-DE9671C8ED2F}" type="pres">
      <dgm:prSet presAssocID="{17815460-B569-463A-BACE-734F709F874A}" presName="connTx" presStyleLbl="parChTrans1D2" presStyleIdx="1" presStyleCnt="2"/>
      <dgm:spPr/>
    </dgm:pt>
    <dgm:pt modelId="{50975EFF-52F3-48CE-A104-6890DF2CCC15}" type="pres">
      <dgm:prSet presAssocID="{434F1058-EF12-4590-BD43-496B2D33656A}" presName="root2" presStyleCnt="0"/>
      <dgm:spPr/>
    </dgm:pt>
    <dgm:pt modelId="{E077FA3E-A654-4D27-8616-5CDDA43F8AF6}" type="pres">
      <dgm:prSet presAssocID="{434F1058-EF12-4590-BD43-496B2D33656A}" presName="LevelTwoTextNode" presStyleLbl="node2" presStyleIdx="1" presStyleCnt="2" custLinFactY="43061" custLinFactNeighborX="-1050" custLinFactNeighborY="100000">
        <dgm:presLayoutVars>
          <dgm:chPref val="3"/>
        </dgm:presLayoutVars>
      </dgm:prSet>
      <dgm:spPr/>
    </dgm:pt>
    <dgm:pt modelId="{738BD333-0CAC-4970-A8E6-FA82D1202675}" type="pres">
      <dgm:prSet presAssocID="{434F1058-EF12-4590-BD43-496B2D33656A}" presName="level3hierChild" presStyleCnt="0"/>
      <dgm:spPr/>
    </dgm:pt>
  </dgm:ptLst>
  <dgm:cxnLst>
    <dgm:cxn modelId="{9486E231-E761-415A-A46A-B222DD3C9A89}" srcId="{96C9D5F4-FF4F-420D-8420-A926E166D7A2}" destId="{D0997319-AE2C-4C46-ADCB-BA43BE3F3F54}" srcOrd="0" destOrd="0" parTransId="{EDD69CBB-FC0D-413C-A203-D32C53DEA1CA}" sibTransId="{E975384C-827E-414A-AEB5-7C3391463B49}"/>
    <dgm:cxn modelId="{AA3E744F-10BA-4479-AF01-972C59BF3BCF}" type="presOf" srcId="{B164CB56-71EE-412E-A3A2-1509A3B08E05}" destId="{BE328E0A-C287-4B1A-BD90-C0F3098FFCD9}" srcOrd="0" destOrd="0" presId="urn:microsoft.com/office/officeart/2008/layout/HorizontalMultiLevelHierarchy"/>
    <dgm:cxn modelId="{464F8353-3A6D-43D6-B358-7ECC4F51C0BF}" type="presOf" srcId="{D0997319-AE2C-4C46-ADCB-BA43BE3F3F54}" destId="{DCF5B4EF-DE4F-4292-A3B2-724C163A44AB}" srcOrd="0" destOrd="0" presId="urn:microsoft.com/office/officeart/2008/layout/HorizontalMultiLevelHierarchy"/>
    <dgm:cxn modelId="{707B8E58-ABA5-4C9A-AFCF-298CB05D08DA}" srcId="{D0997319-AE2C-4C46-ADCB-BA43BE3F3F54}" destId="{8E70AA8F-7583-4AFE-9EDE-87363894E1F8}" srcOrd="0" destOrd="0" parTransId="{B164CB56-71EE-412E-A3A2-1509A3B08E05}" sibTransId="{50009256-33DA-4FAC-A050-2DE70DDCC26C}"/>
    <dgm:cxn modelId="{218D7769-246E-4C78-8637-1FABBE9AA235}" type="presOf" srcId="{B164CB56-71EE-412E-A3A2-1509A3B08E05}" destId="{1EB559E9-DB95-4028-B960-01A592B99E92}" srcOrd="1" destOrd="0" presId="urn:microsoft.com/office/officeart/2008/layout/HorizontalMultiLevelHierarchy"/>
    <dgm:cxn modelId="{82D60E8A-40D3-49BC-895D-3DAB17D8AD62}" type="presOf" srcId="{96C9D5F4-FF4F-420D-8420-A926E166D7A2}" destId="{50C4D88C-9CB0-4513-8456-755395491158}" srcOrd="0" destOrd="0" presId="urn:microsoft.com/office/officeart/2008/layout/HorizontalMultiLevelHierarchy"/>
    <dgm:cxn modelId="{E07BE79E-7865-47DB-84AF-7F7057F85761}" type="presOf" srcId="{8E70AA8F-7583-4AFE-9EDE-87363894E1F8}" destId="{49ADAAAB-354D-4968-9DE9-378E6595E5BB}" srcOrd="0" destOrd="0" presId="urn:microsoft.com/office/officeart/2008/layout/HorizontalMultiLevelHierarchy"/>
    <dgm:cxn modelId="{9E137BA1-2E21-43A2-A338-650B162A3662}" srcId="{D0997319-AE2C-4C46-ADCB-BA43BE3F3F54}" destId="{434F1058-EF12-4590-BD43-496B2D33656A}" srcOrd="1" destOrd="0" parTransId="{17815460-B569-463A-BACE-734F709F874A}" sibTransId="{BC8F1DC2-66B6-4B6F-BD02-84C41DB8AF5C}"/>
    <dgm:cxn modelId="{99E7BEA2-9C9E-4C52-ABF3-613AE796E93C}" type="presOf" srcId="{17815460-B569-463A-BACE-734F709F874A}" destId="{D4121B60-61D6-41A4-AAB9-DE9671C8ED2F}" srcOrd="1" destOrd="0" presId="urn:microsoft.com/office/officeart/2008/layout/HorizontalMultiLevelHierarchy"/>
    <dgm:cxn modelId="{BAACB6A7-B0F8-46C4-B719-34EE449D4921}" type="presOf" srcId="{434F1058-EF12-4590-BD43-496B2D33656A}" destId="{E077FA3E-A654-4D27-8616-5CDDA43F8AF6}" srcOrd="0" destOrd="0" presId="urn:microsoft.com/office/officeart/2008/layout/HorizontalMultiLevelHierarchy"/>
    <dgm:cxn modelId="{54CC19B8-2159-4474-B71E-58B32A9BAD74}" type="presOf" srcId="{17815460-B569-463A-BACE-734F709F874A}" destId="{CD37291B-5548-4F1B-8F2F-200AE5B0DCAE}" srcOrd="0" destOrd="0" presId="urn:microsoft.com/office/officeart/2008/layout/HorizontalMultiLevelHierarchy"/>
    <dgm:cxn modelId="{3E8C5480-73D9-4EE3-932D-82721BB1E7B2}" type="presParOf" srcId="{50C4D88C-9CB0-4513-8456-755395491158}" destId="{506FBA0B-6598-4404-B87A-56869B8718E3}" srcOrd="0" destOrd="0" presId="urn:microsoft.com/office/officeart/2008/layout/HorizontalMultiLevelHierarchy"/>
    <dgm:cxn modelId="{AD087DA0-5EB4-49EE-82D3-F6C47200DD79}" type="presParOf" srcId="{506FBA0B-6598-4404-B87A-56869B8718E3}" destId="{DCF5B4EF-DE4F-4292-A3B2-724C163A44AB}" srcOrd="0" destOrd="0" presId="urn:microsoft.com/office/officeart/2008/layout/HorizontalMultiLevelHierarchy"/>
    <dgm:cxn modelId="{AD864577-5B7E-4328-AC26-287C80C6BEA3}" type="presParOf" srcId="{506FBA0B-6598-4404-B87A-56869B8718E3}" destId="{7E8A6FC8-F240-4C27-8F75-0549E9D1CE4E}" srcOrd="1" destOrd="0" presId="urn:microsoft.com/office/officeart/2008/layout/HorizontalMultiLevelHierarchy"/>
    <dgm:cxn modelId="{0D5824EC-96D2-4284-930C-3DC3234577D3}" type="presParOf" srcId="{7E8A6FC8-F240-4C27-8F75-0549E9D1CE4E}" destId="{BE328E0A-C287-4B1A-BD90-C0F3098FFCD9}" srcOrd="0" destOrd="0" presId="urn:microsoft.com/office/officeart/2008/layout/HorizontalMultiLevelHierarchy"/>
    <dgm:cxn modelId="{FF3EDB3F-3E5D-484F-B7EB-2D9D119CC084}" type="presParOf" srcId="{BE328E0A-C287-4B1A-BD90-C0F3098FFCD9}" destId="{1EB559E9-DB95-4028-B960-01A592B99E92}" srcOrd="0" destOrd="0" presId="urn:microsoft.com/office/officeart/2008/layout/HorizontalMultiLevelHierarchy"/>
    <dgm:cxn modelId="{6E796F25-24CC-4F5D-8AB9-96C968A94D86}" type="presParOf" srcId="{7E8A6FC8-F240-4C27-8F75-0549E9D1CE4E}" destId="{9893F228-CFAA-415F-97D9-8C8EA9FB1BC5}" srcOrd="1" destOrd="0" presId="urn:microsoft.com/office/officeart/2008/layout/HorizontalMultiLevelHierarchy"/>
    <dgm:cxn modelId="{F5FE272E-5A1A-4232-A41E-5E8F96E754E7}" type="presParOf" srcId="{9893F228-CFAA-415F-97D9-8C8EA9FB1BC5}" destId="{49ADAAAB-354D-4968-9DE9-378E6595E5BB}" srcOrd="0" destOrd="0" presId="urn:microsoft.com/office/officeart/2008/layout/HorizontalMultiLevelHierarchy"/>
    <dgm:cxn modelId="{480D07D8-1F1B-4569-80CC-321A6295D639}" type="presParOf" srcId="{9893F228-CFAA-415F-97D9-8C8EA9FB1BC5}" destId="{46E2FE2A-A747-4DEE-AAF5-53A8EE84B06B}" srcOrd="1" destOrd="0" presId="urn:microsoft.com/office/officeart/2008/layout/HorizontalMultiLevelHierarchy"/>
    <dgm:cxn modelId="{5C580CC4-3C81-446F-9295-70B119E1F4D6}" type="presParOf" srcId="{7E8A6FC8-F240-4C27-8F75-0549E9D1CE4E}" destId="{CD37291B-5548-4F1B-8F2F-200AE5B0DCAE}" srcOrd="2" destOrd="0" presId="urn:microsoft.com/office/officeart/2008/layout/HorizontalMultiLevelHierarchy"/>
    <dgm:cxn modelId="{3FF4D288-216B-4CA1-A646-865AA9CAB482}" type="presParOf" srcId="{CD37291B-5548-4F1B-8F2F-200AE5B0DCAE}" destId="{D4121B60-61D6-41A4-AAB9-DE9671C8ED2F}" srcOrd="0" destOrd="0" presId="urn:microsoft.com/office/officeart/2008/layout/HorizontalMultiLevelHierarchy"/>
    <dgm:cxn modelId="{D011A705-277B-4D74-85CE-4360C9A9B047}" type="presParOf" srcId="{7E8A6FC8-F240-4C27-8F75-0549E9D1CE4E}" destId="{50975EFF-52F3-48CE-A104-6890DF2CCC15}" srcOrd="3" destOrd="0" presId="urn:microsoft.com/office/officeart/2008/layout/HorizontalMultiLevelHierarchy"/>
    <dgm:cxn modelId="{2465617A-D0D5-439C-AECA-3D0DD03F2CB2}" type="presParOf" srcId="{50975EFF-52F3-48CE-A104-6890DF2CCC15}" destId="{E077FA3E-A654-4D27-8616-5CDDA43F8AF6}" srcOrd="0" destOrd="0" presId="urn:microsoft.com/office/officeart/2008/layout/HorizontalMultiLevelHierarchy"/>
    <dgm:cxn modelId="{13FC7BEC-0977-47F7-8C84-FE5819A8C215}" type="presParOf" srcId="{50975EFF-52F3-48CE-A104-6890DF2CCC15}" destId="{738BD333-0CAC-4970-A8E6-FA82D1202675}" srcOrd="1" destOrd="0" presId="urn:microsoft.com/office/officeart/2008/layout/HorizontalMultiLevelHierarchy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10.xml><?xml version="1.0" encoding="utf-8"?>
<dgm:dataModel xmlns:dgm="http://schemas.openxmlformats.org/drawingml/2006/diagram" xmlns:a="http://schemas.openxmlformats.org/drawingml/2006/main">
  <dgm:ptLst>
    <dgm:pt modelId="{96C9D5F4-FF4F-420D-8420-A926E166D7A2}" type="doc">
      <dgm:prSet loTypeId="urn:microsoft.com/office/officeart/2008/layout/HorizontalMultiLevelHierarchy" loCatId="hierarchy" qsTypeId="urn:microsoft.com/office/officeart/2005/8/quickstyle/simple1" qsCatId="simple" csTypeId="urn:microsoft.com/office/officeart/2005/8/colors/colorful3" csCatId="colorful" phldr="1"/>
      <dgm:spPr/>
      <dgm:t>
        <a:bodyPr/>
        <a:lstStyle/>
        <a:p>
          <a:endParaRPr lang="en-US"/>
        </a:p>
      </dgm:t>
    </dgm:pt>
    <dgm:pt modelId="{D0997319-AE2C-4C46-ADCB-BA43BE3F3F54}">
      <dgm:prSet phldrT="[Text]" custT="1"/>
      <dgm:spPr/>
      <dgm:t>
        <a:bodyPr/>
        <a:lstStyle/>
        <a:p>
          <a:r>
            <a:rPr lang="de-DE" sz="1400" b="0" i="0" dirty="0">
              <a:latin typeface="Myriad Pro" panose="020B0503030403020204" pitchFamily="34" charset="0"/>
            </a:rPr>
            <a:t>Eingabebild </a:t>
          </a:r>
        </a:p>
      </dgm:t>
    </dgm:pt>
    <dgm:pt modelId="{EDD69CBB-FC0D-413C-A203-D32C53DEA1CA}" type="parTrans" cxnId="{9486E231-E761-415A-A46A-B222DD3C9A89}">
      <dgm:prSet/>
      <dgm:spPr/>
      <dgm:t>
        <a:bodyPr/>
        <a:lstStyle/>
        <a:p>
          <a:endParaRPr lang="en-US" sz="1600"/>
        </a:p>
      </dgm:t>
    </dgm:pt>
    <dgm:pt modelId="{E975384C-827E-414A-AEB5-7C3391463B49}" type="sibTrans" cxnId="{9486E231-E761-415A-A46A-B222DD3C9A89}">
      <dgm:prSet/>
      <dgm:spPr/>
      <dgm:t>
        <a:bodyPr/>
        <a:lstStyle/>
        <a:p>
          <a:endParaRPr lang="en-US" sz="1600"/>
        </a:p>
      </dgm:t>
    </dgm:pt>
    <dgm:pt modelId="{8E70AA8F-7583-4AFE-9EDE-87363894E1F8}">
      <dgm:prSet phldrT="[Text]" custT="1"/>
      <dgm:spPr/>
      <dgm:t>
        <a:bodyPr/>
        <a:lstStyle/>
        <a:p>
          <a:r>
            <a:rPr lang="de-DE" sz="1000" b="1" i="0" cap="none" baseline="0" dirty="0">
              <a:latin typeface="Myriad Pro" panose="020B0503030403020204" pitchFamily="34" charset="0"/>
            </a:rPr>
            <a:t>Einzel Netzwerk</a:t>
          </a:r>
          <a:endParaRPr lang="de-DE" sz="1000" b="0" i="0" cap="none" baseline="0" dirty="0">
            <a:latin typeface="Myriad Pro" panose="020B0503030403020204" pitchFamily="34" charset="0"/>
          </a:endParaRPr>
        </a:p>
      </dgm:t>
    </dgm:pt>
    <dgm:pt modelId="{B164CB56-71EE-412E-A3A2-1509A3B08E05}" type="parTrans" cxnId="{707B8E58-ABA5-4C9A-AFCF-298CB05D08DA}">
      <dgm:prSet/>
      <dgm:spPr/>
      <dgm:t>
        <a:bodyPr/>
        <a:lstStyle/>
        <a:p>
          <a:endParaRPr lang="en-US" sz="1600"/>
        </a:p>
      </dgm:t>
    </dgm:pt>
    <dgm:pt modelId="{50009256-33DA-4FAC-A050-2DE70DDCC26C}" type="sibTrans" cxnId="{707B8E58-ABA5-4C9A-AFCF-298CB05D08DA}">
      <dgm:prSet/>
      <dgm:spPr/>
      <dgm:t>
        <a:bodyPr/>
        <a:lstStyle/>
        <a:p>
          <a:endParaRPr lang="en-US" sz="1600"/>
        </a:p>
      </dgm:t>
    </dgm:pt>
    <dgm:pt modelId="{434F1058-EF12-4590-BD43-496B2D33656A}">
      <dgm:prSet phldrT="[Text]" custT="1"/>
      <dgm:spPr/>
      <dgm:t>
        <a:bodyPr/>
        <a:lstStyle/>
        <a:p>
          <a:r>
            <a:rPr lang="de-DE" sz="1000" b="1" i="0" cap="none" baseline="0" dirty="0">
              <a:latin typeface="Myriad Pro" panose="020B0503030403020204" pitchFamily="34" charset="0"/>
            </a:rPr>
            <a:t>Multi-Netzwerk </a:t>
          </a:r>
          <a:endParaRPr lang="de-DE" sz="1000" b="0" i="0" dirty="0">
            <a:latin typeface="Myriad Pro" panose="020B0503030403020204" pitchFamily="34" charset="0"/>
          </a:endParaRPr>
        </a:p>
      </dgm:t>
    </dgm:pt>
    <dgm:pt modelId="{17815460-B569-463A-BACE-734F709F874A}" type="parTrans" cxnId="{9E137BA1-2E21-43A2-A338-650B162A3662}">
      <dgm:prSet/>
      <dgm:spPr/>
      <dgm:t>
        <a:bodyPr/>
        <a:lstStyle/>
        <a:p>
          <a:endParaRPr lang="en-US" sz="1600"/>
        </a:p>
      </dgm:t>
    </dgm:pt>
    <dgm:pt modelId="{BC8F1DC2-66B6-4B6F-BD02-84C41DB8AF5C}" type="sibTrans" cxnId="{9E137BA1-2E21-43A2-A338-650B162A3662}">
      <dgm:prSet/>
      <dgm:spPr/>
      <dgm:t>
        <a:bodyPr/>
        <a:lstStyle/>
        <a:p>
          <a:endParaRPr lang="en-US" sz="1600"/>
        </a:p>
      </dgm:t>
    </dgm:pt>
    <dgm:pt modelId="{4098A15D-6BE4-4258-B7C8-EC2A1354A4D6}">
      <dgm:prSet phldrT="[Text]" custT="1"/>
      <dgm:spPr/>
      <dgm:t>
        <a:bodyPr/>
        <a:lstStyle/>
        <a:p>
          <a:r>
            <a:rPr lang="de-DE" sz="1000" b="0" i="0" dirty="0">
              <a:latin typeface="Myriad Pro" panose="020B0503030403020204" pitchFamily="34" charset="0"/>
            </a:rPr>
            <a:t>U-Net</a:t>
          </a:r>
        </a:p>
      </dgm:t>
    </dgm:pt>
    <dgm:pt modelId="{DA62F256-25CF-4854-BFCD-F90F70E5F8D4}" type="parTrans" cxnId="{21D8E081-3F51-4864-8D5D-F1BA8CEC852F}">
      <dgm:prSet/>
      <dgm:spPr/>
      <dgm:t>
        <a:bodyPr/>
        <a:lstStyle/>
        <a:p>
          <a:endParaRPr lang="en-US" sz="1600"/>
        </a:p>
      </dgm:t>
    </dgm:pt>
    <dgm:pt modelId="{E1090322-3287-4D3C-A158-E43939F1FA7E}" type="sibTrans" cxnId="{21D8E081-3F51-4864-8D5D-F1BA8CEC852F}">
      <dgm:prSet/>
      <dgm:spPr/>
      <dgm:t>
        <a:bodyPr/>
        <a:lstStyle/>
        <a:p>
          <a:endParaRPr lang="en-US" sz="1600"/>
        </a:p>
      </dgm:t>
    </dgm:pt>
    <dgm:pt modelId="{C1D130BE-4BC5-481C-BADA-14A869727C0B}">
      <dgm:prSet phldrT="[Text]" custT="1"/>
      <dgm:spPr/>
      <dgm:t>
        <a:bodyPr/>
        <a:lstStyle/>
        <a:p>
          <a:r>
            <a:rPr lang="de-DE" sz="1000" b="1" i="0" cap="none" baseline="0" dirty="0">
              <a:latin typeface="Myriad Pro" panose="020B0503030403020204" pitchFamily="34" charset="0"/>
            </a:rPr>
            <a:t>Ensembles </a:t>
          </a:r>
          <a:endParaRPr lang="de-DE" sz="1000" b="0" i="0" cap="none" baseline="0" dirty="0">
            <a:latin typeface="Myriad Pro" panose="020B0503030403020204" pitchFamily="34" charset="0"/>
          </a:endParaRPr>
        </a:p>
      </dgm:t>
    </dgm:pt>
    <dgm:pt modelId="{8A26916C-03BF-4B0E-92AF-656A56CF8513}" type="parTrans" cxnId="{221AD8BF-6539-43E4-9EB1-23AF138D0EE2}">
      <dgm:prSet/>
      <dgm:spPr/>
      <dgm:t>
        <a:bodyPr/>
        <a:lstStyle/>
        <a:p>
          <a:endParaRPr lang="en-US" sz="1600"/>
        </a:p>
      </dgm:t>
    </dgm:pt>
    <dgm:pt modelId="{4F4BE6FE-AE34-4934-8B0D-8FDF04C5765F}" type="sibTrans" cxnId="{221AD8BF-6539-43E4-9EB1-23AF138D0EE2}">
      <dgm:prSet/>
      <dgm:spPr/>
      <dgm:t>
        <a:bodyPr/>
        <a:lstStyle/>
        <a:p>
          <a:endParaRPr lang="en-US" sz="1600"/>
        </a:p>
      </dgm:t>
    </dgm:pt>
    <dgm:pt modelId="{CD6C8CAB-2DB8-4BEB-8794-D14E24B56239}">
      <dgm:prSet phldrT="[Text]" custT="1"/>
      <dgm:spPr/>
      <dgm:t>
        <a:bodyPr/>
        <a:lstStyle/>
        <a:p>
          <a:r>
            <a:rPr lang="de-DE" sz="1000" b="0" i="0" dirty="0">
              <a:latin typeface="Myriad Pro" panose="020B0503030403020204" pitchFamily="34" charset="0"/>
            </a:rPr>
            <a:t>Homogen</a:t>
          </a:r>
        </a:p>
      </dgm:t>
    </dgm:pt>
    <dgm:pt modelId="{503510FB-9E52-432E-98AC-FEF28CA55F0D}" type="parTrans" cxnId="{08C6FF6E-ED40-443D-B75C-6827A78AAE2F}">
      <dgm:prSet/>
      <dgm:spPr/>
      <dgm:t>
        <a:bodyPr/>
        <a:lstStyle/>
        <a:p>
          <a:endParaRPr lang="en-US" sz="1600"/>
        </a:p>
      </dgm:t>
    </dgm:pt>
    <dgm:pt modelId="{F6688289-1E3B-4C81-B097-4BC4F02DEEB1}" type="sibTrans" cxnId="{08C6FF6E-ED40-443D-B75C-6827A78AAE2F}">
      <dgm:prSet/>
      <dgm:spPr/>
      <dgm:t>
        <a:bodyPr/>
        <a:lstStyle/>
        <a:p>
          <a:endParaRPr lang="en-US" sz="1600"/>
        </a:p>
      </dgm:t>
    </dgm:pt>
    <dgm:pt modelId="{16945C89-930D-4764-8730-4F183F8B4C87}">
      <dgm:prSet phldrT="[Text]" custT="1"/>
      <dgm:spPr/>
      <dgm:t>
        <a:bodyPr/>
        <a:lstStyle/>
        <a:p>
          <a:r>
            <a:rPr lang="de-DE" sz="1000" b="0" i="0" dirty="0">
              <a:latin typeface="Myriad Pro" panose="020B0503030403020204" pitchFamily="34" charset="0"/>
            </a:rPr>
            <a:t>Heterogen</a:t>
          </a:r>
        </a:p>
      </dgm:t>
    </dgm:pt>
    <dgm:pt modelId="{B3C6A11E-10F5-433C-A0FB-1B185A7D12E0}" type="parTrans" cxnId="{587DEAC9-60C3-45DB-9C9F-C26256D35C0F}">
      <dgm:prSet/>
      <dgm:spPr/>
      <dgm:t>
        <a:bodyPr/>
        <a:lstStyle/>
        <a:p>
          <a:endParaRPr lang="en-US" sz="1600"/>
        </a:p>
      </dgm:t>
    </dgm:pt>
    <dgm:pt modelId="{5C8BCF49-4277-47C2-9543-A10467E88E20}" type="sibTrans" cxnId="{587DEAC9-60C3-45DB-9C9F-C26256D35C0F}">
      <dgm:prSet/>
      <dgm:spPr/>
      <dgm:t>
        <a:bodyPr/>
        <a:lstStyle/>
        <a:p>
          <a:endParaRPr lang="en-US" sz="1600"/>
        </a:p>
      </dgm:t>
    </dgm:pt>
    <dgm:pt modelId="{CF5B8EE4-D285-4E9D-BBB6-5F2F77DD4689}">
      <dgm:prSet phldrT="[Text]" custT="1"/>
      <dgm:spPr/>
      <dgm:t>
        <a:bodyPr/>
        <a:lstStyle/>
        <a:p>
          <a:r>
            <a:rPr lang="de-DE" sz="1000" b="0" i="0" dirty="0">
              <a:latin typeface="Myriad Pro" panose="020B0503030403020204" pitchFamily="34" charset="0"/>
            </a:rPr>
            <a:t>YOLO</a:t>
          </a:r>
        </a:p>
      </dgm:t>
    </dgm:pt>
    <dgm:pt modelId="{D937D902-C50B-4BEC-9C1F-D9880BCC701B}" type="parTrans" cxnId="{2ED6F702-CE72-434F-A1BB-6BCE9E2DA2BA}">
      <dgm:prSet/>
      <dgm:spPr/>
      <dgm:t>
        <a:bodyPr/>
        <a:lstStyle/>
        <a:p>
          <a:endParaRPr lang="en-US" sz="1600"/>
        </a:p>
      </dgm:t>
    </dgm:pt>
    <dgm:pt modelId="{CADCD7D6-E889-4A66-B79B-3ACEEF43F075}" type="sibTrans" cxnId="{2ED6F702-CE72-434F-A1BB-6BCE9E2DA2BA}">
      <dgm:prSet/>
      <dgm:spPr/>
      <dgm:t>
        <a:bodyPr/>
        <a:lstStyle/>
        <a:p>
          <a:endParaRPr lang="en-US" sz="1600"/>
        </a:p>
      </dgm:t>
    </dgm:pt>
    <dgm:pt modelId="{CA25E3C2-D53A-4DAC-A356-274163CFD791}">
      <dgm:prSet phldrT="[Text]" custT="1"/>
      <dgm:spPr/>
      <dgm:t>
        <a:bodyPr/>
        <a:lstStyle/>
        <a:p>
          <a:r>
            <a:rPr lang="de-DE" sz="1000" b="0" i="0" dirty="0" err="1">
              <a:latin typeface="Myriad Pro" panose="020B0503030403020204" pitchFamily="34" charset="0"/>
            </a:rPr>
            <a:t>Expizit</a:t>
          </a:r>
          <a:r>
            <a:rPr lang="de-DE" sz="1000" b="0" i="0" dirty="0">
              <a:latin typeface="Myriad Pro" panose="020B0503030403020204" pitchFamily="34" charset="0"/>
            </a:rPr>
            <a:t> </a:t>
          </a:r>
        </a:p>
      </dgm:t>
    </dgm:pt>
    <dgm:pt modelId="{858DE0EA-690E-49F0-9AFD-401C85E7FBB4}" type="parTrans" cxnId="{5B99DD31-B3E6-465C-A8DB-0DF740AA5D7A}">
      <dgm:prSet/>
      <dgm:spPr/>
      <dgm:t>
        <a:bodyPr/>
        <a:lstStyle/>
        <a:p>
          <a:endParaRPr lang="de-DE"/>
        </a:p>
      </dgm:t>
    </dgm:pt>
    <dgm:pt modelId="{2D56470D-3197-4A03-90FE-5A65A52F7EFB}" type="sibTrans" cxnId="{5B99DD31-B3E6-465C-A8DB-0DF740AA5D7A}">
      <dgm:prSet/>
      <dgm:spPr/>
      <dgm:t>
        <a:bodyPr/>
        <a:lstStyle/>
        <a:p>
          <a:endParaRPr lang="de-DE"/>
        </a:p>
      </dgm:t>
    </dgm:pt>
    <dgm:pt modelId="{2FAED816-5ABD-44B8-9175-AD4921C3FE98}">
      <dgm:prSet phldrT="[Text]" custT="1"/>
      <dgm:spPr/>
      <dgm:t>
        <a:bodyPr/>
        <a:lstStyle/>
        <a:p>
          <a:r>
            <a:rPr lang="de-DE" sz="1000" b="0" i="0" dirty="0" err="1">
              <a:latin typeface="Myriad Pro" panose="020B0503030403020204" pitchFamily="34" charset="0"/>
            </a:rPr>
            <a:t>Augmentierung</a:t>
          </a:r>
          <a:endParaRPr lang="de-DE" sz="1000" b="0" i="0" dirty="0">
            <a:latin typeface="Myriad Pro" panose="020B0503030403020204" pitchFamily="34" charset="0"/>
          </a:endParaRPr>
        </a:p>
      </dgm:t>
    </dgm:pt>
    <dgm:pt modelId="{4827AEAC-F6B1-4792-BB11-A609080D91CA}" type="sibTrans" cxnId="{4BDF838B-A489-4DE6-9003-7CF5CCBF8353}">
      <dgm:prSet/>
      <dgm:spPr/>
      <dgm:t>
        <a:bodyPr/>
        <a:lstStyle/>
        <a:p>
          <a:endParaRPr lang="de-DE"/>
        </a:p>
      </dgm:t>
    </dgm:pt>
    <dgm:pt modelId="{2C61C4AB-FC34-4364-9323-4A9D6350BA1C}" type="parTrans" cxnId="{4BDF838B-A489-4DE6-9003-7CF5CCBF8353}">
      <dgm:prSet/>
      <dgm:spPr/>
      <dgm:t>
        <a:bodyPr/>
        <a:lstStyle/>
        <a:p>
          <a:endParaRPr lang="de-DE"/>
        </a:p>
      </dgm:t>
    </dgm:pt>
    <dgm:pt modelId="{86A07196-5E8B-49B8-84A4-6DF135FCBFFC}">
      <dgm:prSet phldrT="[Text]" custT="1"/>
      <dgm:spPr/>
      <dgm:t>
        <a:bodyPr/>
        <a:lstStyle/>
        <a:p>
          <a:r>
            <a:rPr lang="de-DE" sz="1000" b="0" i="0" dirty="0">
              <a:latin typeface="Myriad Pro" panose="020B0503030403020204" pitchFamily="34" charset="0"/>
            </a:rPr>
            <a:t>Loss-Funktion </a:t>
          </a:r>
        </a:p>
      </dgm:t>
    </dgm:pt>
    <dgm:pt modelId="{4B4DC438-D558-40CF-9151-49154A83FB16}" type="sibTrans" cxnId="{0BE45343-E5ED-46E6-9E17-DA36296E3029}">
      <dgm:prSet/>
      <dgm:spPr/>
      <dgm:t>
        <a:bodyPr/>
        <a:lstStyle/>
        <a:p>
          <a:endParaRPr lang="de-DE"/>
        </a:p>
      </dgm:t>
    </dgm:pt>
    <dgm:pt modelId="{D0F076D3-591F-4547-A436-4947EC5EA385}" type="parTrans" cxnId="{0BE45343-E5ED-46E6-9E17-DA36296E3029}">
      <dgm:prSet/>
      <dgm:spPr/>
      <dgm:t>
        <a:bodyPr/>
        <a:lstStyle/>
        <a:p>
          <a:endParaRPr lang="de-DE"/>
        </a:p>
      </dgm:t>
    </dgm:pt>
    <dgm:pt modelId="{BF1B7062-91AB-4F1D-BD08-8D3EC4B33C1F}">
      <dgm:prSet phldrT="[Text]" custT="1"/>
      <dgm:spPr/>
      <dgm:t>
        <a:bodyPr/>
        <a:lstStyle/>
        <a:p>
          <a:r>
            <a:rPr lang="de-DE" sz="1000" b="0" i="0" dirty="0">
              <a:latin typeface="Myriad Pro" panose="020B0503030403020204" pitchFamily="34" charset="0"/>
            </a:rPr>
            <a:t>Architektur</a:t>
          </a:r>
        </a:p>
      </dgm:t>
    </dgm:pt>
    <dgm:pt modelId="{8ACEFE3D-DAAE-46D2-BF29-AF7B5FBB783D}" type="parTrans" cxnId="{626342BF-3559-4137-A851-ACB1710B13E3}">
      <dgm:prSet/>
      <dgm:spPr/>
      <dgm:t>
        <a:bodyPr/>
        <a:lstStyle/>
        <a:p>
          <a:endParaRPr lang="de-DE"/>
        </a:p>
      </dgm:t>
    </dgm:pt>
    <dgm:pt modelId="{0FF6A2D2-189B-4085-A91C-E4641E47ACCE}" type="sibTrans" cxnId="{626342BF-3559-4137-A851-ACB1710B13E3}">
      <dgm:prSet/>
      <dgm:spPr/>
      <dgm:t>
        <a:bodyPr/>
        <a:lstStyle/>
        <a:p>
          <a:endParaRPr lang="de-DE"/>
        </a:p>
      </dgm:t>
    </dgm:pt>
    <dgm:pt modelId="{4D897679-FA7C-48A2-A57F-5D0431886FF7}">
      <dgm:prSet phldrT="[Text]" custT="1"/>
      <dgm:spPr/>
      <dgm:t>
        <a:bodyPr/>
        <a:lstStyle/>
        <a:p>
          <a:r>
            <a:rPr lang="de-DE" sz="800" b="0" i="0" dirty="0">
              <a:latin typeface="Myriad Pro" panose="020B0503030403020204" pitchFamily="34" charset="0"/>
            </a:rPr>
            <a:t>U-Net</a:t>
          </a:r>
        </a:p>
      </dgm:t>
    </dgm:pt>
    <dgm:pt modelId="{C7C06085-9DF0-469C-90B3-434C5E418A6D}" type="parTrans" cxnId="{A3A0BCFB-D8D9-4632-B5AB-CF4EFA2E3C41}">
      <dgm:prSet/>
      <dgm:spPr/>
      <dgm:t>
        <a:bodyPr/>
        <a:lstStyle/>
        <a:p>
          <a:endParaRPr lang="de-DE"/>
        </a:p>
      </dgm:t>
    </dgm:pt>
    <dgm:pt modelId="{D55B2488-3E22-41F8-99B8-F1276460587D}" type="sibTrans" cxnId="{A3A0BCFB-D8D9-4632-B5AB-CF4EFA2E3C41}">
      <dgm:prSet/>
      <dgm:spPr/>
      <dgm:t>
        <a:bodyPr/>
        <a:lstStyle/>
        <a:p>
          <a:endParaRPr lang="de-DE"/>
        </a:p>
      </dgm:t>
    </dgm:pt>
    <dgm:pt modelId="{48CAF46E-7318-4269-B88D-4072C010818D}">
      <dgm:prSet phldrT="[Text]" custT="1"/>
      <dgm:spPr/>
      <dgm:t>
        <a:bodyPr/>
        <a:lstStyle/>
        <a:p>
          <a:r>
            <a:rPr lang="de-DE" sz="800" b="0" i="0" dirty="0">
              <a:latin typeface="Myriad Pro" panose="020B0503030403020204" pitchFamily="34" charset="0"/>
            </a:rPr>
            <a:t>U-Net++</a:t>
          </a:r>
        </a:p>
      </dgm:t>
    </dgm:pt>
    <dgm:pt modelId="{81CB6F6D-48DA-416D-9426-0B6E4B5AD737}" type="parTrans" cxnId="{75353E2D-D5F4-4C4B-8BFF-3A25A17EC9FB}">
      <dgm:prSet/>
      <dgm:spPr/>
      <dgm:t>
        <a:bodyPr/>
        <a:lstStyle/>
        <a:p>
          <a:endParaRPr lang="de-DE"/>
        </a:p>
      </dgm:t>
    </dgm:pt>
    <dgm:pt modelId="{D0BFACD0-8F45-4F8C-9779-0AF1AE559907}" type="sibTrans" cxnId="{75353E2D-D5F4-4C4B-8BFF-3A25A17EC9FB}">
      <dgm:prSet/>
      <dgm:spPr/>
      <dgm:t>
        <a:bodyPr/>
        <a:lstStyle/>
        <a:p>
          <a:endParaRPr lang="de-DE"/>
        </a:p>
      </dgm:t>
    </dgm:pt>
    <dgm:pt modelId="{ADED253C-6A2E-4631-B1D4-F5E1FE2B5B55}">
      <dgm:prSet phldrT="[Text]" custT="1"/>
      <dgm:spPr/>
      <dgm:t>
        <a:bodyPr/>
        <a:lstStyle/>
        <a:p>
          <a:r>
            <a:rPr lang="de-DE" sz="800" b="0" i="0" dirty="0">
              <a:latin typeface="Myriad Pro" panose="020B0503030403020204" pitchFamily="34" charset="0"/>
            </a:rPr>
            <a:t>FPN</a:t>
          </a:r>
        </a:p>
      </dgm:t>
    </dgm:pt>
    <dgm:pt modelId="{23EDCDD5-F170-402F-A11E-15FD466C3CE5}" type="parTrans" cxnId="{7CDA6FEF-3872-4337-84FA-0DD423E0FBC5}">
      <dgm:prSet/>
      <dgm:spPr/>
      <dgm:t>
        <a:bodyPr/>
        <a:lstStyle/>
        <a:p>
          <a:endParaRPr lang="de-DE"/>
        </a:p>
      </dgm:t>
    </dgm:pt>
    <dgm:pt modelId="{074D77D4-B07D-447C-B97C-356C65F95759}" type="sibTrans" cxnId="{7CDA6FEF-3872-4337-84FA-0DD423E0FBC5}">
      <dgm:prSet/>
      <dgm:spPr/>
      <dgm:t>
        <a:bodyPr/>
        <a:lstStyle/>
        <a:p>
          <a:endParaRPr lang="de-DE"/>
        </a:p>
      </dgm:t>
    </dgm:pt>
    <dgm:pt modelId="{D11BAA21-3D0E-4BFE-97F1-F349F96BB7F2}">
      <dgm:prSet phldrT="[Text]" custT="1"/>
      <dgm:spPr/>
      <dgm:t>
        <a:bodyPr/>
        <a:lstStyle/>
        <a:p>
          <a:r>
            <a:rPr lang="de-DE" sz="800" b="0" i="0" dirty="0">
              <a:latin typeface="Myriad Pro" panose="020B0503030403020204" pitchFamily="34" charset="0"/>
            </a:rPr>
            <a:t>PSPN</a:t>
          </a:r>
        </a:p>
      </dgm:t>
    </dgm:pt>
    <dgm:pt modelId="{524ED0C4-9CC2-4C2A-B51C-974FA37A7FE7}" type="parTrans" cxnId="{46C105CF-449F-4F1C-B399-CE70EC74C4C8}">
      <dgm:prSet/>
      <dgm:spPr/>
      <dgm:t>
        <a:bodyPr/>
        <a:lstStyle/>
        <a:p>
          <a:endParaRPr lang="de-DE"/>
        </a:p>
      </dgm:t>
    </dgm:pt>
    <dgm:pt modelId="{632B7E11-8BCB-44BB-80A1-C58DA59BDECF}" type="sibTrans" cxnId="{46C105CF-449F-4F1C-B399-CE70EC74C4C8}">
      <dgm:prSet/>
      <dgm:spPr/>
      <dgm:t>
        <a:bodyPr/>
        <a:lstStyle/>
        <a:p>
          <a:endParaRPr lang="de-DE"/>
        </a:p>
      </dgm:t>
    </dgm:pt>
    <dgm:pt modelId="{33587DE4-8F92-4CA4-A011-892138D47DA7}">
      <dgm:prSet phldrT="[Text]" custT="1"/>
      <dgm:spPr/>
      <dgm:t>
        <a:bodyPr/>
        <a:lstStyle/>
        <a:p>
          <a:r>
            <a:rPr lang="de-DE" sz="800" b="0" i="0" dirty="0">
              <a:latin typeface="Myriad Pro" panose="020B0503030403020204" pitchFamily="34" charset="0"/>
            </a:rPr>
            <a:t>PAN</a:t>
          </a:r>
        </a:p>
      </dgm:t>
    </dgm:pt>
    <dgm:pt modelId="{31BDA904-A9EF-437C-9DAF-E5BDF8C1106E}" type="parTrans" cxnId="{32BA70E3-2B88-4E2B-9094-EE86858857DA}">
      <dgm:prSet/>
      <dgm:spPr/>
      <dgm:t>
        <a:bodyPr/>
        <a:lstStyle/>
        <a:p>
          <a:endParaRPr lang="de-DE"/>
        </a:p>
      </dgm:t>
    </dgm:pt>
    <dgm:pt modelId="{359CEDC3-C134-4529-AEBB-BBDE1EA7D255}" type="sibTrans" cxnId="{32BA70E3-2B88-4E2B-9094-EE86858857DA}">
      <dgm:prSet/>
      <dgm:spPr/>
      <dgm:t>
        <a:bodyPr/>
        <a:lstStyle/>
        <a:p>
          <a:endParaRPr lang="de-DE"/>
        </a:p>
      </dgm:t>
    </dgm:pt>
    <dgm:pt modelId="{DAFF3CB8-4780-4F42-8F5A-A2879CF5C5A6}">
      <dgm:prSet phldrT="[Text]" custT="1"/>
      <dgm:spPr/>
      <dgm:t>
        <a:bodyPr/>
        <a:lstStyle/>
        <a:p>
          <a:r>
            <a:rPr lang="de-DE" sz="1000" b="0" i="0" dirty="0" err="1">
              <a:latin typeface="Myriad Pro" panose="020B0503030403020204" pitchFamily="34" charset="0"/>
            </a:rPr>
            <a:t>Lernrate</a:t>
          </a:r>
          <a:endParaRPr lang="de-DE" sz="1000" b="0" i="0" dirty="0">
            <a:latin typeface="Myriad Pro" panose="020B0503030403020204" pitchFamily="34" charset="0"/>
          </a:endParaRPr>
        </a:p>
      </dgm:t>
    </dgm:pt>
    <dgm:pt modelId="{BB72E3E4-7E20-4FF3-87BE-AD24CB2F12EE}" type="parTrans" cxnId="{C5BE0DE1-3793-4C23-A900-78112F2919D4}">
      <dgm:prSet/>
      <dgm:spPr/>
      <dgm:t>
        <a:bodyPr/>
        <a:lstStyle/>
        <a:p>
          <a:endParaRPr lang="de-DE"/>
        </a:p>
      </dgm:t>
    </dgm:pt>
    <dgm:pt modelId="{1E1C3655-4299-4282-B808-C53E3FABF68D}" type="sibTrans" cxnId="{C5BE0DE1-3793-4C23-A900-78112F2919D4}">
      <dgm:prSet/>
      <dgm:spPr/>
      <dgm:t>
        <a:bodyPr/>
        <a:lstStyle/>
        <a:p>
          <a:endParaRPr lang="de-DE"/>
        </a:p>
      </dgm:t>
    </dgm:pt>
    <dgm:pt modelId="{49A0BB83-CEA0-46AB-9D0B-B65F612AEE4A}">
      <dgm:prSet phldrT="[Text]" custT="1"/>
      <dgm:spPr/>
      <dgm:t>
        <a:bodyPr/>
        <a:lstStyle/>
        <a:p>
          <a:r>
            <a:rPr lang="de-DE" sz="1000" b="0" i="0" dirty="0">
              <a:latin typeface="Myriad Pro" panose="020B0503030403020204" pitchFamily="34" charset="0"/>
            </a:rPr>
            <a:t>Encoder</a:t>
          </a:r>
        </a:p>
      </dgm:t>
    </dgm:pt>
    <dgm:pt modelId="{AE65C2BF-225F-4643-AE59-9457E6820B24}" type="parTrans" cxnId="{0419F4C6-C72F-44E5-856A-7A5E20A609B0}">
      <dgm:prSet/>
      <dgm:spPr/>
      <dgm:t>
        <a:bodyPr/>
        <a:lstStyle/>
        <a:p>
          <a:endParaRPr lang="de-DE"/>
        </a:p>
      </dgm:t>
    </dgm:pt>
    <dgm:pt modelId="{2328B74F-4929-49C4-A401-C9585D838753}" type="sibTrans" cxnId="{0419F4C6-C72F-44E5-856A-7A5E20A609B0}">
      <dgm:prSet/>
      <dgm:spPr/>
      <dgm:t>
        <a:bodyPr/>
        <a:lstStyle/>
        <a:p>
          <a:endParaRPr lang="de-DE"/>
        </a:p>
      </dgm:t>
    </dgm:pt>
    <dgm:pt modelId="{C1F68F19-94EA-4970-A79B-863E823848E5}">
      <dgm:prSet phldrT="[Text]" custT="1"/>
      <dgm:spPr/>
      <dgm:t>
        <a:bodyPr/>
        <a:lstStyle/>
        <a:p>
          <a:r>
            <a:rPr lang="de-DE" sz="800" b="0" i="0" dirty="0" err="1">
              <a:latin typeface="Myriad Pro" panose="020B0503030403020204" pitchFamily="34" charset="0"/>
            </a:rPr>
            <a:t>ResNet</a:t>
          </a:r>
          <a:endParaRPr lang="de-DE" sz="800" b="0" i="0" dirty="0">
            <a:latin typeface="Myriad Pro" panose="020B0503030403020204" pitchFamily="34" charset="0"/>
          </a:endParaRPr>
        </a:p>
      </dgm:t>
    </dgm:pt>
    <dgm:pt modelId="{0F1B911F-6353-4AE6-9EEF-D49625DE905E}" type="parTrans" cxnId="{4A7380CF-8162-4F2E-9F90-B51642631E94}">
      <dgm:prSet/>
      <dgm:spPr/>
      <dgm:t>
        <a:bodyPr/>
        <a:lstStyle/>
        <a:p>
          <a:endParaRPr lang="de-DE"/>
        </a:p>
      </dgm:t>
    </dgm:pt>
    <dgm:pt modelId="{60DB14D8-838D-4A63-A334-C12EB1C7625D}" type="sibTrans" cxnId="{4A7380CF-8162-4F2E-9F90-B51642631E94}">
      <dgm:prSet/>
      <dgm:spPr/>
      <dgm:t>
        <a:bodyPr/>
        <a:lstStyle/>
        <a:p>
          <a:endParaRPr lang="de-DE"/>
        </a:p>
      </dgm:t>
    </dgm:pt>
    <dgm:pt modelId="{3EC8FF9E-3113-473A-A5E5-ABD9C5F94794}">
      <dgm:prSet phldrT="[Text]" custT="1"/>
      <dgm:spPr/>
      <dgm:t>
        <a:bodyPr/>
        <a:lstStyle/>
        <a:p>
          <a:r>
            <a:rPr lang="de-DE" sz="800" b="0" i="0" dirty="0" err="1">
              <a:latin typeface="Myriad Pro" panose="020B0503030403020204" pitchFamily="34" charset="0"/>
            </a:rPr>
            <a:t>ResNext</a:t>
          </a:r>
          <a:endParaRPr lang="de-DE" sz="800" b="0" i="0" dirty="0">
            <a:latin typeface="Myriad Pro" panose="020B0503030403020204" pitchFamily="34" charset="0"/>
          </a:endParaRPr>
        </a:p>
      </dgm:t>
    </dgm:pt>
    <dgm:pt modelId="{87CDD4F3-E71F-44A9-B515-E47672A849B6}" type="parTrans" cxnId="{0A8FCBF8-AD1F-4CF4-8568-2F5CBABA5157}">
      <dgm:prSet/>
      <dgm:spPr/>
      <dgm:t>
        <a:bodyPr/>
        <a:lstStyle/>
        <a:p>
          <a:endParaRPr lang="de-DE"/>
        </a:p>
      </dgm:t>
    </dgm:pt>
    <dgm:pt modelId="{25369813-4686-4B37-9746-915D5E2ABB1B}" type="sibTrans" cxnId="{0A8FCBF8-AD1F-4CF4-8568-2F5CBABA5157}">
      <dgm:prSet/>
      <dgm:spPr/>
      <dgm:t>
        <a:bodyPr/>
        <a:lstStyle/>
        <a:p>
          <a:endParaRPr lang="de-DE"/>
        </a:p>
      </dgm:t>
    </dgm:pt>
    <dgm:pt modelId="{E0EC0A27-9EDB-47A4-8DED-CBD1A61B9BC9}">
      <dgm:prSet phldrT="[Text]" custT="1"/>
      <dgm:spPr/>
      <dgm:t>
        <a:bodyPr/>
        <a:lstStyle/>
        <a:p>
          <a:r>
            <a:rPr lang="de-DE" sz="800" b="0" i="0" dirty="0">
              <a:latin typeface="Myriad Pro" panose="020B0503030403020204" pitchFamily="34" charset="0"/>
            </a:rPr>
            <a:t>Inception-V4</a:t>
          </a:r>
        </a:p>
      </dgm:t>
    </dgm:pt>
    <dgm:pt modelId="{C6050D19-3AE0-4870-8460-7297D5C8A50F}" type="sibTrans" cxnId="{FEC8D416-8216-4562-8549-24473B803C80}">
      <dgm:prSet/>
      <dgm:spPr/>
      <dgm:t>
        <a:bodyPr/>
        <a:lstStyle/>
        <a:p>
          <a:endParaRPr lang="de-DE"/>
        </a:p>
      </dgm:t>
    </dgm:pt>
    <dgm:pt modelId="{42F96A8F-BB1E-4B89-AB8E-11A0F37EB1DB}" type="parTrans" cxnId="{FEC8D416-8216-4562-8549-24473B803C80}">
      <dgm:prSet/>
      <dgm:spPr/>
      <dgm:t>
        <a:bodyPr/>
        <a:lstStyle/>
        <a:p>
          <a:endParaRPr lang="de-DE"/>
        </a:p>
      </dgm:t>
    </dgm:pt>
    <dgm:pt modelId="{4DA8AE24-A75C-40AE-A6A1-13FE57AE449D}">
      <dgm:prSet phldrT="[Text]" custT="1"/>
      <dgm:spPr/>
      <dgm:t>
        <a:bodyPr/>
        <a:lstStyle/>
        <a:p>
          <a:r>
            <a:rPr lang="de-DE" sz="800" b="0" i="0" dirty="0">
              <a:latin typeface="Myriad Pro" panose="020B0503030403020204" pitchFamily="34" charset="0"/>
            </a:rPr>
            <a:t>Inception-</a:t>
          </a:r>
          <a:r>
            <a:rPr lang="de-DE" sz="800" b="0" i="0" dirty="0" err="1">
              <a:latin typeface="Myriad Pro" panose="020B0503030403020204" pitchFamily="34" charset="0"/>
            </a:rPr>
            <a:t>ResNet</a:t>
          </a:r>
          <a:endParaRPr lang="de-DE" sz="800" b="0" i="0" dirty="0">
            <a:latin typeface="Myriad Pro" panose="020B0503030403020204" pitchFamily="34" charset="0"/>
          </a:endParaRPr>
        </a:p>
      </dgm:t>
    </dgm:pt>
    <dgm:pt modelId="{DF4C3ABC-A688-4048-91A3-DFE9CE606182}" type="sibTrans" cxnId="{F4D4E3EF-4C7A-4DD4-B693-2A68087757F8}">
      <dgm:prSet/>
      <dgm:spPr/>
      <dgm:t>
        <a:bodyPr/>
        <a:lstStyle/>
        <a:p>
          <a:endParaRPr lang="de-DE"/>
        </a:p>
      </dgm:t>
    </dgm:pt>
    <dgm:pt modelId="{2DCC687C-BE9B-4DD8-8A80-E970635437CA}" type="parTrans" cxnId="{F4D4E3EF-4C7A-4DD4-B693-2A68087757F8}">
      <dgm:prSet/>
      <dgm:spPr/>
      <dgm:t>
        <a:bodyPr/>
        <a:lstStyle/>
        <a:p>
          <a:endParaRPr lang="de-DE"/>
        </a:p>
      </dgm:t>
    </dgm:pt>
    <dgm:pt modelId="{50C4D88C-9CB0-4513-8456-755395491158}" type="pres">
      <dgm:prSet presAssocID="{96C9D5F4-FF4F-420D-8420-A926E166D7A2}" presName="Name0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</dgm:pt>
    <dgm:pt modelId="{506FBA0B-6598-4404-B87A-56869B8718E3}" type="pres">
      <dgm:prSet presAssocID="{D0997319-AE2C-4C46-ADCB-BA43BE3F3F54}" presName="root1" presStyleCnt="0"/>
      <dgm:spPr/>
    </dgm:pt>
    <dgm:pt modelId="{DCF5B4EF-DE4F-4292-A3B2-724C163A44AB}" type="pres">
      <dgm:prSet presAssocID="{D0997319-AE2C-4C46-ADCB-BA43BE3F3F54}" presName="LevelOneTextNode" presStyleLbl="node0" presStyleIdx="0" presStyleCnt="1">
        <dgm:presLayoutVars>
          <dgm:chPref val="3"/>
        </dgm:presLayoutVars>
      </dgm:prSet>
      <dgm:spPr/>
    </dgm:pt>
    <dgm:pt modelId="{7E8A6FC8-F240-4C27-8F75-0549E9D1CE4E}" type="pres">
      <dgm:prSet presAssocID="{D0997319-AE2C-4C46-ADCB-BA43BE3F3F54}" presName="level2hierChild" presStyleCnt="0"/>
      <dgm:spPr/>
    </dgm:pt>
    <dgm:pt modelId="{BE328E0A-C287-4B1A-BD90-C0F3098FFCD9}" type="pres">
      <dgm:prSet presAssocID="{B164CB56-71EE-412E-A3A2-1509A3B08E05}" presName="conn2-1" presStyleLbl="parChTrans1D2" presStyleIdx="0" presStyleCnt="3"/>
      <dgm:spPr/>
    </dgm:pt>
    <dgm:pt modelId="{1EB559E9-DB95-4028-B960-01A592B99E92}" type="pres">
      <dgm:prSet presAssocID="{B164CB56-71EE-412E-A3A2-1509A3B08E05}" presName="connTx" presStyleLbl="parChTrans1D2" presStyleIdx="0" presStyleCnt="3"/>
      <dgm:spPr/>
    </dgm:pt>
    <dgm:pt modelId="{9893F228-CFAA-415F-97D9-8C8EA9FB1BC5}" type="pres">
      <dgm:prSet presAssocID="{8E70AA8F-7583-4AFE-9EDE-87363894E1F8}" presName="root2" presStyleCnt="0"/>
      <dgm:spPr/>
    </dgm:pt>
    <dgm:pt modelId="{49ADAAAB-354D-4968-9DE9-378E6595E5BB}" type="pres">
      <dgm:prSet presAssocID="{8E70AA8F-7583-4AFE-9EDE-87363894E1F8}" presName="LevelTwoTextNode" presStyleLbl="node2" presStyleIdx="0" presStyleCnt="3">
        <dgm:presLayoutVars>
          <dgm:chPref val="3"/>
        </dgm:presLayoutVars>
      </dgm:prSet>
      <dgm:spPr/>
    </dgm:pt>
    <dgm:pt modelId="{46E2FE2A-A747-4DEE-AAF5-53A8EE84B06B}" type="pres">
      <dgm:prSet presAssocID="{8E70AA8F-7583-4AFE-9EDE-87363894E1F8}" presName="level3hierChild" presStyleCnt="0"/>
      <dgm:spPr/>
    </dgm:pt>
    <dgm:pt modelId="{A00DE1AA-92DF-4607-98DB-1C3BB048DCF5}" type="pres">
      <dgm:prSet presAssocID="{8ACEFE3D-DAAE-46D2-BF29-AF7B5FBB783D}" presName="conn2-1" presStyleLbl="parChTrans1D3" presStyleIdx="0" presStyleCnt="10"/>
      <dgm:spPr/>
    </dgm:pt>
    <dgm:pt modelId="{FCADF10C-D51C-403A-B095-E884F4771DA4}" type="pres">
      <dgm:prSet presAssocID="{8ACEFE3D-DAAE-46D2-BF29-AF7B5FBB783D}" presName="connTx" presStyleLbl="parChTrans1D3" presStyleIdx="0" presStyleCnt="10"/>
      <dgm:spPr/>
    </dgm:pt>
    <dgm:pt modelId="{82114EE1-887C-431E-AFFD-6C4277E5953D}" type="pres">
      <dgm:prSet presAssocID="{BF1B7062-91AB-4F1D-BD08-8D3EC4B33C1F}" presName="root2" presStyleCnt="0"/>
      <dgm:spPr/>
    </dgm:pt>
    <dgm:pt modelId="{F9F18759-F577-4686-9C34-EB964D732C77}" type="pres">
      <dgm:prSet presAssocID="{BF1B7062-91AB-4F1D-BD08-8D3EC4B33C1F}" presName="LevelTwoTextNode" presStyleLbl="node3" presStyleIdx="0" presStyleCnt="10">
        <dgm:presLayoutVars>
          <dgm:chPref val="3"/>
        </dgm:presLayoutVars>
      </dgm:prSet>
      <dgm:spPr/>
    </dgm:pt>
    <dgm:pt modelId="{54BDE115-2A0C-4217-89B4-E7E8586234DB}" type="pres">
      <dgm:prSet presAssocID="{BF1B7062-91AB-4F1D-BD08-8D3EC4B33C1F}" presName="level3hierChild" presStyleCnt="0"/>
      <dgm:spPr/>
    </dgm:pt>
    <dgm:pt modelId="{6D05A90F-5A8D-42F9-A2CB-82F28C0FF2BC}" type="pres">
      <dgm:prSet presAssocID="{C7C06085-9DF0-469C-90B3-434C5E418A6D}" presName="conn2-1" presStyleLbl="parChTrans1D4" presStyleIdx="0" presStyleCnt="9"/>
      <dgm:spPr/>
    </dgm:pt>
    <dgm:pt modelId="{799FD5E4-5D76-4338-BDA8-9F7F790A3A29}" type="pres">
      <dgm:prSet presAssocID="{C7C06085-9DF0-469C-90B3-434C5E418A6D}" presName="connTx" presStyleLbl="parChTrans1D4" presStyleIdx="0" presStyleCnt="9"/>
      <dgm:spPr/>
    </dgm:pt>
    <dgm:pt modelId="{1C875D8C-6779-45C7-9DF1-E38374A18533}" type="pres">
      <dgm:prSet presAssocID="{4D897679-FA7C-48A2-A57F-5D0431886FF7}" presName="root2" presStyleCnt="0"/>
      <dgm:spPr/>
    </dgm:pt>
    <dgm:pt modelId="{F8A94DA1-2081-4A8B-816C-A9F98C2853F5}" type="pres">
      <dgm:prSet presAssocID="{4D897679-FA7C-48A2-A57F-5D0431886FF7}" presName="LevelTwoTextNode" presStyleLbl="node4" presStyleIdx="0" presStyleCnt="9">
        <dgm:presLayoutVars>
          <dgm:chPref val="3"/>
        </dgm:presLayoutVars>
      </dgm:prSet>
      <dgm:spPr/>
    </dgm:pt>
    <dgm:pt modelId="{BE78AA36-14CC-406D-9CAF-F23AD3DFDFED}" type="pres">
      <dgm:prSet presAssocID="{4D897679-FA7C-48A2-A57F-5D0431886FF7}" presName="level3hierChild" presStyleCnt="0"/>
      <dgm:spPr/>
    </dgm:pt>
    <dgm:pt modelId="{8F0AA0AA-EF8D-43DE-82C5-2D7BFD08315F}" type="pres">
      <dgm:prSet presAssocID="{81CB6F6D-48DA-416D-9426-0B6E4B5AD737}" presName="conn2-1" presStyleLbl="parChTrans1D4" presStyleIdx="1" presStyleCnt="9"/>
      <dgm:spPr/>
    </dgm:pt>
    <dgm:pt modelId="{FD15021D-62B7-4A46-932A-654E778DB44B}" type="pres">
      <dgm:prSet presAssocID="{81CB6F6D-48DA-416D-9426-0B6E4B5AD737}" presName="connTx" presStyleLbl="parChTrans1D4" presStyleIdx="1" presStyleCnt="9"/>
      <dgm:spPr/>
    </dgm:pt>
    <dgm:pt modelId="{92C6DF90-94C7-417B-A0B7-472D3330DFC6}" type="pres">
      <dgm:prSet presAssocID="{48CAF46E-7318-4269-B88D-4072C010818D}" presName="root2" presStyleCnt="0"/>
      <dgm:spPr/>
    </dgm:pt>
    <dgm:pt modelId="{571B8373-7DFF-4282-8AA6-80F7CC7EA7C8}" type="pres">
      <dgm:prSet presAssocID="{48CAF46E-7318-4269-B88D-4072C010818D}" presName="LevelTwoTextNode" presStyleLbl="node4" presStyleIdx="1" presStyleCnt="9">
        <dgm:presLayoutVars>
          <dgm:chPref val="3"/>
        </dgm:presLayoutVars>
      </dgm:prSet>
      <dgm:spPr/>
    </dgm:pt>
    <dgm:pt modelId="{2E395B4D-D351-4809-A97B-BD1545D151D6}" type="pres">
      <dgm:prSet presAssocID="{48CAF46E-7318-4269-B88D-4072C010818D}" presName="level3hierChild" presStyleCnt="0"/>
      <dgm:spPr/>
    </dgm:pt>
    <dgm:pt modelId="{709C936E-7E65-4B5A-AC40-4548A25152AC}" type="pres">
      <dgm:prSet presAssocID="{23EDCDD5-F170-402F-A11E-15FD466C3CE5}" presName="conn2-1" presStyleLbl="parChTrans1D4" presStyleIdx="2" presStyleCnt="9"/>
      <dgm:spPr/>
    </dgm:pt>
    <dgm:pt modelId="{79D3B186-92E5-40C6-A995-4173A00C788D}" type="pres">
      <dgm:prSet presAssocID="{23EDCDD5-F170-402F-A11E-15FD466C3CE5}" presName="connTx" presStyleLbl="parChTrans1D4" presStyleIdx="2" presStyleCnt="9"/>
      <dgm:spPr/>
    </dgm:pt>
    <dgm:pt modelId="{288D4D72-A885-421E-B53B-89BEC0A8E191}" type="pres">
      <dgm:prSet presAssocID="{ADED253C-6A2E-4631-B1D4-F5E1FE2B5B55}" presName="root2" presStyleCnt="0"/>
      <dgm:spPr/>
    </dgm:pt>
    <dgm:pt modelId="{9E59A063-5821-4E2B-8FD8-3EBA8922B98E}" type="pres">
      <dgm:prSet presAssocID="{ADED253C-6A2E-4631-B1D4-F5E1FE2B5B55}" presName="LevelTwoTextNode" presStyleLbl="node4" presStyleIdx="2" presStyleCnt="9">
        <dgm:presLayoutVars>
          <dgm:chPref val="3"/>
        </dgm:presLayoutVars>
      </dgm:prSet>
      <dgm:spPr/>
    </dgm:pt>
    <dgm:pt modelId="{A60165E3-8C06-4086-B11F-0E702421E440}" type="pres">
      <dgm:prSet presAssocID="{ADED253C-6A2E-4631-B1D4-F5E1FE2B5B55}" presName="level3hierChild" presStyleCnt="0"/>
      <dgm:spPr/>
    </dgm:pt>
    <dgm:pt modelId="{C5F46441-018D-4AD0-9984-278FB6B3653F}" type="pres">
      <dgm:prSet presAssocID="{524ED0C4-9CC2-4C2A-B51C-974FA37A7FE7}" presName="conn2-1" presStyleLbl="parChTrans1D4" presStyleIdx="3" presStyleCnt="9"/>
      <dgm:spPr/>
    </dgm:pt>
    <dgm:pt modelId="{D9EA4352-69AB-4BEF-A3B8-25557C0E3D3D}" type="pres">
      <dgm:prSet presAssocID="{524ED0C4-9CC2-4C2A-B51C-974FA37A7FE7}" presName="connTx" presStyleLbl="parChTrans1D4" presStyleIdx="3" presStyleCnt="9"/>
      <dgm:spPr/>
    </dgm:pt>
    <dgm:pt modelId="{0E92266F-6127-4D65-BB11-33FD467F105D}" type="pres">
      <dgm:prSet presAssocID="{D11BAA21-3D0E-4BFE-97F1-F349F96BB7F2}" presName="root2" presStyleCnt="0"/>
      <dgm:spPr/>
    </dgm:pt>
    <dgm:pt modelId="{E35C2840-DB93-493D-B275-166B0E0C4A9D}" type="pres">
      <dgm:prSet presAssocID="{D11BAA21-3D0E-4BFE-97F1-F349F96BB7F2}" presName="LevelTwoTextNode" presStyleLbl="node4" presStyleIdx="3" presStyleCnt="9">
        <dgm:presLayoutVars>
          <dgm:chPref val="3"/>
        </dgm:presLayoutVars>
      </dgm:prSet>
      <dgm:spPr/>
    </dgm:pt>
    <dgm:pt modelId="{D8A053A6-8CD3-465F-9ECC-7C0D113893EE}" type="pres">
      <dgm:prSet presAssocID="{D11BAA21-3D0E-4BFE-97F1-F349F96BB7F2}" presName="level3hierChild" presStyleCnt="0"/>
      <dgm:spPr/>
    </dgm:pt>
    <dgm:pt modelId="{FAF45787-F807-4BB6-923D-0C0E2CD8C149}" type="pres">
      <dgm:prSet presAssocID="{31BDA904-A9EF-437C-9DAF-E5BDF8C1106E}" presName="conn2-1" presStyleLbl="parChTrans1D4" presStyleIdx="4" presStyleCnt="9"/>
      <dgm:spPr/>
    </dgm:pt>
    <dgm:pt modelId="{8B0AB1CA-7D19-4139-820F-FBEA5B4373F8}" type="pres">
      <dgm:prSet presAssocID="{31BDA904-A9EF-437C-9DAF-E5BDF8C1106E}" presName="connTx" presStyleLbl="parChTrans1D4" presStyleIdx="4" presStyleCnt="9"/>
      <dgm:spPr/>
    </dgm:pt>
    <dgm:pt modelId="{C3306D52-2437-4385-ACA3-7D8CE9EB0569}" type="pres">
      <dgm:prSet presAssocID="{33587DE4-8F92-4CA4-A011-892138D47DA7}" presName="root2" presStyleCnt="0"/>
      <dgm:spPr/>
    </dgm:pt>
    <dgm:pt modelId="{8F47A465-73D6-48E5-83FD-F149301C3BBD}" type="pres">
      <dgm:prSet presAssocID="{33587DE4-8F92-4CA4-A011-892138D47DA7}" presName="LevelTwoTextNode" presStyleLbl="node4" presStyleIdx="4" presStyleCnt="9">
        <dgm:presLayoutVars>
          <dgm:chPref val="3"/>
        </dgm:presLayoutVars>
      </dgm:prSet>
      <dgm:spPr/>
    </dgm:pt>
    <dgm:pt modelId="{E32E857A-F3CD-4263-AB35-D59E97F83B1D}" type="pres">
      <dgm:prSet presAssocID="{33587DE4-8F92-4CA4-A011-892138D47DA7}" presName="level3hierChild" presStyleCnt="0"/>
      <dgm:spPr/>
    </dgm:pt>
    <dgm:pt modelId="{5BC2DE1D-C4D7-4BFC-A0C1-3D282DC024CD}" type="pres">
      <dgm:prSet presAssocID="{AE65C2BF-225F-4643-AE59-9457E6820B24}" presName="conn2-1" presStyleLbl="parChTrans1D3" presStyleIdx="1" presStyleCnt="10"/>
      <dgm:spPr/>
    </dgm:pt>
    <dgm:pt modelId="{0C497864-2349-44C5-8D11-5F89748F0519}" type="pres">
      <dgm:prSet presAssocID="{AE65C2BF-225F-4643-AE59-9457E6820B24}" presName="connTx" presStyleLbl="parChTrans1D3" presStyleIdx="1" presStyleCnt="10"/>
      <dgm:spPr/>
    </dgm:pt>
    <dgm:pt modelId="{9DEE4079-5D60-4753-AEAE-EF1343D66E8F}" type="pres">
      <dgm:prSet presAssocID="{49A0BB83-CEA0-46AB-9D0B-B65F612AEE4A}" presName="root2" presStyleCnt="0"/>
      <dgm:spPr/>
    </dgm:pt>
    <dgm:pt modelId="{DC0B28EB-699E-45BB-87EC-30E574E72821}" type="pres">
      <dgm:prSet presAssocID="{49A0BB83-CEA0-46AB-9D0B-B65F612AEE4A}" presName="LevelTwoTextNode" presStyleLbl="node3" presStyleIdx="1" presStyleCnt="10">
        <dgm:presLayoutVars>
          <dgm:chPref val="3"/>
        </dgm:presLayoutVars>
      </dgm:prSet>
      <dgm:spPr/>
    </dgm:pt>
    <dgm:pt modelId="{F96545F6-99BC-46B9-929F-A49863AE73CF}" type="pres">
      <dgm:prSet presAssocID="{49A0BB83-CEA0-46AB-9D0B-B65F612AEE4A}" presName="level3hierChild" presStyleCnt="0"/>
      <dgm:spPr/>
    </dgm:pt>
    <dgm:pt modelId="{7F2C676C-E906-4B26-892E-C728B9239429}" type="pres">
      <dgm:prSet presAssocID="{42F96A8F-BB1E-4B89-AB8E-11A0F37EB1DB}" presName="conn2-1" presStyleLbl="parChTrans1D4" presStyleIdx="5" presStyleCnt="9"/>
      <dgm:spPr/>
    </dgm:pt>
    <dgm:pt modelId="{F614A676-E312-4A6F-BE9F-B6E2993177B6}" type="pres">
      <dgm:prSet presAssocID="{42F96A8F-BB1E-4B89-AB8E-11A0F37EB1DB}" presName="connTx" presStyleLbl="parChTrans1D4" presStyleIdx="5" presStyleCnt="9"/>
      <dgm:spPr/>
    </dgm:pt>
    <dgm:pt modelId="{BDC558D4-E8FE-4402-98B6-954B2DED52D1}" type="pres">
      <dgm:prSet presAssocID="{E0EC0A27-9EDB-47A4-8DED-CBD1A61B9BC9}" presName="root2" presStyleCnt="0"/>
      <dgm:spPr/>
    </dgm:pt>
    <dgm:pt modelId="{81473451-3FF3-474B-98FB-6869E5682468}" type="pres">
      <dgm:prSet presAssocID="{E0EC0A27-9EDB-47A4-8DED-CBD1A61B9BC9}" presName="LevelTwoTextNode" presStyleLbl="node4" presStyleIdx="5" presStyleCnt="9">
        <dgm:presLayoutVars>
          <dgm:chPref val="3"/>
        </dgm:presLayoutVars>
      </dgm:prSet>
      <dgm:spPr/>
    </dgm:pt>
    <dgm:pt modelId="{FA9000AC-D9F7-467D-A35D-DAD03D5FE186}" type="pres">
      <dgm:prSet presAssocID="{E0EC0A27-9EDB-47A4-8DED-CBD1A61B9BC9}" presName="level3hierChild" presStyleCnt="0"/>
      <dgm:spPr/>
    </dgm:pt>
    <dgm:pt modelId="{2B4072C3-2623-4EA4-94B7-025A9DCD72E9}" type="pres">
      <dgm:prSet presAssocID="{2DCC687C-BE9B-4DD8-8A80-E970635437CA}" presName="conn2-1" presStyleLbl="parChTrans1D4" presStyleIdx="6" presStyleCnt="9"/>
      <dgm:spPr/>
    </dgm:pt>
    <dgm:pt modelId="{7260B369-A7E2-44EA-98FE-B408D79B13A6}" type="pres">
      <dgm:prSet presAssocID="{2DCC687C-BE9B-4DD8-8A80-E970635437CA}" presName="connTx" presStyleLbl="parChTrans1D4" presStyleIdx="6" presStyleCnt="9"/>
      <dgm:spPr/>
    </dgm:pt>
    <dgm:pt modelId="{1FAAD552-F495-4DB6-9E8B-FAAEB560B2F6}" type="pres">
      <dgm:prSet presAssocID="{4DA8AE24-A75C-40AE-A6A1-13FE57AE449D}" presName="root2" presStyleCnt="0"/>
      <dgm:spPr/>
    </dgm:pt>
    <dgm:pt modelId="{A732D3F1-1291-409E-9A7C-778CAE167F89}" type="pres">
      <dgm:prSet presAssocID="{4DA8AE24-A75C-40AE-A6A1-13FE57AE449D}" presName="LevelTwoTextNode" presStyleLbl="node4" presStyleIdx="6" presStyleCnt="9">
        <dgm:presLayoutVars>
          <dgm:chPref val="3"/>
        </dgm:presLayoutVars>
      </dgm:prSet>
      <dgm:spPr/>
    </dgm:pt>
    <dgm:pt modelId="{AB597740-6E08-435C-B03D-74A3C28F6C7A}" type="pres">
      <dgm:prSet presAssocID="{4DA8AE24-A75C-40AE-A6A1-13FE57AE449D}" presName="level3hierChild" presStyleCnt="0"/>
      <dgm:spPr/>
    </dgm:pt>
    <dgm:pt modelId="{9458E52A-38CE-4EE6-A620-F703970B8164}" type="pres">
      <dgm:prSet presAssocID="{0F1B911F-6353-4AE6-9EEF-D49625DE905E}" presName="conn2-1" presStyleLbl="parChTrans1D4" presStyleIdx="7" presStyleCnt="9"/>
      <dgm:spPr/>
    </dgm:pt>
    <dgm:pt modelId="{32DEAE14-947F-44E2-8D61-C101875AB07D}" type="pres">
      <dgm:prSet presAssocID="{0F1B911F-6353-4AE6-9EEF-D49625DE905E}" presName="connTx" presStyleLbl="parChTrans1D4" presStyleIdx="7" presStyleCnt="9"/>
      <dgm:spPr/>
    </dgm:pt>
    <dgm:pt modelId="{69E10A20-FCE4-4D83-88A1-14D71635473C}" type="pres">
      <dgm:prSet presAssocID="{C1F68F19-94EA-4970-A79B-863E823848E5}" presName="root2" presStyleCnt="0"/>
      <dgm:spPr/>
    </dgm:pt>
    <dgm:pt modelId="{42C465EB-33D9-4AD2-A33B-930C8E39ED41}" type="pres">
      <dgm:prSet presAssocID="{C1F68F19-94EA-4970-A79B-863E823848E5}" presName="LevelTwoTextNode" presStyleLbl="node4" presStyleIdx="7" presStyleCnt="9">
        <dgm:presLayoutVars>
          <dgm:chPref val="3"/>
        </dgm:presLayoutVars>
      </dgm:prSet>
      <dgm:spPr/>
    </dgm:pt>
    <dgm:pt modelId="{2EF723DA-603B-48F9-A950-71099D97A93D}" type="pres">
      <dgm:prSet presAssocID="{C1F68F19-94EA-4970-A79B-863E823848E5}" presName="level3hierChild" presStyleCnt="0"/>
      <dgm:spPr/>
    </dgm:pt>
    <dgm:pt modelId="{329CD9E0-9945-40C9-89A5-5929AA1A3A82}" type="pres">
      <dgm:prSet presAssocID="{87CDD4F3-E71F-44A9-B515-E47672A849B6}" presName="conn2-1" presStyleLbl="parChTrans1D4" presStyleIdx="8" presStyleCnt="9"/>
      <dgm:spPr/>
    </dgm:pt>
    <dgm:pt modelId="{27874C32-AAAE-43E2-B803-B20B1E2D7450}" type="pres">
      <dgm:prSet presAssocID="{87CDD4F3-E71F-44A9-B515-E47672A849B6}" presName="connTx" presStyleLbl="parChTrans1D4" presStyleIdx="8" presStyleCnt="9"/>
      <dgm:spPr/>
    </dgm:pt>
    <dgm:pt modelId="{413EDB34-EEB8-4846-8BF9-D4944F61EBD3}" type="pres">
      <dgm:prSet presAssocID="{3EC8FF9E-3113-473A-A5E5-ABD9C5F94794}" presName="root2" presStyleCnt="0"/>
      <dgm:spPr/>
    </dgm:pt>
    <dgm:pt modelId="{84D7F889-3498-48D8-ADC3-14251347C81B}" type="pres">
      <dgm:prSet presAssocID="{3EC8FF9E-3113-473A-A5E5-ABD9C5F94794}" presName="LevelTwoTextNode" presStyleLbl="node4" presStyleIdx="8" presStyleCnt="9">
        <dgm:presLayoutVars>
          <dgm:chPref val="3"/>
        </dgm:presLayoutVars>
      </dgm:prSet>
      <dgm:spPr/>
    </dgm:pt>
    <dgm:pt modelId="{E91235D0-FC5C-4DA2-AB29-EC075B3DCA81}" type="pres">
      <dgm:prSet presAssocID="{3EC8FF9E-3113-473A-A5E5-ABD9C5F94794}" presName="level3hierChild" presStyleCnt="0"/>
      <dgm:spPr/>
    </dgm:pt>
    <dgm:pt modelId="{A4E05C94-2209-4BF4-B627-606397BBC1C5}" type="pres">
      <dgm:prSet presAssocID="{BB72E3E4-7E20-4FF3-87BE-AD24CB2F12EE}" presName="conn2-1" presStyleLbl="parChTrans1D3" presStyleIdx="2" presStyleCnt="10"/>
      <dgm:spPr/>
    </dgm:pt>
    <dgm:pt modelId="{6DCFD290-34D5-45FC-84C5-03B4A3AFAD52}" type="pres">
      <dgm:prSet presAssocID="{BB72E3E4-7E20-4FF3-87BE-AD24CB2F12EE}" presName="connTx" presStyleLbl="parChTrans1D3" presStyleIdx="2" presStyleCnt="10"/>
      <dgm:spPr/>
    </dgm:pt>
    <dgm:pt modelId="{D6C31984-0B65-416F-A6B1-E0A22FFF6163}" type="pres">
      <dgm:prSet presAssocID="{DAFF3CB8-4780-4F42-8F5A-A2879CF5C5A6}" presName="root2" presStyleCnt="0"/>
      <dgm:spPr/>
    </dgm:pt>
    <dgm:pt modelId="{485D5E8B-1295-4B72-BF14-74B2BE7008EE}" type="pres">
      <dgm:prSet presAssocID="{DAFF3CB8-4780-4F42-8F5A-A2879CF5C5A6}" presName="LevelTwoTextNode" presStyleLbl="node3" presStyleIdx="2" presStyleCnt="10">
        <dgm:presLayoutVars>
          <dgm:chPref val="3"/>
        </dgm:presLayoutVars>
      </dgm:prSet>
      <dgm:spPr/>
    </dgm:pt>
    <dgm:pt modelId="{49EAA066-0495-427D-9425-BE1889EED5E1}" type="pres">
      <dgm:prSet presAssocID="{DAFF3CB8-4780-4F42-8F5A-A2879CF5C5A6}" presName="level3hierChild" presStyleCnt="0"/>
      <dgm:spPr/>
    </dgm:pt>
    <dgm:pt modelId="{460E764F-BDF5-4D22-9B4D-16DC71F64CAC}" type="pres">
      <dgm:prSet presAssocID="{2C61C4AB-FC34-4364-9323-4A9D6350BA1C}" presName="conn2-1" presStyleLbl="parChTrans1D3" presStyleIdx="3" presStyleCnt="10"/>
      <dgm:spPr/>
    </dgm:pt>
    <dgm:pt modelId="{D2085E56-A00C-4E27-A4A7-A2743FEDF1B5}" type="pres">
      <dgm:prSet presAssocID="{2C61C4AB-FC34-4364-9323-4A9D6350BA1C}" presName="connTx" presStyleLbl="parChTrans1D3" presStyleIdx="3" presStyleCnt="10"/>
      <dgm:spPr/>
    </dgm:pt>
    <dgm:pt modelId="{73186733-5E43-4E6A-80AF-948A00AAA9B5}" type="pres">
      <dgm:prSet presAssocID="{2FAED816-5ABD-44B8-9175-AD4921C3FE98}" presName="root2" presStyleCnt="0"/>
      <dgm:spPr/>
    </dgm:pt>
    <dgm:pt modelId="{43996E1E-6F52-4F8E-9F4B-77A56824C63C}" type="pres">
      <dgm:prSet presAssocID="{2FAED816-5ABD-44B8-9175-AD4921C3FE98}" presName="LevelTwoTextNode" presStyleLbl="node3" presStyleIdx="3" presStyleCnt="10">
        <dgm:presLayoutVars>
          <dgm:chPref val="3"/>
        </dgm:presLayoutVars>
      </dgm:prSet>
      <dgm:spPr/>
    </dgm:pt>
    <dgm:pt modelId="{41502682-1FC1-4B2B-BBB5-9A5540E7D736}" type="pres">
      <dgm:prSet presAssocID="{2FAED816-5ABD-44B8-9175-AD4921C3FE98}" presName="level3hierChild" presStyleCnt="0"/>
      <dgm:spPr/>
    </dgm:pt>
    <dgm:pt modelId="{690E36EE-5895-4B91-A347-3380A5FE5255}" type="pres">
      <dgm:prSet presAssocID="{D0F076D3-591F-4547-A436-4947EC5EA385}" presName="conn2-1" presStyleLbl="parChTrans1D3" presStyleIdx="4" presStyleCnt="10"/>
      <dgm:spPr/>
    </dgm:pt>
    <dgm:pt modelId="{ADBE13F2-10FA-4B06-99C7-09C6712A7646}" type="pres">
      <dgm:prSet presAssocID="{D0F076D3-591F-4547-A436-4947EC5EA385}" presName="connTx" presStyleLbl="parChTrans1D3" presStyleIdx="4" presStyleCnt="10"/>
      <dgm:spPr/>
    </dgm:pt>
    <dgm:pt modelId="{B6754EFB-425D-471A-9BC5-9299A6414551}" type="pres">
      <dgm:prSet presAssocID="{86A07196-5E8B-49B8-84A4-6DF135FCBFFC}" presName="root2" presStyleCnt="0"/>
      <dgm:spPr/>
    </dgm:pt>
    <dgm:pt modelId="{6E154881-954A-429F-9BBE-E92EEB4B1011}" type="pres">
      <dgm:prSet presAssocID="{86A07196-5E8B-49B8-84A4-6DF135FCBFFC}" presName="LevelTwoTextNode" presStyleLbl="node3" presStyleIdx="4" presStyleCnt="10">
        <dgm:presLayoutVars>
          <dgm:chPref val="3"/>
        </dgm:presLayoutVars>
      </dgm:prSet>
      <dgm:spPr/>
    </dgm:pt>
    <dgm:pt modelId="{5D1CB6D5-4D16-456C-80C8-8FB25291517B}" type="pres">
      <dgm:prSet presAssocID="{86A07196-5E8B-49B8-84A4-6DF135FCBFFC}" presName="level3hierChild" presStyleCnt="0"/>
      <dgm:spPr/>
    </dgm:pt>
    <dgm:pt modelId="{CD37291B-5548-4F1B-8F2F-200AE5B0DCAE}" type="pres">
      <dgm:prSet presAssocID="{17815460-B569-463A-BACE-734F709F874A}" presName="conn2-1" presStyleLbl="parChTrans1D2" presStyleIdx="1" presStyleCnt="3"/>
      <dgm:spPr/>
    </dgm:pt>
    <dgm:pt modelId="{D4121B60-61D6-41A4-AAB9-DE9671C8ED2F}" type="pres">
      <dgm:prSet presAssocID="{17815460-B569-463A-BACE-734F709F874A}" presName="connTx" presStyleLbl="parChTrans1D2" presStyleIdx="1" presStyleCnt="3"/>
      <dgm:spPr/>
    </dgm:pt>
    <dgm:pt modelId="{50975EFF-52F3-48CE-A104-6890DF2CCC15}" type="pres">
      <dgm:prSet presAssocID="{434F1058-EF12-4590-BD43-496B2D33656A}" presName="root2" presStyleCnt="0"/>
      <dgm:spPr/>
    </dgm:pt>
    <dgm:pt modelId="{E077FA3E-A654-4D27-8616-5CDDA43F8AF6}" type="pres">
      <dgm:prSet presAssocID="{434F1058-EF12-4590-BD43-496B2D33656A}" presName="LevelTwoTextNode" presStyleLbl="node2" presStyleIdx="1" presStyleCnt="3">
        <dgm:presLayoutVars>
          <dgm:chPref val="3"/>
        </dgm:presLayoutVars>
      </dgm:prSet>
      <dgm:spPr/>
    </dgm:pt>
    <dgm:pt modelId="{738BD333-0CAC-4970-A8E6-FA82D1202675}" type="pres">
      <dgm:prSet presAssocID="{434F1058-EF12-4590-BD43-496B2D33656A}" presName="level3hierChild" presStyleCnt="0"/>
      <dgm:spPr/>
    </dgm:pt>
    <dgm:pt modelId="{037062E2-BE96-4A8B-9D2F-1FA0857207C1}" type="pres">
      <dgm:prSet presAssocID="{DA62F256-25CF-4854-BFCD-F90F70E5F8D4}" presName="conn2-1" presStyleLbl="parChTrans1D3" presStyleIdx="5" presStyleCnt="10"/>
      <dgm:spPr/>
    </dgm:pt>
    <dgm:pt modelId="{48D9A2E1-2598-4B00-AD73-86E6047DFB3F}" type="pres">
      <dgm:prSet presAssocID="{DA62F256-25CF-4854-BFCD-F90F70E5F8D4}" presName="connTx" presStyleLbl="parChTrans1D3" presStyleIdx="5" presStyleCnt="10"/>
      <dgm:spPr/>
    </dgm:pt>
    <dgm:pt modelId="{B8CF9832-64BD-484C-B421-A0ECF20998B1}" type="pres">
      <dgm:prSet presAssocID="{4098A15D-6BE4-4258-B7C8-EC2A1354A4D6}" presName="root2" presStyleCnt="0"/>
      <dgm:spPr/>
    </dgm:pt>
    <dgm:pt modelId="{768C7647-12EF-40E9-94EB-C1868C4AFE59}" type="pres">
      <dgm:prSet presAssocID="{4098A15D-6BE4-4258-B7C8-EC2A1354A4D6}" presName="LevelTwoTextNode" presStyleLbl="node3" presStyleIdx="5" presStyleCnt="10">
        <dgm:presLayoutVars>
          <dgm:chPref val="3"/>
        </dgm:presLayoutVars>
      </dgm:prSet>
      <dgm:spPr/>
    </dgm:pt>
    <dgm:pt modelId="{66E40938-6C34-47FD-B792-4BEC9D41A30A}" type="pres">
      <dgm:prSet presAssocID="{4098A15D-6BE4-4258-B7C8-EC2A1354A4D6}" presName="level3hierChild" presStyleCnt="0"/>
      <dgm:spPr/>
    </dgm:pt>
    <dgm:pt modelId="{313DC26C-06DB-4098-B605-33485EFC9B29}" type="pres">
      <dgm:prSet presAssocID="{D937D902-C50B-4BEC-9C1F-D9880BCC701B}" presName="conn2-1" presStyleLbl="parChTrans1D3" presStyleIdx="6" presStyleCnt="10"/>
      <dgm:spPr/>
    </dgm:pt>
    <dgm:pt modelId="{30A455D9-9D31-498C-B006-B59A4D0FAC39}" type="pres">
      <dgm:prSet presAssocID="{D937D902-C50B-4BEC-9C1F-D9880BCC701B}" presName="connTx" presStyleLbl="parChTrans1D3" presStyleIdx="6" presStyleCnt="10"/>
      <dgm:spPr/>
    </dgm:pt>
    <dgm:pt modelId="{EB09E2DB-DC0B-4A48-BC00-788EB4BF2155}" type="pres">
      <dgm:prSet presAssocID="{CF5B8EE4-D285-4E9D-BBB6-5F2F77DD4689}" presName="root2" presStyleCnt="0"/>
      <dgm:spPr/>
    </dgm:pt>
    <dgm:pt modelId="{49B6876F-A108-4FF0-9A81-E34DBB9D0BD7}" type="pres">
      <dgm:prSet presAssocID="{CF5B8EE4-D285-4E9D-BBB6-5F2F77DD4689}" presName="LevelTwoTextNode" presStyleLbl="node3" presStyleIdx="6" presStyleCnt="10">
        <dgm:presLayoutVars>
          <dgm:chPref val="3"/>
        </dgm:presLayoutVars>
      </dgm:prSet>
      <dgm:spPr/>
    </dgm:pt>
    <dgm:pt modelId="{840A5199-0A8A-47C7-8B9A-920BC241225E}" type="pres">
      <dgm:prSet presAssocID="{CF5B8EE4-D285-4E9D-BBB6-5F2F77DD4689}" presName="level3hierChild" presStyleCnt="0"/>
      <dgm:spPr/>
    </dgm:pt>
    <dgm:pt modelId="{C4365B06-B9DB-4064-B93F-1043BD4B58B2}" type="pres">
      <dgm:prSet presAssocID="{8A26916C-03BF-4B0E-92AF-656A56CF8513}" presName="conn2-1" presStyleLbl="parChTrans1D2" presStyleIdx="2" presStyleCnt="3"/>
      <dgm:spPr/>
    </dgm:pt>
    <dgm:pt modelId="{0336C92A-933C-4B9A-8AAD-80A8DB51CB00}" type="pres">
      <dgm:prSet presAssocID="{8A26916C-03BF-4B0E-92AF-656A56CF8513}" presName="connTx" presStyleLbl="parChTrans1D2" presStyleIdx="2" presStyleCnt="3"/>
      <dgm:spPr/>
    </dgm:pt>
    <dgm:pt modelId="{1FB1112C-2171-4ECC-8EA0-911ADD3964A5}" type="pres">
      <dgm:prSet presAssocID="{C1D130BE-4BC5-481C-BADA-14A869727C0B}" presName="root2" presStyleCnt="0"/>
      <dgm:spPr/>
    </dgm:pt>
    <dgm:pt modelId="{B3E59FB2-885F-4B71-9DC5-B6F45C8017DE}" type="pres">
      <dgm:prSet presAssocID="{C1D130BE-4BC5-481C-BADA-14A869727C0B}" presName="LevelTwoTextNode" presStyleLbl="node2" presStyleIdx="2" presStyleCnt="3">
        <dgm:presLayoutVars>
          <dgm:chPref val="3"/>
        </dgm:presLayoutVars>
      </dgm:prSet>
      <dgm:spPr/>
    </dgm:pt>
    <dgm:pt modelId="{AF149B8F-23A2-48DF-9DB4-21319099B718}" type="pres">
      <dgm:prSet presAssocID="{C1D130BE-4BC5-481C-BADA-14A869727C0B}" presName="level3hierChild" presStyleCnt="0"/>
      <dgm:spPr/>
    </dgm:pt>
    <dgm:pt modelId="{60A0F5E7-D1D3-49F8-A254-CFFCBE54AAF0}" type="pres">
      <dgm:prSet presAssocID="{503510FB-9E52-432E-98AC-FEF28CA55F0D}" presName="conn2-1" presStyleLbl="parChTrans1D3" presStyleIdx="7" presStyleCnt="10"/>
      <dgm:spPr/>
    </dgm:pt>
    <dgm:pt modelId="{3325D373-008A-41E8-9EA1-B4B0FC90FCD2}" type="pres">
      <dgm:prSet presAssocID="{503510FB-9E52-432E-98AC-FEF28CA55F0D}" presName="connTx" presStyleLbl="parChTrans1D3" presStyleIdx="7" presStyleCnt="10"/>
      <dgm:spPr/>
    </dgm:pt>
    <dgm:pt modelId="{533688EB-FEF2-4244-B371-7A31A6275F9E}" type="pres">
      <dgm:prSet presAssocID="{CD6C8CAB-2DB8-4BEB-8794-D14E24B56239}" presName="root2" presStyleCnt="0"/>
      <dgm:spPr/>
    </dgm:pt>
    <dgm:pt modelId="{9E81B654-57F3-4178-8807-AB7AAC7BE08E}" type="pres">
      <dgm:prSet presAssocID="{CD6C8CAB-2DB8-4BEB-8794-D14E24B56239}" presName="LevelTwoTextNode" presStyleLbl="node3" presStyleIdx="7" presStyleCnt="10">
        <dgm:presLayoutVars>
          <dgm:chPref val="3"/>
        </dgm:presLayoutVars>
      </dgm:prSet>
      <dgm:spPr/>
    </dgm:pt>
    <dgm:pt modelId="{9EA1B074-9688-4BF6-BD3E-8C3B349784E8}" type="pres">
      <dgm:prSet presAssocID="{CD6C8CAB-2DB8-4BEB-8794-D14E24B56239}" presName="level3hierChild" presStyleCnt="0"/>
      <dgm:spPr/>
    </dgm:pt>
    <dgm:pt modelId="{1CD57466-73E5-43BB-AF51-980153E8039A}" type="pres">
      <dgm:prSet presAssocID="{B3C6A11E-10F5-433C-A0FB-1B185A7D12E0}" presName="conn2-1" presStyleLbl="parChTrans1D3" presStyleIdx="8" presStyleCnt="10"/>
      <dgm:spPr/>
    </dgm:pt>
    <dgm:pt modelId="{739E7D1A-06FA-43F4-82B6-C5B799BDD12A}" type="pres">
      <dgm:prSet presAssocID="{B3C6A11E-10F5-433C-A0FB-1B185A7D12E0}" presName="connTx" presStyleLbl="parChTrans1D3" presStyleIdx="8" presStyleCnt="10"/>
      <dgm:spPr/>
    </dgm:pt>
    <dgm:pt modelId="{08A18F09-5415-4D9A-A62E-8AA11F9AF3C4}" type="pres">
      <dgm:prSet presAssocID="{16945C89-930D-4764-8730-4F183F8B4C87}" presName="root2" presStyleCnt="0"/>
      <dgm:spPr/>
    </dgm:pt>
    <dgm:pt modelId="{0CCC40AA-D80B-4B90-9188-E5CA017E63B0}" type="pres">
      <dgm:prSet presAssocID="{16945C89-930D-4764-8730-4F183F8B4C87}" presName="LevelTwoTextNode" presStyleLbl="node3" presStyleIdx="8" presStyleCnt="10">
        <dgm:presLayoutVars>
          <dgm:chPref val="3"/>
        </dgm:presLayoutVars>
      </dgm:prSet>
      <dgm:spPr/>
    </dgm:pt>
    <dgm:pt modelId="{E40DD794-4E3C-4009-B357-94D69536E6F4}" type="pres">
      <dgm:prSet presAssocID="{16945C89-930D-4764-8730-4F183F8B4C87}" presName="level3hierChild" presStyleCnt="0"/>
      <dgm:spPr/>
    </dgm:pt>
    <dgm:pt modelId="{F9C34007-6CA8-4ABF-890A-47AA50B267EA}" type="pres">
      <dgm:prSet presAssocID="{858DE0EA-690E-49F0-9AFD-401C85E7FBB4}" presName="conn2-1" presStyleLbl="parChTrans1D3" presStyleIdx="9" presStyleCnt="10"/>
      <dgm:spPr/>
    </dgm:pt>
    <dgm:pt modelId="{D3331827-B92C-4419-96E8-793E8D653308}" type="pres">
      <dgm:prSet presAssocID="{858DE0EA-690E-49F0-9AFD-401C85E7FBB4}" presName="connTx" presStyleLbl="parChTrans1D3" presStyleIdx="9" presStyleCnt="10"/>
      <dgm:spPr/>
    </dgm:pt>
    <dgm:pt modelId="{9FBA0EDF-DFF1-4228-BD6C-29FFD841B413}" type="pres">
      <dgm:prSet presAssocID="{CA25E3C2-D53A-4DAC-A356-274163CFD791}" presName="root2" presStyleCnt="0"/>
      <dgm:spPr/>
    </dgm:pt>
    <dgm:pt modelId="{E51A201A-58C4-4839-BBF3-03A3D4BA1DE9}" type="pres">
      <dgm:prSet presAssocID="{CA25E3C2-D53A-4DAC-A356-274163CFD791}" presName="LevelTwoTextNode" presStyleLbl="node3" presStyleIdx="9" presStyleCnt="10">
        <dgm:presLayoutVars>
          <dgm:chPref val="3"/>
        </dgm:presLayoutVars>
      </dgm:prSet>
      <dgm:spPr/>
    </dgm:pt>
    <dgm:pt modelId="{E4E1A461-B02B-4354-8D34-5DF04939C4AC}" type="pres">
      <dgm:prSet presAssocID="{CA25E3C2-D53A-4DAC-A356-274163CFD791}" presName="level3hierChild" presStyleCnt="0"/>
      <dgm:spPr/>
    </dgm:pt>
  </dgm:ptLst>
  <dgm:cxnLst>
    <dgm:cxn modelId="{6A42BC00-DDC6-47EB-A1CB-E461CD9820FD}" type="presOf" srcId="{B3C6A11E-10F5-433C-A0FB-1B185A7D12E0}" destId="{739E7D1A-06FA-43F4-82B6-C5B799BDD12A}" srcOrd="1" destOrd="0" presId="urn:microsoft.com/office/officeart/2008/layout/HorizontalMultiLevelHierarchy"/>
    <dgm:cxn modelId="{2ED6F702-CE72-434F-A1BB-6BCE9E2DA2BA}" srcId="{434F1058-EF12-4590-BD43-496B2D33656A}" destId="{CF5B8EE4-D285-4E9D-BBB6-5F2F77DD4689}" srcOrd="1" destOrd="0" parTransId="{D937D902-C50B-4BEC-9C1F-D9880BCC701B}" sibTransId="{CADCD7D6-E889-4A66-B79B-3ACEEF43F075}"/>
    <dgm:cxn modelId="{35C72205-75AD-4836-A353-1A0A05F601B7}" type="presOf" srcId="{48CAF46E-7318-4269-B88D-4072C010818D}" destId="{571B8373-7DFF-4282-8AA6-80F7CC7EA7C8}" srcOrd="0" destOrd="0" presId="urn:microsoft.com/office/officeart/2008/layout/HorizontalMultiLevelHierarchy"/>
    <dgm:cxn modelId="{B8419706-D293-44F8-A5BF-071DA501D1C3}" type="presOf" srcId="{8ACEFE3D-DAAE-46D2-BF29-AF7B5FBB783D}" destId="{FCADF10C-D51C-403A-B095-E884F4771DA4}" srcOrd="1" destOrd="0" presId="urn:microsoft.com/office/officeart/2008/layout/HorizontalMultiLevelHierarchy"/>
    <dgm:cxn modelId="{A112C106-B21E-4F95-89F7-0D3BEDCA1632}" type="presOf" srcId="{0F1B911F-6353-4AE6-9EEF-D49625DE905E}" destId="{9458E52A-38CE-4EE6-A620-F703970B8164}" srcOrd="0" destOrd="0" presId="urn:microsoft.com/office/officeart/2008/layout/HorizontalMultiLevelHierarchy"/>
    <dgm:cxn modelId="{8446A509-270F-4D3B-89EF-435B1D412BDB}" type="presOf" srcId="{D937D902-C50B-4BEC-9C1F-D9880BCC701B}" destId="{313DC26C-06DB-4098-B605-33485EFC9B29}" srcOrd="0" destOrd="0" presId="urn:microsoft.com/office/officeart/2008/layout/HorizontalMultiLevelHierarchy"/>
    <dgm:cxn modelId="{F0DA410D-39AE-4CDE-A96D-4DBCFC233C7C}" type="presOf" srcId="{87CDD4F3-E71F-44A9-B515-E47672A849B6}" destId="{27874C32-AAAE-43E2-B803-B20B1E2D7450}" srcOrd="1" destOrd="0" presId="urn:microsoft.com/office/officeart/2008/layout/HorizontalMultiLevelHierarchy"/>
    <dgm:cxn modelId="{49027C13-60C7-4577-8E0D-34D35F65F784}" type="presOf" srcId="{16945C89-930D-4764-8730-4F183F8B4C87}" destId="{0CCC40AA-D80B-4B90-9188-E5CA017E63B0}" srcOrd="0" destOrd="0" presId="urn:microsoft.com/office/officeart/2008/layout/HorizontalMultiLevelHierarchy"/>
    <dgm:cxn modelId="{CDA45815-1784-47A7-87EB-A18294F174A6}" type="presOf" srcId="{CD6C8CAB-2DB8-4BEB-8794-D14E24B56239}" destId="{9E81B654-57F3-4178-8807-AB7AAC7BE08E}" srcOrd="0" destOrd="0" presId="urn:microsoft.com/office/officeart/2008/layout/HorizontalMultiLevelHierarchy"/>
    <dgm:cxn modelId="{FEC8D416-8216-4562-8549-24473B803C80}" srcId="{49A0BB83-CEA0-46AB-9D0B-B65F612AEE4A}" destId="{E0EC0A27-9EDB-47A4-8DED-CBD1A61B9BC9}" srcOrd="0" destOrd="0" parTransId="{42F96A8F-BB1E-4B89-AB8E-11A0F37EB1DB}" sibTransId="{C6050D19-3AE0-4870-8460-7297D5C8A50F}"/>
    <dgm:cxn modelId="{5782D41D-ECEA-499F-9D26-91E863B791BE}" type="presOf" srcId="{DA62F256-25CF-4854-BFCD-F90F70E5F8D4}" destId="{48D9A2E1-2598-4B00-AD73-86E6047DFB3F}" srcOrd="1" destOrd="0" presId="urn:microsoft.com/office/officeart/2008/layout/HorizontalMultiLevelHierarchy"/>
    <dgm:cxn modelId="{2F95D722-3985-45E4-9E5F-0F15FC8C1680}" type="presOf" srcId="{CF5B8EE4-D285-4E9D-BBB6-5F2F77DD4689}" destId="{49B6876F-A108-4FF0-9A81-E34DBB9D0BD7}" srcOrd="0" destOrd="0" presId="urn:microsoft.com/office/officeart/2008/layout/HorizontalMultiLevelHierarchy"/>
    <dgm:cxn modelId="{64FF5A2C-981D-4E3B-9D13-47B3852BF3E9}" type="presOf" srcId="{BB72E3E4-7E20-4FF3-87BE-AD24CB2F12EE}" destId="{6DCFD290-34D5-45FC-84C5-03B4A3AFAD52}" srcOrd="1" destOrd="0" presId="urn:microsoft.com/office/officeart/2008/layout/HorizontalMultiLevelHierarchy"/>
    <dgm:cxn modelId="{75353E2D-D5F4-4C4B-8BFF-3A25A17EC9FB}" srcId="{BF1B7062-91AB-4F1D-BD08-8D3EC4B33C1F}" destId="{48CAF46E-7318-4269-B88D-4072C010818D}" srcOrd="1" destOrd="0" parTransId="{81CB6F6D-48DA-416D-9426-0B6E4B5AD737}" sibTransId="{D0BFACD0-8F45-4F8C-9779-0AF1AE559907}"/>
    <dgm:cxn modelId="{0E885231-05A1-4118-83D8-9F076DDBEA1A}" type="presOf" srcId="{C7C06085-9DF0-469C-90B3-434C5E418A6D}" destId="{6D05A90F-5A8D-42F9-A2CB-82F28C0FF2BC}" srcOrd="0" destOrd="0" presId="urn:microsoft.com/office/officeart/2008/layout/HorizontalMultiLevelHierarchy"/>
    <dgm:cxn modelId="{5B99DD31-B3E6-465C-A8DB-0DF740AA5D7A}" srcId="{C1D130BE-4BC5-481C-BADA-14A869727C0B}" destId="{CA25E3C2-D53A-4DAC-A356-274163CFD791}" srcOrd="2" destOrd="0" parTransId="{858DE0EA-690E-49F0-9AFD-401C85E7FBB4}" sibTransId="{2D56470D-3197-4A03-90FE-5A65A52F7EFB}"/>
    <dgm:cxn modelId="{9486E231-E761-415A-A46A-B222DD3C9A89}" srcId="{96C9D5F4-FF4F-420D-8420-A926E166D7A2}" destId="{D0997319-AE2C-4C46-ADCB-BA43BE3F3F54}" srcOrd="0" destOrd="0" parTransId="{EDD69CBB-FC0D-413C-A203-D32C53DEA1CA}" sibTransId="{E975384C-827E-414A-AEB5-7C3391463B49}"/>
    <dgm:cxn modelId="{1222A638-0CF4-4D66-8E42-7794D8449649}" type="presOf" srcId="{3EC8FF9E-3113-473A-A5E5-ABD9C5F94794}" destId="{84D7F889-3498-48D8-ADC3-14251347C81B}" srcOrd="0" destOrd="0" presId="urn:microsoft.com/office/officeart/2008/layout/HorizontalMultiLevelHierarchy"/>
    <dgm:cxn modelId="{23DAEE42-3C32-4C83-A2A3-106A8D737507}" type="presOf" srcId="{AE65C2BF-225F-4643-AE59-9457E6820B24}" destId="{0C497864-2349-44C5-8D11-5F89748F0519}" srcOrd="1" destOrd="0" presId="urn:microsoft.com/office/officeart/2008/layout/HorizontalMultiLevelHierarchy"/>
    <dgm:cxn modelId="{0BE45343-E5ED-46E6-9E17-DA36296E3029}" srcId="{8E70AA8F-7583-4AFE-9EDE-87363894E1F8}" destId="{86A07196-5E8B-49B8-84A4-6DF135FCBFFC}" srcOrd="4" destOrd="0" parTransId="{D0F076D3-591F-4547-A436-4947EC5EA385}" sibTransId="{4B4DC438-D558-40CF-9151-49154A83FB16}"/>
    <dgm:cxn modelId="{3CE2794B-F419-4F40-BA80-F7E4E9B8CF58}" type="presOf" srcId="{0F1B911F-6353-4AE6-9EEF-D49625DE905E}" destId="{32DEAE14-947F-44E2-8D61-C101875AB07D}" srcOrd="1" destOrd="0" presId="urn:microsoft.com/office/officeart/2008/layout/HorizontalMultiLevelHierarchy"/>
    <dgm:cxn modelId="{41B7B24E-5BA1-4B2B-AC96-EBF5A4A1F03B}" type="presOf" srcId="{2C61C4AB-FC34-4364-9323-4A9D6350BA1C}" destId="{460E764F-BDF5-4D22-9B4D-16DC71F64CAC}" srcOrd="0" destOrd="0" presId="urn:microsoft.com/office/officeart/2008/layout/HorizontalMultiLevelHierarchy"/>
    <dgm:cxn modelId="{AA3E744F-10BA-4479-AF01-972C59BF3BCF}" type="presOf" srcId="{B164CB56-71EE-412E-A3A2-1509A3B08E05}" destId="{BE328E0A-C287-4B1A-BD90-C0F3098FFCD9}" srcOrd="0" destOrd="0" presId="urn:microsoft.com/office/officeart/2008/layout/HorizontalMultiLevelHierarchy"/>
    <dgm:cxn modelId="{464F8353-3A6D-43D6-B358-7ECC4F51C0BF}" type="presOf" srcId="{D0997319-AE2C-4C46-ADCB-BA43BE3F3F54}" destId="{DCF5B4EF-DE4F-4292-A3B2-724C163A44AB}" srcOrd="0" destOrd="0" presId="urn:microsoft.com/office/officeart/2008/layout/HorizontalMultiLevelHierarchy"/>
    <dgm:cxn modelId="{1A99FB53-EFA6-4851-937B-0604F7806F2F}" type="presOf" srcId="{434F1058-EF12-4590-BD43-496B2D33656A}" destId="{E077FA3E-A654-4D27-8616-5CDDA43F8AF6}" srcOrd="0" destOrd="0" presId="urn:microsoft.com/office/officeart/2008/layout/HorizontalMultiLevelHierarchy"/>
    <dgm:cxn modelId="{70378754-45CA-4C66-B5D5-B9C9C4EF8226}" type="presOf" srcId="{81CB6F6D-48DA-416D-9426-0B6E4B5AD737}" destId="{FD15021D-62B7-4A46-932A-654E778DB44B}" srcOrd="1" destOrd="0" presId="urn:microsoft.com/office/officeart/2008/layout/HorizontalMultiLevelHierarchy"/>
    <dgm:cxn modelId="{288CF456-3237-4FF7-BD86-048D8CA5EABD}" type="presOf" srcId="{17815460-B569-463A-BACE-734F709F874A}" destId="{CD37291B-5548-4F1B-8F2F-200AE5B0DCAE}" srcOrd="0" destOrd="0" presId="urn:microsoft.com/office/officeart/2008/layout/HorizontalMultiLevelHierarchy"/>
    <dgm:cxn modelId="{707B8E58-ABA5-4C9A-AFCF-298CB05D08DA}" srcId="{D0997319-AE2C-4C46-ADCB-BA43BE3F3F54}" destId="{8E70AA8F-7583-4AFE-9EDE-87363894E1F8}" srcOrd="0" destOrd="0" parTransId="{B164CB56-71EE-412E-A3A2-1509A3B08E05}" sibTransId="{50009256-33DA-4FAC-A050-2DE70DDCC26C}"/>
    <dgm:cxn modelId="{79AF8559-F7CD-44EF-8C13-1146412076CF}" type="presOf" srcId="{2C61C4AB-FC34-4364-9323-4A9D6350BA1C}" destId="{D2085E56-A00C-4E27-A4A7-A2743FEDF1B5}" srcOrd="1" destOrd="0" presId="urn:microsoft.com/office/officeart/2008/layout/HorizontalMultiLevelHierarchy"/>
    <dgm:cxn modelId="{BFB4B55A-7A59-4107-BBB3-3FFB27350CDD}" type="presOf" srcId="{8A26916C-03BF-4B0E-92AF-656A56CF8513}" destId="{C4365B06-B9DB-4064-B93F-1043BD4B58B2}" srcOrd="0" destOrd="0" presId="urn:microsoft.com/office/officeart/2008/layout/HorizontalMultiLevelHierarchy"/>
    <dgm:cxn modelId="{4C6F195C-0214-4CDA-A612-7D5235F062E8}" type="presOf" srcId="{DAFF3CB8-4780-4F42-8F5A-A2879CF5C5A6}" destId="{485D5E8B-1295-4B72-BF14-74B2BE7008EE}" srcOrd="0" destOrd="0" presId="urn:microsoft.com/office/officeart/2008/layout/HorizontalMultiLevelHierarchy"/>
    <dgm:cxn modelId="{3868705D-EADE-4179-913C-220656615F3B}" type="presOf" srcId="{CA25E3C2-D53A-4DAC-A356-274163CFD791}" destId="{E51A201A-58C4-4839-BBF3-03A3D4BA1DE9}" srcOrd="0" destOrd="0" presId="urn:microsoft.com/office/officeart/2008/layout/HorizontalMultiLevelHierarchy"/>
    <dgm:cxn modelId="{D6FED260-3C13-4D81-9786-0CA49E676F94}" type="presOf" srcId="{524ED0C4-9CC2-4C2A-B51C-974FA37A7FE7}" destId="{D9EA4352-69AB-4BEF-A3B8-25557C0E3D3D}" srcOrd="1" destOrd="0" presId="urn:microsoft.com/office/officeart/2008/layout/HorizontalMultiLevelHierarchy"/>
    <dgm:cxn modelId="{3679B762-699A-4AEB-956B-62A58B7F1948}" type="presOf" srcId="{23EDCDD5-F170-402F-A11E-15FD466C3CE5}" destId="{79D3B186-92E5-40C6-A995-4173A00C788D}" srcOrd="1" destOrd="0" presId="urn:microsoft.com/office/officeart/2008/layout/HorizontalMultiLevelHierarchy"/>
    <dgm:cxn modelId="{65A1D062-D707-4E05-848F-D1FC7D22343D}" type="presOf" srcId="{C1D130BE-4BC5-481C-BADA-14A869727C0B}" destId="{B3E59FB2-885F-4B71-9DC5-B6F45C8017DE}" srcOrd="0" destOrd="0" presId="urn:microsoft.com/office/officeart/2008/layout/HorizontalMultiLevelHierarchy"/>
    <dgm:cxn modelId="{218D7769-246E-4C78-8637-1FABBE9AA235}" type="presOf" srcId="{B164CB56-71EE-412E-A3A2-1509A3B08E05}" destId="{1EB559E9-DB95-4028-B960-01A592B99E92}" srcOrd="1" destOrd="0" presId="urn:microsoft.com/office/officeart/2008/layout/HorizontalMultiLevelHierarchy"/>
    <dgm:cxn modelId="{725FF76C-97C7-4E96-9DF4-060D491C229B}" type="presOf" srcId="{2FAED816-5ABD-44B8-9175-AD4921C3FE98}" destId="{43996E1E-6F52-4F8E-9F4B-77A56824C63C}" srcOrd="0" destOrd="0" presId="urn:microsoft.com/office/officeart/2008/layout/HorizontalMultiLevelHierarchy"/>
    <dgm:cxn modelId="{08C6FF6E-ED40-443D-B75C-6827A78AAE2F}" srcId="{C1D130BE-4BC5-481C-BADA-14A869727C0B}" destId="{CD6C8CAB-2DB8-4BEB-8794-D14E24B56239}" srcOrd="0" destOrd="0" parTransId="{503510FB-9E52-432E-98AC-FEF28CA55F0D}" sibTransId="{F6688289-1E3B-4C81-B097-4BC4F02DEEB1}"/>
    <dgm:cxn modelId="{59E12470-60E7-402D-AB70-780B62F88FFE}" type="presOf" srcId="{49A0BB83-CEA0-46AB-9D0B-B65F612AEE4A}" destId="{DC0B28EB-699E-45BB-87EC-30E574E72821}" srcOrd="0" destOrd="0" presId="urn:microsoft.com/office/officeart/2008/layout/HorizontalMultiLevelHierarchy"/>
    <dgm:cxn modelId="{4DFC2371-3525-4748-BBE7-8447590D404A}" type="presOf" srcId="{D0F076D3-591F-4547-A436-4947EC5EA385}" destId="{690E36EE-5895-4B91-A347-3380A5FE5255}" srcOrd="0" destOrd="0" presId="urn:microsoft.com/office/officeart/2008/layout/HorizontalMultiLevelHierarchy"/>
    <dgm:cxn modelId="{C6747171-AE68-4AE9-8919-6A36E0ACE2B0}" type="presOf" srcId="{81CB6F6D-48DA-416D-9426-0B6E4B5AD737}" destId="{8F0AA0AA-EF8D-43DE-82C5-2D7BFD08315F}" srcOrd="0" destOrd="0" presId="urn:microsoft.com/office/officeart/2008/layout/HorizontalMultiLevelHierarchy"/>
    <dgm:cxn modelId="{91124872-9F74-41C7-8C6A-D035370CD04A}" type="presOf" srcId="{858DE0EA-690E-49F0-9AFD-401C85E7FBB4}" destId="{F9C34007-6CA8-4ABF-890A-47AA50B267EA}" srcOrd="0" destOrd="0" presId="urn:microsoft.com/office/officeart/2008/layout/HorizontalMultiLevelHierarchy"/>
    <dgm:cxn modelId="{63723176-B8DC-4E93-B229-28FB65F16FAA}" type="presOf" srcId="{AE65C2BF-225F-4643-AE59-9457E6820B24}" destId="{5BC2DE1D-C4D7-4BFC-A0C1-3D282DC024CD}" srcOrd="0" destOrd="0" presId="urn:microsoft.com/office/officeart/2008/layout/HorizontalMultiLevelHierarchy"/>
    <dgm:cxn modelId="{AD49A77D-FFEC-46F9-AE75-9324F1652A36}" type="presOf" srcId="{4D897679-FA7C-48A2-A57F-5D0431886FF7}" destId="{F8A94DA1-2081-4A8B-816C-A9F98C2853F5}" srcOrd="0" destOrd="0" presId="urn:microsoft.com/office/officeart/2008/layout/HorizontalMultiLevelHierarchy"/>
    <dgm:cxn modelId="{21D8E081-3F51-4864-8D5D-F1BA8CEC852F}" srcId="{434F1058-EF12-4590-BD43-496B2D33656A}" destId="{4098A15D-6BE4-4258-B7C8-EC2A1354A4D6}" srcOrd="0" destOrd="0" parTransId="{DA62F256-25CF-4854-BFCD-F90F70E5F8D4}" sibTransId="{E1090322-3287-4D3C-A158-E43939F1FA7E}"/>
    <dgm:cxn modelId="{13B4BA82-E7EF-4FB5-98C9-D814F66B4BEF}" type="presOf" srcId="{ADED253C-6A2E-4631-B1D4-F5E1FE2B5B55}" destId="{9E59A063-5821-4E2B-8FD8-3EBA8922B98E}" srcOrd="0" destOrd="0" presId="urn:microsoft.com/office/officeart/2008/layout/HorizontalMultiLevelHierarchy"/>
    <dgm:cxn modelId="{93C58A86-3E38-4D08-BAE0-11418B22C1DB}" type="presOf" srcId="{8ACEFE3D-DAAE-46D2-BF29-AF7B5FBB783D}" destId="{A00DE1AA-92DF-4607-98DB-1C3BB048DCF5}" srcOrd="0" destOrd="0" presId="urn:microsoft.com/office/officeart/2008/layout/HorizontalMultiLevelHierarchy"/>
    <dgm:cxn modelId="{0B448A87-44AF-4367-8785-F0AC108ED2DD}" type="presOf" srcId="{4098A15D-6BE4-4258-B7C8-EC2A1354A4D6}" destId="{768C7647-12EF-40E9-94EB-C1868C4AFE59}" srcOrd="0" destOrd="0" presId="urn:microsoft.com/office/officeart/2008/layout/HorizontalMultiLevelHierarchy"/>
    <dgm:cxn modelId="{605CDB89-2698-4157-8E1F-4D6677C6D46F}" type="presOf" srcId="{4DA8AE24-A75C-40AE-A6A1-13FE57AE449D}" destId="{A732D3F1-1291-409E-9A7C-778CAE167F89}" srcOrd="0" destOrd="0" presId="urn:microsoft.com/office/officeart/2008/layout/HorizontalMultiLevelHierarchy"/>
    <dgm:cxn modelId="{82D60E8A-40D3-49BC-895D-3DAB17D8AD62}" type="presOf" srcId="{96C9D5F4-FF4F-420D-8420-A926E166D7A2}" destId="{50C4D88C-9CB0-4513-8456-755395491158}" srcOrd="0" destOrd="0" presId="urn:microsoft.com/office/officeart/2008/layout/HorizontalMultiLevelHierarchy"/>
    <dgm:cxn modelId="{EB6A4F8B-0076-4AA0-A81D-3E41E4C53187}" type="presOf" srcId="{8A26916C-03BF-4B0E-92AF-656A56CF8513}" destId="{0336C92A-933C-4B9A-8AAD-80A8DB51CB00}" srcOrd="1" destOrd="0" presId="urn:microsoft.com/office/officeart/2008/layout/HorizontalMultiLevelHierarchy"/>
    <dgm:cxn modelId="{4BDF838B-A489-4DE6-9003-7CF5CCBF8353}" srcId="{8E70AA8F-7583-4AFE-9EDE-87363894E1F8}" destId="{2FAED816-5ABD-44B8-9175-AD4921C3FE98}" srcOrd="3" destOrd="0" parTransId="{2C61C4AB-FC34-4364-9323-4A9D6350BA1C}" sibTransId="{4827AEAC-F6B1-4792-BB11-A609080D91CA}"/>
    <dgm:cxn modelId="{C77F5C8D-F4DE-4573-9FDE-EBB2F5F469F1}" type="presOf" srcId="{D0F076D3-591F-4547-A436-4947EC5EA385}" destId="{ADBE13F2-10FA-4B06-99C7-09C6712A7646}" srcOrd="1" destOrd="0" presId="urn:microsoft.com/office/officeart/2008/layout/HorizontalMultiLevelHierarchy"/>
    <dgm:cxn modelId="{C3BFF295-2D54-481B-947E-4480284A189F}" type="presOf" srcId="{31BDA904-A9EF-437C-9DAF-E5BDF8C1106E}" destId="{FAF45787-F807-4BB6-923D-0C0E2CD8C149}" srcOrd="0" destOrd="0" presId="urn:microsoft.com/office/officeart/2008/layout/HorizontalMultiLevelHierarchy"/>
    <dgm:cxn modelId="{99BBE096-3DF3-4255-89AC-24F727FF2F6A}" type="presOf" srcId="{42F96A8F-BB1E-4B89-AB8E-11A0F37EB1DB}" destId="{7F2C676C-E906-4B26-892E-C728B9239429}" srcOrd="0" destOrd="0" presId="urn:microsoft.com/office/officeart/2008/layout/HorizontalMultiLevelHierarchy"/>
    <dgm:cxn modelId="{3661A398-6699-493C-A604-957A73E01291}" type="presOf" srcId="{17815460-B569-463A-BACE-734F709F874A}" destId="{D4121B60-61D6-41A4-AAB9-DE9671C8ED2F}" srcOrd="1" destOrd="0" presId="urn:microsoft.com/office/officeart/2008/layout/HorizontalMultiLevelHierarchy"/>
    <dgm:cxn modelId="{3334C099-BCC2-4024-88CF-D77B492D91C8}" type="presOf" srcId="{BB72E3E4-7E20-4FF3-87BE-AD24CB2F12EE}" destId="{A4E05C94-2209-4BF4-B627-606397BBC1C5}" srcOrd="0" destOrd="0" presId="urn:microsoft.com/office/officeart/2008/layout/HorizontalMultiLevelHierarchy"/>
    <dgm:cxn modelId="{FA7F7B9B-BCD6-48E4-84B7-A00266E14053}" type="presOf" srcId="{B3C6A11E-10F5-433C-A0FB-1B185A7D12E0}" destId="{1CD57466-73E5-43BB-AF51-980153E8039A}" srcOrd="0" destOrd="0" presId="urn:microsoft.com/office/officeart/2008/layout/HorizontalMultiLevelHierarchy"/>
    <dgm:cxn modelId="{E07BE79E-7865-47DB-84AF-7F7057F85761}" type="presOf" srcId="{8E70AA8F-7583-4AFE-9EDE-87363894E1F8}" destId="{49ADAAAB-354D-4968-9DE9-378E6595E5BB}" srcOrd="0" destOrd="0" presId="urn:microsoft.com/office/officeart/2008/layout/HorizontalMultiLevelHierarchy"/>
    <dgm:cxn modelId="{9E137BA1-2E21-43A2-A338-650B162A3662}" srcId="{D0997319-AE2C-4C46-ADCB-BA43BE3F3F54}" destId="{434F1058-EF12-4590-BD43-496B2D33656A}" srcOrd="1" destOrd="0" parTransId="{17815460-B569-463A-BACE-734F709F874A}" sibTransId="{BC8F1DC2-66B6-4B6F-BD02-84C41DB8AF5C}"/>
    <dgm:cxn modelId="{C996C3A8-B8F4-411F-B641-37F469185B57}" type="presOf" srcId="{524ED0C4-9CC2-4C2A-B51C-974FA37A7FE7}" destId="{C5F46441-018D-4AD0-9984-278FB6B3653F}" srcOrd="0" destOrd="0" presId="urn:microsoft.com/office/officeart/2008/layout/HorizontalMultiLevelHierarchy"/>
    <dgm:cxn modelId="{449FB1AA-FE60-423F-AD7C-959A05592410}" type="presOf" srcId="{858DE0EA-690E-49F0-9AFD-401C85E7FBB4}" destId="{D3331827-B92C-4419-96E8-793E8D653308}" srcOrd="1" destOrd="0" presId="urn:microsoft.com/office/officeart/2008/layout/HorizontalMultiLevelHierarchy"/>
    <dgm:cxn modelId="{00DC05AB-0E87-4D69-9934-9D14BE1C2731}" type="presOf" srcId="{503510FB-9E52-432E-98AC-FEF28CA55F0D}" destId="{60A0F5E7-D1D3-49F8-A254-CFFCBE54AAF0}" srcOrd="0" destOrd="0" presId="urn:microsoft.com/office/officeart/2008/layout/HorizontalMultiLevelHierarchy"/>
    <dgm:cxn modelId="{540F67B5-7CE8-4325-88C3-2ECA7ED151B5}" type="presOf" srcId="{E0EC0A27-9EDB-47A4-8DED-CBD1A61B9BC9}" destId="{81473451-3FF3-474B-98FB-6869E5682468}" srcOrd="0" destOrd="0" presId="urn:microsoft.com/office/officeart/2008/layout/HorizontalMultiLevelHierarchy"/>
    <dgm:cxn modelId="{7DC022B6-EC7E-4248-8376-A4A4C0054F1A}" type="presOf" srcId="{503510FB-9E52-432E-98AC-FEF28CA55F0D}" destId="{3325D373-008A-41E8-9EA1-B4B0FC90FCD2}" srcOrd="1" destOrd="0" presId="urn:microsoft.com/office/officeart/2008/layout/HorizontalMultiLevelHierarchy"/>
    <dgm:cxn modelId="{5EE5F9B8-E535-490A-81D6-FE6068C5F94F}" type="presOf" srcId="{86A07196-5E8B-49B8-84A4-6DF135FCBFFC}" destId="{6E154881-954A-429F-9BBE-E92EEB4B1011}" srcOrd="0" destOrd="0" presId="urn:microsoft.com/office/officeart/2008/layout/HorizontalMultiLevelHierarchy"/>
    <dgm:cxn modelId="{21BC0ABF-D33B-4704-99A0-AC6C60960517}" type="presOf" srcId="{87CDD4F3-E71F-44A9-B515-E47672A849B6}" destId="{329CD9E0-9945-40C9-89A5-5929AA1A3A82}" srcOrd="0" destOrd="0" presId="urn:microsoft.com/office/officeart/2008/layout/HorizontalMultiLevelHierarchy"/>
    <dgm:cxn modelId="{626342BF-3559-4137-A851-ACB1710B13E3}" srcId="{8E70AA8F-7583-4AFE-9EDE-87363894E1F8}" destId="{BF1B7062-91AB-4F1D-BD08-8D3EC4B33C1F}" srcOrd="0" destOrd="0" parTransId="{8ACEFE3D-DAAE-46D2-BF29-AF7B5FBB783D}" sibTransId="{0FF6A2D2-189B-4085-A91C-E4641E47ACCE}"/>
    <dgm:cxn modelId="{221AD8BF-6539-43E4-9EB1-23AF138D0EE2}" srcId="{D0997319-AE2C-4C46-ADCB-BA43BE3F3F54}" destId="{C1D130BE-4BC5-481C-BADA-14A869727C0B}" srcOrd="2" destOrd="0" parTransId="{8A26916C-03BF-4B0E-92AF-656A56CF8513}" sibTransId="{4F4BE6FE-AE34-4934-8B0D-8FDF04C5765F}"/>
    <dgm:cxn modelId="{25BD37C3-2196-49F3-AD2A-B163574CADC5}" type="presOf" srcId="{42F96A8F-BB1E-4B89-AB8E-11A0F37EB1DB}" destId="{F614A676-E312-4A6F-BE9F-B6E2993177B6}" srcOrd="1" destOrd="0" presId="urn:microsoft.com/office/officeart/2008/layout/HorizontalMultiLevelHierarchy"/>
    <dgm:cxn modelId="{06533EC6-3B33-4FE2-B092-DBD1E23AB973}" type="presOf" srcId="{2DCC687C-BE9B-4DD8-8A80-E970635437CA}" destId="{2B4072C3-2623-4EA4-94B7-025A9DCD72E9}" srcOrd="0" destOrd="0" presId="urn:microsoft.com/office/officeart/2008/layout/HorizontalMultiLevelHierarchy"/>
    <dgm:cxn modelId="{0419F4C6-C72F-44E5-856A-7A5E20A609B0}" srcId="{8E70AA8F-7583-4AFE-9EDE-87363894E1F8}" destId="{49A0BB83-CEA0-46AB-9D0B-B65F612AEE4A}" srcOrd="1" destOrd="0" parTransId="{AE65C2BF-225F-4643-AE59-9457E6820B24}" sibTransId="{2328B74F-4929-49C4-A401-C9585D838753}"/>
    <dgm:cxn modelId="{FA31A5C7-F378-42C8-A9AD-F864553E6C8E}" type="presOf" srcId="{23EDCDD5-F170-402F-A11E-15FD466C3CE5}" destId="{709C936E-7E65-4B5A-AC40-4548A25152AC}" srcOrd="0" destOrd="0" presId="urn:microsoft.com/office/officeart/2008/layout/HorizontalMultiLevelHierarchy"/>
    <dgm:cxn modelId="{19B9B5C9-B669-4991-9912-383473355532}" type="presOf" srcId="{33587DE4-8F92-4CA4-A011-892138D47DA7}" destId="{8F47A465-73D6-48E5-83FD-F149301C3BBD}" srcOrd="0" destOrd="0" presId="urn:microsoft.com/office/officeart/2008/layout/HorizontalMultiLevelHierarchy"/>
    <dgm:cxn modelId="{587DEAC9-60C3-45DB-9C9F-C26256D35C0F}" srcId="{C1D130BE-4BC5-481C-BADA-14A869727C0B}" destId="{16945C89-930D-4764-8730-4F183F8B4C87}" srcOrd="1" destOrd="0" parTransId="{B3C6A11E-10F5-433C-A0FB-1B185A7D12E0}" sibTransId="{5C8BCF49-4277-47C2-9543-A10467E88E20}"/>
    <dgm:cxn modelId="{EDD069CE-E724-4C0A-92C6-2204B289CF24}" type="presOf" srcId="{DA62F256-25CF-4854-BFCD-F90F70E5F8D4}" destId="{037062E2-BE96-4A8B-9D2F-1FA0857207C1}" srcOrd="0" destOrd="0" presId="urn:microsoft.com/office/officeart/2008/layout/HorizontalMultiLevelHierarchy"/>
    <dgm:cxn modelId="{46C105CF-449F-4F1C-B399-CE70EC74C4C8}" srcId="{BF1B7062-91AB-4F1D-BD08-8D3EC4B33C1F}" destId="{D11BAA21-3D0E-4BFE-97F1-F349F96BB7F2}" srcOrd="3" destOrd="0" parTransId="{524ED0C4-9CC2-4C2A-B51C-974FA37A7FE7}" sibTransId="{632B7E11-8BCB-44BB-80A1-C58DA59BDECF}"/>
    <dgm:cxn modelId="{4A7380CF-8162-4F2E-9F90-B51642631E94}" srcId="{49A0BB83-CEA0-46AB-9D0B-B65F612AEE4A}" destId="{C1F68F19-94EA-4970-A79B-863E823848E5}" srcOrd="2" destOrd="0" parTransId="{0F1B911F-6353-4AE6-9EEF-D49625DE905E}" sibTransId="{60DB14D8-838D-4A63-A334-C12EB1C7625D}"/>
    <dgm:cxn modelId="{983AD7DE-4E8D-496F-BCB8-C95CB034A01D}" type="presOf" srcId="{C7C06085-9DF0-469C-90B3-434C5E418A6D}" destId="{799FD5E4-5D76-4338-BDA8-9F7F790A3A29}" srcOrd="1" destOrd="0" presId="urn:microsoft.com/office/officeart/2008/layout/HorizontalMultiLevelHierarchy"/>
    <dgm:cxn modelId="{C5BE0DE1-3793-4C23-A900-78112F2919D4}" srcId="{8E70AA8F-7583-4AFE-9EDE-87363894E1F8}" destId="{DAFF3CB8-4780-4F42-8F5A-A2879CF5C5A6}" srcOrd="2" destOrd="0" parTransId="{BB72E3E4-7E20-4FF3-87BE-AD24CB2F12EE}" sibTransId="{1E1C3655-4299-4282-B808-C53E3FABF68D}"/>
    <dgm:cxn modelId="{32BA70E3-2B88-4E2B-9094-EE86858857DA}" srcId="{BF1B7062-91AB-4F1D-BD08-8D3EC4B33C1F}" destId="{33587DE4-8F92-4CA4-A011-892138D47DA7}" srcOrd="4" destOrd="0" parTransId="{31BDA904-A9EF-437C-9DAF-E5BDF8C1106E}" sibTransId="{359CEDC3-C134-4529-AEBB-BBDE1EA7D255}"/>
    <dgm:cxn modelId="{870D94E8-9751-454A-BABA-EA45EF84CC1C}" type="presOf" srcId="{C1F68F19-94EA-4970-A79B-863E823848E5}" destId="{42C465EB-33D9-4AD2-A33B-930C8E39ED41}" srcOrd="0" destOrd="0" presId="urn:microsoft.com/office/officeart/2008/layout/HorizontalMultiLevelHierarchy"/>
    <dgm:cxn modelId="{B7674FEE-4F81-43E5-A853-47CF1B66D2AD}" type="presOf" srcId="{BF1B7062-91AB-4F1D-BD08-8D3EC4B33C1F}" destId="{F9F18759-F577-4686-9C34-EB964D732C77}" srcOrd="0" destOrd="0" presId="urn:microsoft.com/office/officeart/2008/layout/HorizontalMultiLevelHierarchy"/>
    <dgm:cxn modelId="{8D6DF9EE-A2D8-412C-887B-0C054D51DFA0}" type="presOf" srcId="{2DCC687C-BE9B-4DD8-8A80-E970635437CA}" destId="{7260B369-A7E2-44EA-98FE-B408D79B13A6}" srcOrd="1" destOrd="0" presId="urn:microsoft.com/office/officeart/2008/layout/HorizontalMultiLevelHierarchy"/>
    <dgm:cxn modelId="{7CDA6FEF-3872-4337-84FA-0DD423E0FBC5}" srcId="{BF1B7062-91AB-4F1D-BD08-8D3EC4B33C1F}" destId="{ADED253C-6A2E-4631-B1D4-F5E1FE2B5B55}" srcOrd="2" destOrd="0" parTransId="{23EDCDD5-F170-402F-A11E-15FD466C3CE5}" sibTransId="{074D77D4-B07D-447C-B97C-356C65F95759}"/>
    <dgm:cxn modelId="{F4D4E3EF-4C7A-4DD4-B693-2A68087757F8}" srcId="{49A0BB83-CEA0-46AB-9D0B-B65F612AEE4A}" destId="{4DA8AE24-A75C-40AE-A6A1-13FE57AE449D}" srcOrd="1" destOrd="0" parTransId="{2DCC687C-BE9B-4DD8-8A80-E970635437CA}" sibTransId="{DF4C3ABC-A688-4048-91A3-DFE9CE606182}"/>
    <dgm:cxn modelId="{0A8FCBF8-AD1F-4CF4-8568-2F5CBABA5157}" srcId="{49A0BB83-CEA0-46AB-9D0B-B65F612AEE4A}" destId="{3EC8FF9E-3113-473A-A5E5-ABD9C5F94794}" srcOrd="3" destOrd="0" parTransId="{87CDD4F3-E71F-44A9-B515-E47672A849B6}" sibTransId="{25369813-4686-4B37-9746-915D5E2ABB1B}"/>
    <dgm:cxn modelId="{2279FAFA-FB88-4C2D-B0C1-6B2ACC4BBF39}" type="presOf" srcId="{D937D902-C50B-4BEC-9C1F-D9880BCC701B}" destId="{30A455D9-9D31-498C-B006-B59A4D0FAC39}" srcOrd="1" destOrd="0" presId="urn:microsoft.com/office/officeart/2008/layout/HorizontalMultiLevelHierarchy"/>
    <dgm:cxn modelId="{A3A0BCFB-D8D9-4632-B5AB-CF4EFA2E3C41}" srcId="{BF1B7062-91AB-4F1D-BD08-8D3EC4B33C1F}" destId="{4D897679-FA7C-48A2-A57F-5D0431886FF7}" srcOrd="0" destOrd="0" parTransId="{C7C06085-9DF0-469C-90B3-434C5E418A6D}" sibTransId="{D55B2488-3E22-41F8-99B8-F1276460587D}"/>
    <dgm:cxn modelId="{6B84BBFC-A091-4525-A53A-310AE57146D4}" type="presOf" srcId="{D11BAA21-3D0E-4BFE-97F1-F349F96BB7F2}" destId="{E35C2840-DB93-493D-B275-166B0E0C4A9D}" srcOrd="0" destOrd="0" presId="urn:microsoft.com/office/officeart/2008/layout/HorizontalMultiLevelHierarchy"/>
    <dgm:cxn modelId="{BC1D60FE-A17A-4459-A412-7BD781EE41A1}" type="presOf" srcId="{31BDA904-A9EF-437C-9DAF-E5BDF8C1106E}" destId="{8B0AB1CA-7D19-4139-820F-FBEA5B4373F8}" srcOrd="1" destOrd="0" presId="urn:microsoft.com/office/officeart/2008/layout/HorizontalMultiLevelHierarchy"/>
    <dgm:cxn modelId="{3E8C5480-73D9-4EE3-932D-82721BB1E7B2}" type="presParOf" srcId="{50C4D88C-9CB0-4513-8456-755395491158}" destId="{506FBA0B-6598-4404-B87A-56869B8718E3}" srcOrd="0" destOrd="0" presId="urn:microsoft.com/office/officeart/2008/layout/HorizontalMultiLevelHierarchy"/>
    <dgm:cxn modelId="{AD087DA0-5EB4-49EE-82D3-F6C47200DD79}" type="presParOf" srcId="{506FBA0B-6598-4404-B87A-56869B8718E3}" destId="{DCF5B4EF-DE4F-4292-A3B2-724C163A44AB}" srcOrd="0" destOrd="0" presId="urn:microsoft.com/office/officeart/2008/layout/HorizontalMultiLevelHierarchy"/>
    <dgm:cxn modelId="{AD864577-5B7E-4328-AC26-287C80C6BEA3}" type="presParOf" srcId="{506FBA0B-6598-4404-B87A-56869B8718E3}" destId="{7E8A6FC8-F240-4C27-8F75-0549E9D1CE4E}" srcOrd="1" destOrd="0" presId="urn:microsoft.com/office/officeart/2008/layout/HorizontalMultiLevelHierarchy"/>
    <dgm:cxn modelId="{0D5824EC-96D2-4284-930C-3DC3234577D3}" type="presParOf" srcId="{7E8A6FC8-F240-4C27-8F75-0549E9D1CE4E}" destId="{BE328E0A-C287-4B1A-BD90-C0F3098FFCD9}" srcOrd="0" destOrd="0" presId="urn:microsoft.com/office/officeart/2008/layout/HorizontalMultiLevelHierarchy"/>
    <dgm:cxn modelId="{FF3EDB3F-3E5D-484F-B7EB-2D9D119CC084}" type="presParOf" srcId="{BE328E0A-C287-4B1A-BD90-C0F3098FFCD9}" destId="{1EB559E9-DB95-4028-B960-01A592B99E92}" srcOrd="0" destOrd="0" presId="urn:microsoft.com/office/officeart/2008/layout/HorizontalMultiLevelHierarchy"/>
    <dgm:cxn modelId="{6E796F25-24CC-4F5D-8AB9-96C968A94D86}" type="presParOf" srcId="{7E8A6FC8-F240-4C27-8F75-0549E9D1CE4E}" destId="{9893F228-CFAA-415F-97D9-8C8EA9FB1BC5}" srcOrd="1" destOrd="0" presId="urn:microsoft.com/office/officeart/2008/layout/HorizontalMultiLevelHierarchy"/>
    <dgm:cxn modelId="{F5FE272E-5A1A-4232-A41E-5E8F96E754E7}" type="presParOf" srcId="{9893F228-CFAA-415F-97D9-8C8EA9FB1BC5}" destId="{49ADAAAB-354D-4968-9DE9-378E6595E5BB}" srcOrd="0" destOrd="0" presId="urn:microsoft.com/office/officeart/2008/layout/HorizontalMultiLevelHierarchy"/>
    <dgm:cxn modelId="{480D07D8-1F1B-4569-80CC-321A6295D639}" type="presParOf" srcId="{9893F228-CFAA-415F-97D9-8C8EA9FB1BC5}" destId="{46E2FE2A-A747-4DEE-AAF5-53A8EE84B06B}" srcOrd="1" destOrd="0" presId="urn:microsoft.com/office/officeart/2008/layout/HorizontalMultiLevelHierarchy"/>
    <dgm:cxn modelId="{50D16AF4-5755-49CA-8CD2-80B55C410D0F}" type="presParOf" srcId="{46E2FE2A-A747-4DEE-AAF5-53A8EE84B06B}" destId="{A00DE1AA-92DF-4607-98DB-1C3BB048DCF5}" srcOrd="0" destOrd="0" presId="urn:microsoft.com/office/officeart/2008/layout/HorizontalMultiLevelHierarchy"/>
    <dgm:cxn modelId="{431D5585-68BC-402E-A1E8-6AA95F6C7608}" type="presParOf" srcId="{A00DE1AA-92DF-4607-98DB-1C3BB048DCF5}" destId="{FCADF10C-D51C-403A-B095-E884F4771DA4}" srcOrd="0" destOrd="0" presId="urn:microsoft.com/office/officeart/2008/layout/HorizontalMultiLevelHierarchy"/>
    <dgm:cxn modelId="{15D334E0-0A38-4F4E-ADC1-2877693952AA}" type="presParOf" srcId="{46E2FE2A-A747-4DEE-AAF5-53A8EE84B06B}" destId="{82114EE1-887C-431E-AFFD-6C4277E5953D}" srcOrd="1" destOrd="0" presId="urn:microsoft.com/office/officeart/2008/layout/HorizontalMultiLevelHierarchy"/>
    <dgm:cxn modelId="{8C9D2DBB-76FF-4B29-A8BF-76E1595D5F7B}" type="presParOf" srcId="{82114EE1-887C-431E-AFFD-6C4277E5953D}" destId="{F9F18759-F577-4686-9C34-EB964D732C77}" srcOrd="0" destOrd="0" presId="urn:microsoft.com/office/officeart/2008/layout/HorizontalMultiLevelHierarchy"/>
    <dgm:cxn modelId="{24FAD8B7-4C36-4713-89C8-0B0C5F8DE428}" type="presParOf" srcId="{82114EE1-887C-431E-AFFD-6C4277E5953D}" destId="{54BDE115-2A0C-4217-89B4-E7E8586234DB}" srcOrd="1" destOrd="0" presId="urn:microsoft.com/office/officeart/2008/layout/HorizontalMultiLevelHierarchy"/>
    <dgm:cxn modelId="{3D372E14-A8FD-44D7-8131-FA6D9CF22B67}" type="presParOf" srcId="{54BDE115-2A0C-4217-89B4-E7E8586234DB}" destId="{6D05A90F-5A8D-42F9-A2CB-82F28C0FF2BC}" srcOrd="0" destOrd="0" presId="urn:microsoft.com/office/officeart/2008/layout/HorizontalMultiLevelHierarchy"/>
    <dgm:cxn modelId="{F40CABF1-22E9-41F5-8B23-F27E5206AE95}" type="presParOf" srcId="{6D05A90F-5A8D-42F9-A2CB-82F28C0FF2BC}" destId="{799FD5E4-5D76-4338-BDA8-9F7F790A3A29}" srcOrd="0" destOrd="0" presId="urn:microsoft.com/office/officeart/2008/layout/HorizontalMultiLevelHierarchy"/>
    <dgm:cxn modelId="{DFBDF78B-1D23-455B-94D1-7FEC00C888AD}" type="presParOf" srcId="{54BDE115-2A0C-4217-89B4-E7E8586234DB}" destId="{1C875D8C-6779-45C7-9DF1-E38374A18533}" srcOrd="1" destOrd="0" presId="urn:microsoft.com/office/officeart/2008/layout/HorizontalMultiLevelHierarchy"/>
    <dgm:cxn modelId="{00ED9729-0AF6-4E65-A263-4A217F294ED2}" type="presParOf" srcId="{1C875D8C-6779-45C7-9DF1-E38374A18533}" destId="{F8A94DA1-2081-4A8B-816C-A9F98C2853F5}" srcOrd="0" destOrd="0" presId="urn:microsoft.com/office/officeart/2008/layout/HorizontalMultiLevelHierarchy"/>
    <dgm:cxn modelId="{44FDD24A-6CFB-46B1-BEB2-69DCD38B52E4}" type="presParOf" srcId="{1C875D8C-6779-45C7-9DF1-E38374A18533}" destId="{BE78AA36-14CC-406D-9CAF-F23AD3DFDFED}" srcOrd="1" destOrd="0" presId="urn:microsoft.com/office/officeart/2008/layout/HorizontalMultiLevelHierarchy"/>
    <dgm:cxn modelId="{944A07B4-171F-46FD-9A9A-D9F32623A61F}" type="presParOf" srcId="{54BDE115-2A0C-4217-89B4-E7E8586234DB}" destId="{8F0AA0AA-EF8D-43DE-82C5-2D7BFD08315F}" srcOrd="2" destOrd="0" presId="urn:microsoft.com/office/officeart/2008/layout/HorizontalMultiLevelHierarchy"/>
    <dgm:cxn modelId="{8E6E216A-B20D-4FF2-9976-6A4AD97AA5AD}" type="presParOf" srcId="{8F0AA0AA-EF8D-43DE-82C5-2D7BFD08315F}" destId="{FD15021D-62B7-4A46-932A-654E778DB44B}" srcOrd="0" destOrd="0" presId="urn:microsoft.com/office/officeart/2008/layout/HorizontalMultiLevelHierarchy"/>
    <dgm:cxn modelId="{35774EDF-2194-4938-91A1-C2CF1298126D}" type="presParOf" srcId="{54BDE115-2A0C-4217-89B4-E7E8586234DB}" destId="{92C6DF90-94C7-417B-A0B7-472D3330DFC6}" srcOrd="3" destOrd="0" presId="urn:microsoft.com/office/officeart/2008/layout/HorizontalMultiLevelHierarchy"/>
    <dgm:cxn modelId="{62003EF5-E134-419F-A088-B5DDC40A2688}" type="presParOf" srcId="{92C6DF90-94C7-417B-A0B7-472D3330DFC6}" destId="{571B8373-7DFF-4282-8AA6-80F7CC7EA7C8}" srcOrd="0" destOrd="0" presId="urn:microsoft.com/office/officeart/2008/layout/HorizontalMultiLevelHierarchy"/>
    <dgm:cxn modelId="{E322A04F-806C-4932-A9A0-D0423C9769E7}" type="presParOf" srcId="{92C6DF90-94C7-417B-A0B7-472D3330DFC6}" destId="{2E395B4D-D351-4809-A97B-BD1545D151D6}" srcOrd="1" destOrd="0" presId="urn:microsoft.com/office/officeart/2008/layout/HorizontalMultiLevelHierarchy"/>
    <dgm:cxn modelId="{F777DE2D-E80D-4EA4-B833-A3841CA97B4B}" type="presParOf" srcId="{54BDE115-2A0C-4217-89B4-E7E8586234DB}" destId="{709C936E-7E65-4B5A-AC40-4548A25152AC}" srcOrd="4" destOrd="0" presId="urn:microsoft.com/office/officeart/2008/layout/HorizontalMultiLevelHierarchy"/>
    <dgm:cxn modelId="{32E88D2B-0DC3-47DF-8E3C-D73500CC12ED}" type="presParOf" srcId="{709C936E-7E65-4B5A-AC40-4548A25152AC}" destId="{79D3B186-92E5-40C6-A995-4173A00C788D}" srcOrd="0" destOrd="0" presId="urn:microsoft.com/office/officeart/2008/layout/HorizontalMultiLevelHierarchy"/>
    <dgm:cxn modelId="{3F754718-EE57-49C1-BB11-DB71B1789707}" type="presParOf" srcId="{54BDE115-2A0C-4217-89B4-E7E8586234DB}" destId="{288D4D72-A885-421E-B53B-89BEC0A8E191}" srcOrd="5" destOrd="0" presId="urn:microsoft.com/office/officeart/2008/layout/HorizontalMultiLevelHierarchy"/>
    <dgm:cxn modelId="{7057AA4D-B137-41ED-BB23-97CC6A463ECC}" type="presParOf" srcId="{288D4D72-A885-421E-B53B-89BEC0A8E191}" destId="{9E59A063-5821-4E2B-8FD8-3EBA8922B98E}" srcOrd="0" destOrd="0" presId="urn:microsoft.com/office/officeart/2008/layout/HorizontalMultiLevelHierarchy"/>
    <dgm:cxn modelId="{B1430112-47C7-421A-A831-AD9432EA9447}" type="presParOf" srcId="{288D4D72-A885-421E-B53B-89BEC0A8E191}" destId="{A60165E3-8C06-4086-B11F-0E702421E440}" srcOrd="1" destOrd="0" presId="urn:microsoft.com/office/officeart/2008/layout/HorizontalMultiLevelHierarchy"/>
    <dgm:cxn modelId="{4606825E-DF7B-4A4B-970B-90A4366FCD75}" type="presParOf" srcId="{54BDE115-2A0C-4217-89B4-E7E8586234DB}" destId="{C5F46441-018D-4AD0-9984-278FB6B3653F}" srcOrd="6" destOrd="0" presId="urn:microsoft.com/office/officeart/2008/layout/HorizontalMultiLevelHierarchy"/>
    <dgm:cxn modelId="{2195A6B6-C0E7-4925-B522-ECD20392777B}" type="presParOf" srcId="{C5F46441-018D-4AD0-9984-278FB6B3653F}" destId="{D9EA4352-69AB-4BEF-A3B8-25557C0E3D3D}" srcOrd="0" destOrd="0" presId="urn:microsoft.com/office/officeart/2008/layout/HorizontalMultiLevelHierarchy"/>
    <dgm:cxn modelId="{76A9F908-999F-4A91-9814-EDE65165187B}" type="presParOf" srcId="{54BDE115-2A0C-4217-89B4-E7E8586234DB}" destId="{0E92266F-6127-4D65-BB11-33FD467F105D}" srcOrd="7" destOrd="0" presId="urn:microsoft.com/office/officeart/2008/layout/HorizontalMultiLevelHierarchy"/>
    <dgm:cxn modelId="{F306A3C1-7973-4F7A-943B-6ADCD306A7F6}" type="presParOf" srcId="{0E92266F-6127-4D65-BB11-33FD467F105D}" destId="{E35C2840-DB93-493D-B275-166B0E0C4A9D}" srcOrd="0" destOrd="0" presId="urn:microsoft.com/office/officeart/2008/layout/HorizontalMultiLevelHierarchy"/>
    <dgm:cxn modelId="{A835B48E-3A8E-4008-A8CE-A71601018F84}" type="presParOf" srcId="{0E92266F-6127-4D65-BB11-33FD467F105D}" destId="{D8A053A6-8CD3-465F-9ECC-7C0D113893EE}" srcOrd="1" destOrd="0" presId="urn:microsoft.com/office/officeart/2008/layout/HorizontalMultiLevelHierarchy"/>
    <dgm:cxn modelId="{8D24C396-9E55-4005-8D86-DB4BF7EBCB4D}" type="presParOf" srcId="{54BDE115-2A0C-4217-89B4-E7E8586234DB}" destId="{FAF45787-F807-4BB6-923D-0C0E2CD8C149}" srcOrd="8" destOrd="0" presId="urn:microsoft.com/office/officeart/2008/layout/HorizontalMultiLevelHierarchy"/>
    <dgm:cxn modelId="{B8C3ED00-AC23-46BD-B1D0-119DB40B33C6}" type="presParOf" srcId="{FAF45787-F807-4BB6-923D-0C0E2CD8C149}" destId="{8B0AB1CA-7D19-4139-820F-FBEA5B4373F8}" srcOrd="0" destOrd="0" presId="urn:microsoft.com/office/officeart/2008/layout/HorizontalMultiLevelHierarchy"/>
    <dgm:cxn modelId="{CEE7DFA3-513B-4D24-A57B-0052FB3C207F}" type="presParOf" srcId="{54BDE115-2A0C-4217-89B4-E7E8586234DB}" destId="{C3306D52-2437-4385-ACA3-7D8CE9EB0569}" srcOrd="9" destOrd="0" presId="urn:microsoft.com/office/officeart/2008/layout/HorizontalMultiLevelHierarchy"/>
    <dgm:cxn modelId="{08DF73F5-ABF4-4C8B-834F-6A47AAB5E318}" type="presParOf" srcId="{C3306D52-2437-4385-ACA3-7D8CE9EB0569}" destId="{8F47A465-73D6-48E5-83FD-F149301C3BBD}" srcOrd="0" destOrd="0" presId="urn:microsoft.com/office/officeart/2008/layout/HorizontalMultiLevelHierarchy"/>
    <dgm:cxn modelId="{1CF8F74E-E989-4A3F-908A-DCDB6D590139}" type="presParOf" srcId="{C3306D52-2437-4385-ACA3-7D8CE9EB0569}" destId="{E32E857A-F3CD-4263-AB35-D59E97F83B1D}" srcOrd="1" destOrd="0" presId="urn:microsoft.com/office/officeart/2008/layout/HorizontalMultiLevelHierarchy"/>
    <dgm:cxn modelId="{88639E4F-31C1-497A-AD08-8F53C1B0472D}" type="presParOf" srcId="{46E2FE2A-A747-4DEE-AAF5-53A8EE84B06B}" destId="{5BC2DE1D-C4D7-4BFC-A0C1-3D282DC024CD}" srcOrd="2" destOrd="0" presId="urn:microsoft.com/office/officeart/2008/layout/HorizontalMultiLevelHierarchy"/>
    <dgm:cxn modelId="{BC66EAF4-D03A-4B97-B08C-7F76CC2F9B24}" type="presParOf" srcId="{5BC2DE1D-C4D7-4BFC-A0C1-3D282DC024CD}" destId="{0C497864-2349-44C5-8D11-5F89748F0519}" srcOrd="0" destOrd="0" presId="urn:microsoft.com/office/officeart/2008/layout/HorizontalMultiLevelHierarchy"/>
    <dgm:cxn modelId="{40D40725-FA7B-4511-B16E-C1EFB81A0750}" type="presParOf" srcId="{46E2FE2A-A747-4DEE-AAF5-53A8EE84B06B}" destId="{9DEE4079-5D60-4753-AEAE-EF1343D66E8F}" srcOrd="3" destOrd="0" presId="urn:microsoft.com/office/officeart/2008/layout/HorizontalMultiLevelHierarchy"/>
    <dgm:cxn modelId="{6042F3FD-F18F-4D46-8EC2-9066A06C2B78}" type="presParOf" srcId="{9DEE4079-5D60-4753-AEAE-EF1343D66E8F}" destId="{DC0B28EB-699E-45BB-87EC-30E574E72821}" srcOrd="0" destOrd="0" presId="urn:microsoft.com/office/officeart/2008/layout/HorizontalMultiLevelHierarchy"/>
    <dgm:cxn modelId="{608302F7-1EC7-4ADD-8AE7-438FDE7034DF}" type="presParOf" srcId="{9DEE4079-5D60-4753-AEAE-EF1343D66E8F}" destId="{F96545F6-99BC-46B9-929F-A49863AE73CF}" srcOrd="1" destOrd="0" presId="urn:microsoft.com/office/officeart/2008/layout/HorizontalMultiLevelHierarchy"/>
    <dgm:cxn modelId="{A053F520-2BFF-4D78-ABA3-085B38E9BB46}" type="presParOf" srcId="{F96545F6-99BC-46B9-929F-A49863AE73CF}" destId="{7F2C676C-E906-4B26-892E-C728B9239429}" srcOrd="0" destOrd="0" presId="urn:microsoft.com/office/officeart/2008/layout/HorizontalMultiLevelHierarchy"/>
    <dgm:cxn modelId="{DC63E4DA-2911-48A2-B45E-2A3F7F320F95}" type="presParOf" srcId="{7F2C676C-E906-4B26-892E-C728B9239429}" destId="{F614A676-E312-4A6F-BE9F-B6E2993177B6}" srcOrd="0" destOrd="0" presId="urn:microsoft.com/office/officeart/2008/layout/HorizontalMultiLevelHierarchy"/>
    <dgm:cxn modelId="{98791E69-7D35-4CF1-9761-6C24C2696866}" type="presParOf" srcId="{F96545F6-99BC-46B9-929F-A49863AE73CF}" destId="{BDC558D4-E8FE-4402-98B6-954B2DED52D1}" srcOrd="1" destOrd="0" presId="urn:microsoft.com/office/officeart/2008/layout/HorizontalMultiLevelHierarchy"/>
    <dgm:cxn modelId="{FDBEFCAE-1435-4A02-93C8-6822FB954273}" type="presParOf" srcId="{BDC558D4-E8FE-4402-98B6-954B2DED52D1}" destId="{81473451-3FF3-474B-98FB-6869E5682468}" srcOrd="0" destOrd="0" presId="urn:microsoft.com/office/officeart/2008/layout/HorizontalMultiLevelHierarchy"/>
    <dgm:cxn modelId="{B5D9CD1B-6DBD-4706-A7AF-2E52473396EC}" type="presParOf" srcId="{BDC558D4-E8FE-4402-98B6-954B2DED52D1}" destId="{FA9000AC-D9F7-467D-A35D-DAD03D5FE186}" srcOrd="1" destOrd="0" presId="urn:microsoft.com/office/officeart/2008/layout/HorizontalMultiLevelHierarchy"/>
    <dgm:cxn modelId="{796470D6-7D1B-4420-B116-3CDECA6C4332}" type="presParOf" srcId="{F96545F6-99BC-46B9-929F-A49863AE73CF}" destId="{2B4072C3-2623-4EA4-94B7-025A9DCD72E9}" srcOrd="2" destOrd="0" presId="urn:microsoft.com/office/officeart/2008/layout/HorizontalMultiLevelHierarchy"/>
    <dgm:cxn modelId="{26C198F0-9097-4B40-A099-0CF7BB5FE30B}" type="presParOf" srcId="{2B4072C3-2623-4EA4-94B7-025A9DCD72E9}" destId="{7260B369-A7E2-44EA-98FE-B408D79B13A6}" srcOrd="0" destOrd="0" presId="urn:microsoft.com/office/officeart/2008/layout/HorizontalMultiLevelHierarchy"/>
    <dgm:cxn modelId="{561417E8-7976-4A1C-A015-08E3E4F64664}" type="presParOf" srcId="{F96545F6-99BC-46B9-929F-A49863AE73CF}" destId="{1FAAD552-F495-4DB6-9E8B-FAAEB560B2F6}" srcOrd="3" destOrd="0" presId="urn:microsoft.com/office/officeart/2008/layout/HorizontalMultiLevelHierarchy"/>
    <dgm:cxn modelId="{EA019D1A-3F95-4D56-9997-0C9D24A997C5}" type="presParOf" srcId="{1FAAD552-F495-4DB6-9E8B-FAAEB560B2F6}" destId="{A732D3F1-1291-409E-9A7C-778CAE167F89}" srcOrd="0" destOrd="0" presId="urn:microsoft.com/office/officeart/2008/layout/HorizontalMultiLevelHierarchy"/>
    <dgm:cxn modelId="{166A27F3-4442-45CA-8BA6-9A502B1E32B0}" type="presParOf" srcId="{1FAAD552-F495-4DB6-9E8B-FAAEB560B2F6}" destId="{AB597740-6E08-435C-B03D-74A3C28F6C7A}" srcOrd="1" destOrd="0" presId="urn:microsoft.com/office/officeart/2008/layout/HorizontalMultiLevelHierarchy"/>
    <dgm:cxn modelId="{B13D283A-3BF4-4186-8B35-E30A1BFCB7DD}" type="presParOf" srcId="{F96545F6-99BC-46B9-929F-A49863AE73CF}" destId="{9458E52A-38CE-4EE6-A620-F703970B8164}" srcOrd="4" destOrd="0" presId="urn:microsoft.com/office/officeart/2008/layout/HorizontalMultiLevelHierarchy"/>
    <dgm:cxn modelId="{CBEB0CDE-7383-4B68-B06E-63692D94162C}" type="presParOf" srcId="{9458E52A-38CE-4EE6-A620-F703970B8164}" destId="{32DEAE14-947F-44E2-8D61-C101875AB07D}" srcOrd="0" destOrd="0" presId="urn:microsoft.com/office/officeart/2008/layout/HorizontalMultiLevelHierarchy"/>
    <dgm:cxn modelId="{268498D5-D929-4DAB-AC0F-7C00397892F8}" type="presParOf" srcId="{F96545F6-99BC-46B9-929F-A49863AE73CF}" destId="{69E10A20-FCE4-4D83-88A1-14D71635473C}" srcOrd="5" destOrd="0" presId="urn:microsoft.com/office/officeart/2008/layout/HorizontalMultiLevelHierarchy"/>
    <dgm:cxn modelId="{C53C4149-E278-4B46-8FC3-6C96C874D326}" type="presParOf" srcId="{69E10A20-FCE4-4D83-88A1-14D71635473C}" destId="{42C465EB-33D9-4AD2-A33B-930C8E39ED41}" srcOrd="0" destOrd="0" presId="urn:microsoft.com/office/officeart/2008/layout/HorizontalMultiLevelHierarchy"/>
    <dgm:cxn modelId="{148DD049-D5F2-44AA-9110-DDD80E88C1F7}" type="presParOf" srcId="{69E10A20-FCE4-4D83-88A1-14D71635473C}" destId="{2EF723DA-603B-48F9-A950-71099D97A93D}" srcOrd="1" destOrd="0" presId="urn:microsoft.com/office/officeart/2008/layout/HorizontalMultiLevelHierarchy"/>
    <dgm:cxn modelId="{E6A09153-7C65-4D54-AF4C-8F005668B195}" type="presParOf" srcId="{F96545F6-99BC-46B9-929F-A49863AE73CF}" destId="{329CD9E0-9945-40C9-89A5-5929AA1A3A82}" srcOrd="6" destOrd="0" presId="urn:microsoft.com/office/officeart/2008/layout/HorizontalMultiLevelHierarchy"/>
    <dgm:cxn modelId="{6218AF02-8BFB-41EC-94F2-A7B83BEFA856}" type="presParOf" srcId="{329CD9E0-9945-40C9-89A5-5929AA1A3A82}" destId="{27874C32-AAAE-43E2-B803-B20B1E2D7450}" srcOrd="0" destOrd="0" presId="urn:microsoft.com/office/officeart/2008/layout/HorizontalMultiLevelHierarchy"/>
    <dgm:cxn modelId="{5191E024-DDD0-405C-A806-A32820FD8CC5}" type="presParOf" srcId="{F96545F6-99BC-46B9-929F-A49863AE73CF}" destId="{413EDB34-EEB8-4846-8BF9-D4944F61EBD3}" srcOrd="7" destOrd="0" presId="urn:microsoft.com/office/officeart/2008/layout/HorizontalMultiLevelHierarchy"/>
    <dgm:cxn modelId="{A545499C-31A8-4879-8B70-422B8B7E16E8}" type="presParOf" srcId="{413EDB34-EEB8-4846-8BF9-D4944F61EBD3}" destId="{84D7F889-3498-48D8-ADC3-14251347C81B}" srcOrd="0" destOrd="0" presId="urn:microsoft.com/office/officeart/2008/layout/HorizontalMultiLevelHierarchy"/>
    <dgm:cxn modelId="{A0A19357-EB8B-4612-A7DA-0BAC1172C650}" type="presParOf" srcId="{413EDB34-EEB8-4846-8BF9-D4944F61EBD3}" destId="{E91235D0-FC5C-4DA2-AB29-EC075B3DCA81}" srcOrd="1" destOrd="0" presId="urn:microsoft.com/office/officeart/2008/layout/HorizontalMultiLevelHierarchy"/>
    <dgm:cxn modelId="{726D319B-7F9C-410A-923E-E7D70D1E9BE5}" type="presParOf" srcId="{46E2FE2A-A747-4DEE-AAF5-53A8EE84B06B}" destId="{A4E05C94-2209-4BF4-B627-606397BBC1C5}" srcOrd="4" destOrd="0" presId="urn:microsoft.com/office/officeart/2008/layout/HorizontalMultiLevelHierarchy"/>
    <dgm:cxn modelId="{BC8E1C1E-4F81-4EDB-B206-0F9F561D1BE3}" type="presParOf" srcId="{A4E05C94-2209-4BF4-B627-606397BBC1C5}" destId="{6DCFD290-34D5-45FC-84C5-03B4A3AFAD52}" srcOrd="0" destOrd="0" presId="urn:microsoft.com/office/officeart/2008/layout/HorizontalMultiLevelHierarchy"/>
    <dgm:cxn modelId="{C24C0CF1-8773-4C67-935E-616A1C69F1B6}" type="presParOf" srcId="{46E2FE2A-A747-4DEE-AAF5-53A8EE84B06B}" destId="{D6C31984-0B65-416F-A6B1-E0A22FFF6163}" srcOrd="5" destOrd="0" presId="urn:microsoft.com/office/officeart/2008/layout/HorizontalMultiLevelHierarchy"/>
    <dgm:cxn modelId="{BF5C4A11-F9CD-408A-9CA8-15A0D2A36E35}" type="presParOf" srcId="{D6C31984-0B65-416F-A6B1-E0A22FFF6163}" destId="{485D5E8B-1295-4B72-BF14-74B2BE7008EE}" srcOrd="0" destOrd="0" presId="urn:microsoft.com/office/officeart/2008/layout/HorizontalMultiLevelHierarchy"/>
    <dgm:cxn modelId="{F6BDEA0C-9395-46B8-B4A0-F02379190F75}" type="presParOf" srcId="{D6C31984-0B65-416F-A6B1-E0A22FFF6163}" destId="{49EAA066-0495-427D-9425-BE1889EED5E1}" srcOrd="1" destOrd="0" presId="urn:microsoft.com/office/officeart/2008/layout/HorizontalMultiLevelHierarchy"/>
    <dgm:cxn modelId="{D41C7959-272E-4EBA-8328-6A420A7753D6}" type="presParOf" srcId="{46E2FE2A-A747-4DEE-AAF5-53A8EE84B06B}" destId="{460E764F-BDF5-4D22-9B4D-16DC71F64CAC}" srcOrd="6" destOrd="0" presId="urn:microsoft.com/office/officeart/2008/layout/HorizontalMultiLevelHierarchy"/>
    <dgm:cxn modelId="{9E3C5359-D3AF-471A-A4EB-632E9E1FFFED}" type="presParOf" srcId="{460E764F-BDF5-4D22-9B4D-16DC71F64CAC}" destId="{D2085E56-A00C-4E27-A4A7-A2743FEDF1B5}" srcOrd="0" destOrd="0" presId="urn:microsoft.com/office/officeart/2008/layout/HorizontalMultiLevelHierarchy"/>
    <dgm:cxn modelId="{E9C36CB9-A5C3-4B2E-8690-8C27F406F889}" type="presParOf" srcId="{46E2FE2A-A747-4DEE-AAF5-53A8EE84B06B}" destId="{73186733-5E43-4E6A-80AF-948A00AAA9B5}" srcOrd="7" destOrd="0" presId="urn:microsoft.com/office/officeart/2008/layout/HorizontalMultiLevelHierarchy"/>
    <dgm:cxn modelId="{3DE4C77A-92C4-499B-A96E-6812CB8CF9E7}" type="presParOf" srcId="{73186733-5E43-4E6A-80AF-948A00AAA9B5}" destId="{43996E1E-6F52-4F8E-9F4B-77A56824C63C}" srcOrd="0" destOrd="0" presId="urn:microsoft.com/office/officeart/2008/layout/HorizontalMultiLevelHierarchy"/>
    <dgm:cxn modelId="{0F21ABEF-B7AA-44AC-A89A-91EB275FF44F}" type="presParOf" srcId="{73186733-5E43-4E6A-80AF-948A00AAA9B5}" destId="{41502682-1FC1-4B2B-BBB5-9A5540E7D736}" srcOrd="1" destOrd="0" presId="urn:microsoft.com/office/officeart/2008/layout/HorizontalMultiLevelHierarchy"/>
    <dgm:cxn modelId="{D6EB78A0-A34D-4723-9332-CDC12F78869A}" type="presParOf" srcId="{46E2FE2A-A747-4DEE-AAF5-53A8EE84B06B}" destId="{690E36EE-5895-4B91-A347-3380A5FE5255}" srcOrd="8" destOrd="0" presId="urn:microsoft.com/office/officeart/2008/layout/HorizontalMultiLevelHierarchy"/>
    <dgm:cxn modelId="{E55A1800-8DD6-4853-A0D4-E4B94395683D}" type="presParOf" srcId="{690E36EE-5895-4B91-A347-3380A5FE5255}" destId="{ADBE13F2-10FA-4B06-99C7-09C6712A7646}" srcOrd="0" destOrd="0" presId="urn:microsoft.com/office/officeart/2008/layout/HorizontalMultiLevelHierarchy"/>
    <dgm:cxn modelId="{0DEBCA27-CE2E-409D-8652-B03064A5A0BD}" type="presParOf" srcId="{46E2FE2A-A747-4DEE-AAF5-53A8EE84B06B}" destId="{B6754EFB-425D-471A-9BC5-9299A6414551}" srcOrd="9" destOrd="0" presId="urn:microsoft.com/office/officeart/2008/layout/HorizontalMultiLevelHierarchy"/>
    <dgm:cxn modelId="{827B1068-D035-4351-8FA7-E96A12C46B8D}" type="presParOf" srcId="{B6754EFB-425D-471A-9BC5-9299A6414551}" destId="{6E154881-954A-429F-9BBE-E92EEB4B1011}" srcOrd="0" destOrd="0" presId="urn:microsoft.com/office/officeart/2008/layout/HorizontalMultiLevelHierarchy"/>
    <dgm:cxn modelId="{CF5796C7-4017-4D28-84C5-F23B50B601E5}" type="presParOf" srcId="{B6754EFB-425D-471A-9BC5-9299A6414551}" destId="{5D1CB6D5-4D16-456C-80C8-8FB25291517B}" srcOrd="1" destOrd="0" presId="urn:microsoft.com/office/officeart/2008/layout/HorizontalMultiLevelHierarchy"/>
    <dgm:cxn modelId="{8C48EBB2-861E-4B2B-84F8-7FD8866630A9}" type="presParOf" srcId="{7E8A6FC8-F240-4C27-8F75-0549E9D1CE4E}" destId="{CD37291B-5548-4F1B-8F2F-200AE5B0DCAE}" srcOrd="2" destOrd="0" presId="urn:microsoft.com/office/officeart/2008/layout/HorizontalMultiLevelHierarchy"/>
    <dgm:cxn modelId="{1EAA7291-3D7E-4E1D-BFA5-466FBB9231BE}" type="presParOf" srcId="{CD37291B-5548-4F1B-8F2F-200AE5B0DCAE}" destId="{D4121B60-61D6-41A4-AAB9-DE9671C8ED2F}" srcOrd="0" destOrd="0" presId="urn:microsoft.com/office/officeart/2008/layout/HorizontalMultiLevelHierarchy"/>
    <dgm:cxn modelId="{30BF0797-9DFC-4143-9934-65A925553B04}" type="presParOf" srcId="{7E8A6FC8-F240-4C27-8F75-0549E9D1CE4E}" destId="{50975EFF-52F3-48CE-A104-6890DF2CCC15}" srcOrd="3" destOrd="0" presId="urn:microsoft.com/office/officeart/2008/layout/HorizontalMultiLevelHierarchy"/>
    <dgm:cxn modelId="{B1E72420-C269-47B9-8826-4F40BF90D27F}" type="presParOf" srcId="{50975EFF-52F3-48CE-A104-6890DF2CCC15}" destId="{E077FA3E-A654-4D27-8616-5CDDA43F8AF6}" srcOrd="0" destOrd="0" presId="urn:microsoft.com/office/officeart/2008/layout/HorizontalMultiLevelHierarchy"/>
    <dgm:cxn modelId="{2984DC2A-8109-4C03-B00F-93C41BC46DCB}" type="presParOf" srcId="{50975EFF-52F3-48CE-A104-6890DF2CCC15}" destId="{738BD333-0CAC-4970-A8E6-FA82D1202675}" srcOrd="1" destOrd="0" presId="urn:microsoft.com/office/officeart/2008/layout/HorizontalMultiLevelHierarchy"/>
    <dgm:cxn modelId="{701C9470-548A-4BE2-BFE5-EA05C36188CF}" type="presParOf" srcId="{738BD333-0CAC-4970-A8E6-FA82D1202675}" destId="{037062E2-BE96-4A8B-9D2F-1FA0857207C1}" srcOrd="0" destOrd="0" presId="urn:microsoft.com/office/officeart/2008/layout/HorizontalMultiLevelHierarchy"/>
    <dgm:cxn modelId="{A85CA7AE-0B05-415C-879A-E60AE08B5C38}" type="presParOf" srcId="{037062E2-BE96-4A8B-9D2F-1FA0857207C1}" destId="{48D9A2E1-2598-4B00-AD73-86E6047DFB3F}" srcOrd="0" destOrd="0" presId="urn:microsoft.com/office/officeart/2008/layout/HorizontalMultiLevelHierarchy"/>
    <dgm:cxn modelId="{C4A41739-1868-4E6C-8999-7C6171F40DDB}" type="presParOf" srcId="{738BD333-0CAC-4970-A8E6-FA82D1202675}" destId="{B8CF9832-64BD-484C-B421-A0ECF20998B1}" srcOrd="1" destOrd="0" presId="urn:microsoft.com/office/officeart/2008/layout/HorizontalMultiLevelHierarchy"/>
    <dgm:cxn modelId="{48303E24-0767-49ED-9ED9-ABE66A3F8EB4}" type="presParOf" srcId="{B8CF9832-64BD-484C-B421-A0ECF20998B1}" destId="{768C7647-12EF-40E9-94EB-C1868C4AFE59}" srcOrd="0" destOrd="0" presId="urn:microsoft.com/office/officeart/2008/layout/HorizontalMultiLevelHierarchy"/>
    <dgm:cxn modelId="{5A3DA604-9904-4F44-9882-A2E63AE76B38}" type="presParOf" srcId="{B8CF9832-64BD-484C-B421-A0ECF20998B1}" destId="{66E40938-6C34-47FD-B792-4BEC9D41A30A}" srcOrd="1" destOrd="0" presId="urn:microsoft.com/office/officeart/2008/layout/HorizontalMultiLevelHierarchy"/>
    <dgm:cxn modelId="{55446B2F-4034-42F1-8435-46B9BE44613A}" type="presParOf" srcId="{738BD333-0CAC-4970-A8E6-FA82D1202675}" destId="{313DC26C-06DB-4098-B605-33485EFC9B29}" srcOrd="2" destOrd="0" presId="urn:microsoft.com/office/officeart/2008/layout/HorizontalMultiLevelHierarchy"/>
    <dgm:cxn modelId="{4A033A29-C601-4F84-BFD7-622B89FB96DB}" type="presParOf" srcId="{313DC26C-06DB-4098-B605-33485EFC9B29}" destId="{30A455D9-9D31-498C-B006-B59A4D0FAC39}" srcOrd="0" destOrd="0" presId="urn:microsoft.com/office/officeart/2008/layout/HorizontalMultiLevelHierarchy"/>
    <dgm:cxn modelId="{B93B707E-B961-4BA7-B3CF-63ACD0FF66B1}" type="presParOf" srcId="{738BD333-0CAC-4970-A8E6-FA82D1202675}" destId="{EB09E2DB-DC0B-4A48-BC00-788EB4BF2155}" srcOrd="3" destOrd="0" presId="urn:microsoft.com/office/officeart/2008/layout/HorizontalMultiLevelHierarchy"/>
    <dgm:cxn modelId="{6CBDF43C-70BD-4409-9DF9-9CA7F57EB17C}" type="presParOf" srcId="{EB09E2DB-DC0B-4A48-BC00-788EB4BF2155}" destId="{49B6876F-A108-4FF0-9A81-E34DBB9D0BD7}" srcOrd="0" destOrd="0" presId="urn:microsoft.com/office/officeart/2008/layout/HorizontalMultiLevelHierarchy"/>
    <dgm:cxn modelId="{2686E0A6-F092-4AAA-926C-60D6DAFD0249}" type="presParOf" srcId="{EB09E2DB-DC0B-4A48-BC00-788EB4BF2155}" destId="{840A5199-0A8A-47C7-8B9A-920BC241225E}" srcOrd="1" destOrd="0" presId="urn:microsoft.com/office/officeart/2008/layout/HorizontalMultiLevelHierarchy"/>
    <dgm:cxn modelId="{25D58353-0D81-4A8A-94ED-93CDC7E7186B}" type="presParOf" srcId="{7E8A6FC8-F240-4C27-8F75-0549E9D1CE4E}" destId="{C4365B06-B9DB-4064-B93F-1043BD4B58B2}" srcOrd="4" destOrd="0" presId="urn:microsoft.com/office/officeart/2008/layout/HorizontalMultiLevelHierarchy"/>
    <dgm:cxn modelId="{7A9066B8-6414-422E-BFD9-738E8455C555}" type="presParOf" srcId="{C4365B06-B9DB-4064-B93F-1043BD4B58B2}" destId="{0336C92A-933C-4B9A-8AAD-80A8DB51CB00}" srcOrd="0" destOrd="0" presId="urn:microsoft.com/office/officeart/2008/layout/HorizontalMultiLevelHierarchy"/>
    <dgm:cxn modelId="{8B26E937-4058-4513-8A0F-CFE594B0876E}" type="presParOf" srcId="{7E8A6FC8-F240-4C27-8F75-0549E9D1CE4E}" destId="{1FB1112C-2171-4ECC-8EA0-911ADD3964A5}" srcOrd="5" destOrd="0" presId="urn:microsoft.com/office/officeart/2008/layout/HorizontalMultiLevelHierarchy"/>
    <dgm:cxn modelId="{C26F454F-9AD3-4024-89FF-46146E45546E}" type="presParOf" srcId="{1FB1112C-2171-4ECC-8EA0-911ADD3964A5}" destId="{B3E59FB2-885F-4B71-9DC5-B6F45C8017DE}" srcOrd="0" destOrd="0" presId="urn:microsoft.com/office/officeart/2008/layout/HorizontalMultiLevelHierarchy"/>
    <dgm:cxn modelId="{D088637E-3313-42FD-BF6C-2731986EDBD5}" type="presParOf" srcId="{1FB1112C-2171-4ECC-8EA0-911ADD3964A5}" destId="{AF149B8F-23A2-48DF-9DB4-21319099B718}" srcOrd="1" destOrd="0" presId="urn:microsoft.com/office/officeart/2008/layout/HorizontalMultiLevelHierarchy"/>
    <dgm:cxn modelId="{BE9866F0-9F68-43A1-A842-DB93EF04DC1F}" type="presParOf" srcId="{AF149B8F-23A2-48DF-9DB4-21319099B718}" destId="{60A0F5E7-D1D3-49F8-A254-CFFCBE54AAF0}" srcOrd="0" destOrd="0" presId="urn:microsoft.com/office/officeart/2008/layout/HorizontalMultiLevelHierarchy"/>
    <dgm:cxn modelId="{C0E974FA-E049-45C2-93A2-BDBEC3178337}" type="presParOf" srcId="{60A0F5E7-D1D3-49F8-A254-CFFCBE54AAF0}" destId="{3325D373-008A-41E8-9EA1-B4B0FC90FCD2}" srcOrd="0" destOrd="0" presId="urn:microsoft.com/office/officeart/2008/layout/HorizontalMultiLevelHierarchy"/>
    <dgm:cxn modelId="{9EFC154F-E0C3-4C05-B0CB-69653AF0C3B6}" type="presParOf" srcId="{AF149B8F-23A2-48DF-9DB4-21319099B718}" destId="{533688EB-FEF2-4244-B371-7A31A6275F9E}" srcOrd="1" destOrd="0" presId="urn:microsoft.com/office/officeart/2008/layout/HorizontalMultiLevelHierarchy"/>
    <dgm:cxn modelId="{E257AAD2-4B95-4624-89C1-BE814C0D3710}" type="presParOf" srcId="{533688EB-FEF2-4244-B371-7A31A6275F9E}" destId="{9E81B654-57F3-4178-8807-AB7AAC7BE08E}" srcOrd="0" destOrd="0" presId="urn:microsoft.com/office/officeart/2008/layout/HorizontalMultiLevelHierarchy"/>
    <dgm:cxn modelId="{89945E56-01F6-4A3F-9837-20D5AC4310BC}" type="presParOf" srcId="{533688EB-FEF2-4244-B371-7A31A6275F9E}" destId="{9EA1B074-9688-4BF6-BD3E-8C3B349784E8}" srcOrd="1" destOrd="0" presId="urn:microsoft.com/office/officeart/2008/layout/HorizontalMultiLevelHierarchy"/>
    <dgm:cxn modelId="{81CF8646-6190-4B20-9C2D-153F30112CA2}" type="presParOf" srcId="{AF149B8F-23A2-48DF-9DB4-21319099B718}" destId="{1CD57466-73E5-43BB-AF51-980153E8039A}" srcOrd="2" destOrd="0" presId="urn:microsoft.com/office/officeart/2008/layout/HorizontalMultiLevelHierarchy"/>
    <dgm:cxn modelId="{79F3A2F2-77F4-4E34-9449-6B5826AE4D1A}" type="presParOf" srcId="{1CD57466-73E5-43BB-AF51-980153E8039A}" destId="{739E7D1A-06FA-43F4-82B6-C5B799BDD12A}" srcOrd="0" destOrd="0" presId="urn:microsoft.com/office/officeart/2008/layout/HorizontalMultiLevelHierarchy"/>
    <dgm:cxn modelId="{27C613A4-BB0F-4597-B8FD-A17EEF5F9CA1}" type="presParOf" srcId="{AF149B8F-23A2-48DF-9DB4-21319099B718}" destId="{08A18F09-5415-4D9A-A62E-8AA11F9AF3C4}" srcOrd="3" destOrd="0" presId="urn:microsoft.com/office/officeart/2008/layout/HorizontalMultiLevelHierarchy"/>
    <dgm:cxn modelId="{6A9B847B-CAF0-4938-B455-CC25A2C7546A}" type="presParOf" srcId="{08A18F09-5415-4D9A-A62E-8AA11F9AF3C4}" destId="{0CCC40AA-D80B-4B90-9188-E5CA017E63B0}" srcOrd="0" destOrd="0" presId="urn:microsoft.com/office/officeart/2008/layout/HorizontalMultiLevelHierarchy"/>
    <dgm:cxn modelId="{6C3BEF47-B999-4C4E-82B1-8E7A48264A7C}" type="presParOf" srcId="{08A18F09-5415-4D9A-A62E-8AA11F9AF3C4}" destId="{E40DD794-4E3C-4009-B357-94D69536E6F4}" srcOrd="1" destOrd="0" presId="urn:microsoft.com/office/officeart/2008/layout/HorizontalMultiLevelHierarchy"/>
    <dgm:cxn modelId="{9786B997-D56E-4BF4-AC74-4CAA5AB104E8}" type="presParOf" srcId="{AF149B8F-23A2-48DF-9DB4-21319099B718}" destId="{F9C34007-6CA8-4ABF-890A-47AA50B267EA}" srcOrd="4" destOrd="0" presId="urn:microsoft.com/office/officeart/2008/layout/HorizontalMultiLevelHierarchy"/>
    <dgm:cxn modelId="{41C2E213-C4DA-4CDB-B4FB-76B4C3D388D6}" type="presParOf" srcId="{F9C34007-6CA8-4ABF-890A-47AA50B267EA}" destId="{D3331827-B92C-4419-96E8-793E8D653308}" srcOrd="0" destOrd="0" presId="urn:microsoft.com/office/officeart/2008/layout/HorizontalMultiLevelHierarchy"/>
    <dgm:cxn modelId="{1738D637-F2D5-42C9-AD21-243F1342B2AC}" type="presParOf" srcId="{AF149B8F-23A2-48DF-9DB4-21319099B718}" destId="{9FBA0EDF-DFF1-4228-BD6C-29FFD841B413}" srcOrd="5" destOrd="0" presId="urn:microsoft.com/office/officeart/2008/layout/HorizontalMultiLevelHierarchy"/>
    <dgm:cxn modelId="{B0363929-8710-42A8-B169-AB09A28B29CB}" type="presParOf" srcId="{9FBA0EDF-DFF1-4228-BD6C-29FFD841B413}" destId="{E51A201A-58C4-4839-BBF3-03A3D4BA1DE9}" srcOrd="0" destOrd="0" presId="urn:microsoft.com/office/officeart/2008/layout/HorizontalMultiLevelHierarchy"/>
    <dgm:cxn modelId="{ABA51267-B8A0-43BC-B1DC-3B671101344E}" type="presParOf" srcId="{9FBA0EDF-DFF1-4228-BD6C-29FFD841B413}" destId="{E4E1A461-B02B-4354-8D34-5DF04939C4AC}" srcOrd="1" destOrd="0" presId="urn:microsoft.com/office/officeart/2008/layout/HorizontalMultiLevelHierarchy"/>
  </dgm:cxnLst>
  <dgm:bg/>
  <dgm:whole/>
  <dgm:extLst>
    <a:ext uri="http://schemas.microsoft.com/office/drawing/2008/diagram">
      <dsp:dataModelExt xmlns:dsp="http://schemas.microsoft.com/office/drawing/2008/diagram" relId="rId12" minVer="http://schemas.openxmlformats.org/drawingml/2006/diagram"/>
    </a:ext>
  </dgm:extLst>
</dgm:dataModel>
</file>

<file path=ppt/diagrams/data11.xml><?xml version="1.0" encoding="utf-8"?>
<dgm:dataModel xmlns:dgm="http://schemas.openxmlformats.org/drawingml/2006/diagram" xmlns:a="http://schemas.openxmlformats.org/drawingml/2006/main">
  <dgm:ptLst>
    <dgm:pt modelId="{96C9D5F4-FF4F-420D-8420-A926E166D7A2}" type="doc">
      <dgm:prSet loTypeId="urn:microsoft.com/office/officeart/2008/layout/HorizontalMultiLevelHierarchy" loCatId="hierarchy" qsTypeId="urn:microsoft.com/office/officeart/2005/8/quickstyle/simple1" qsCatId="simple" csTypeId="urn:microsoft.com/office/officeart/2005/8/colors/colorful3" csCatId="colorful" phldr="1"/>
      <dgm:spPr/>
      <dgm:t>
        <a:bodyPr/>
        <a:lstStyle/>
        <a:p>
          <a:endParaRPr lang="en-US"/>
        </a:p>
      </dgm:t>
    </dgm:pt>
    <dgm:pt modelId="{D0997319-AE2C-4C46-ADCB-BA43BE3F3F54}">
      <dgm:prSet phldrT="[Text]" custT="1"/>
      <dgm:spPr/>
      <dgm:t>
        <a:bodyPr/>
        <a:lstStyle/>
        <a:p>
          <a:r>
            <a:rPr lang="de-DE" sz="1400" b="0" i="0" dirty="0">
              <a:latin typeface="Myriad Pro" panose="020B0503030403020204" pitchFamily="34" charset="0"/>
            </a:rPr>
            <a:t>Eingabebild </a:t>
          </a:r>
        </a:p>
      </dgm:t>
    </dgm:pt>
    <dgm:pt modelId="{EDD69CBB-FC0D-413C-A203-D32C53DEA1CA}" type="parTrans" cxnId="{9486E231-E761-415A-A46A-B222DD3C9A89}">
      <dgm:prSet/>
      <dgm:spPr/>
      <dgm:t>
        <a:bodyPr/>
        <a:lstStyle/>
        <a:p>
          <a:endParaRPr lang="en-US" sz="1600"/>
        </a:p>
      </dgm:t>
    </dgm:pt>
    <dgm:pt modelId="{E975384C-827E-414A-AEB5-7C3391463B49}" type="sibTrans" cxnId="{9486E231-E761-415A-A46A-B222DD3C9A89}">
      <dgm:prSet/>
      <dgm:spPr/>
      <dgm:t>
        <a:bodyPr/>
        <a:lstStyle/>
        <a:p>
          <a:endParaRPr lang="en-US" sz="1600"/>
        </a:p>
      </dgm:t>
    </dgm:pt>
    <dgm:pt modelId="{8E70AA8F-7583-4AFE-9EDE-87363894E1F8}">
      <dgm:prSet phldrT="[Text]" custT="1"/>
      <dgm:spPr/>
      <dgm:t>
        <a:bodyPr/>
        <a:lstStyle/>
        <a:p>
          <a:r>
            <a:rPr lang="de-DE" sz="1000" b="0" i="0" cap="none" baseline="0" dirty="0" err="1">
              <a:latin typeface="Myriad Pro" panose="020B0503030403020204" pitchFamily="34" charset="0"/>
            </a:rPr>
            <a:t>Supervised</a:t>
          </a:r>
          <a:endParaRPr lang="de-DE" sz="1000" b="0" i="0" cap="none" baseline="0" dirty="0">
            <a:latin typeface="Myriad Pro" panose="020B0503030403020204" pitchFamily="34" charset="0"/>
          </a:endParaRPr>
        </a:p>
      </dgm:t>
    </dgm:pt>
    <dgm:pt modelId="{B164CB56-71EE-412E-A3A2-1509A3B08E05}" type="parTrans" cxnId="{707B8E58-ABA5-4C9A-AFCF-298CB05D08DA}">
      <dgm:prSet/>
      <dgm:spPr/>
      <dgm:t>
        <a:bodyPr/>
        <a:lstStyle/>
        <a:p>
          <a:endParaRPr lang="en-US" sz="1600"/>
        </a:p>
      </dgm:t>
    </dgm:pt>
    <dgm:pt modelId="{50009256-33DA-4FAC-A050-2DE70DDCC26C}" type="sibTrans" cxnId="{707B8E58-ABA5-4C9A-AFCF-298CB05D08DA}">
      <dgm:prSet/>
      <dgm:spPr/>
      <dgm:t>
        <a:bodyPr/>
        <a:lstStyle/>
        <a:p>
          <a:endParaRPr lang="en-US" sz="1600"/>
        </a:p>
      </dgm:t>
    </dgm:pt>
    <dgm:pt modelId="{434F1058-EF12-4590-BD43-496B2D33656A}">
      <dgm:prSet phldrT="[Text]" custT="1"/>
      <dgm:spPr/>
      <dgm:t>
        <a:bodyPr/>
        <a:lstStyle/>
        <a:p>
          <a:r>
            <a:rPr lang="de-DE" sz="1000" b="0" i="0" dirty="0" err="1">
              <a:latin typeface="Myriad Pro" panose="020B0503030403020204" pitchFamily="34" charset="0"/>
            </a:rPr>
            <a:t>Unsupervised</a:t>
          </a:r>
          <a:endParaRPr lang="de-DE" sz="1000" b="0" i="0" dirty="0">
            <a:latin typeface="Myriad Pro" panose="020B0503030403020204" pitchFamily="34" charset="0"/>
          </a:endParaRPr>
        </a:p>
      </dgm:t>
    </dgm:pt>
    <dgm:pt modelId="{17815460-B569-463A-BACE-734F709F874A}" type="parTrans" cxnId="{9E137BA1-2E21-43A2-A338-650B162A3662}">
      <dgm:prSet/>
      <dgm:spPr/>
      <dgm:t>
        <a:bodyPr/>
        <a:lstStyle/>
        <a:p>
          <a:endParaRPr lang="en-US" sz="1600"/>
        </a:p>
      </dgm:t>
    </dgm:pt>
    <dgm:pt modelId="{BC8F1DC2-66B6-4B6F-BD02-84C41DB8AF5C}" type="sibTrans" cxnId="{9E137BA1-2E21-43A2-A338-650B162A3662}">
      <dgm:prSet/>
      <dgm:spPr/>
      <dgm:t>
        <a:bodyPr/>
        <a:lstStyle/>
        <a:p>
          <a:endParaRPr lang="en-US" sz="1600"/>
        </a:p>
      </dgm:t>
    </dgm:pt>
    <dgm:pt modelId="{50C4D88C-9CB0-4513-8456-755395491158}" type="pres">
      <dgm:prSet presAssocID="{96C9D5F4-FF4F-420D-8420-A926E166D7A2}" presName="Name0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</dgm:pt>
    <dgm:pt modelId="{506FBA0B-6598-4404-B87A-56869B8718E3}" type="pres">
      <dgm:prSet presAssocID="{D0997319-AE2C-4C46-ADCB-BA43BE3F3F54}" presName="root1" presStyleCnt="0"/>
      <dgm:spPr/>
    </dgm:pt>
    <dgm:pt modelId="{DCF5B4EF-DE4F-4292-A3B2-724C163A44AB}" type="pres">
      <dgm:prSet presAssocID="{D0997319-AE2C-4C46-ADCB-BA43BE3F3F54}" presName="LevelOneTextNode" presStyleLbl="node0" presStyleIdx="0" presStyleCnt="1">
        <dgm:presLayoutVars>
          <dgm:chPref val="3"/>
        </dgm:presLayoutVars>
      </dgm:prSet>
      <dgm:spPr/>
    </dgm:pt>
    <dgm:pt modelId="{7E8A6FC8-F240-4C27-8F75-0549E9D1CE4E}" type="pres">
      <dgm:prSet presAssocID="{D0997319-AE2C-4C46-ADCB-BA43BE3F3F54}" presName="level2hierChild" presStyleCnt="0"/>
      <dgm:spPr/>
    </dgm:pt>
    <dgm:pt modelId="{BE328E0A-C287-4B1A-BD90-C0F3098FFCD9}" type="pres">
      <dgm:prSet presAssocID="{B164CB56-71EE-412E-A3A2-1509A3B08E05}" presName="conn2-1" presStyleLbl="parChTrans1D2" presStyleIdx="0" presStyleCnt="2"/>
      <dgm:spPr/>
    </dgm:pt>
    <dgm:pt modelId="{1EB559E9-DB95-4028-B960-01A592B99E92}" type="pres">
      <dgm:prSet presAssocID="{B164CB56-71EE-412E-A3A2-1509A3B08E05}" presName="connTx" presStyleLbl="parChTrans1D2" presStyleIdx="0" presStyleCnt="2"/>
      <dgm:spPr/>
    </dgm:pt>
    <dgm:pt modelId="{9893F228-CFAA-415F-97D9-8C8EA9FB1BC5}" type="pres">
      <dgm:prSet presAssocID="{8E70AA8F-7583-4AFE-9EDE-87363894E1F8}" presName="root2" presStyleCnt="0"/>
      <dgm:spPr/>
    </dgm:pt>
    <dgm:pt modelId="{49ADAAAB-354D-4968-9DE9-378E6595E5BB}" type="pres">
      <dgm:prSet presAssocID="{8E70AA8F-7583-4AFE-9EDE-87363894E1F8}" presName="LevelTwoTextNode" presStyleLbl="node2" presStyleIdx="0" presStyleCnt="2" custLinFactY="-46619" custLinFactNeighborX="-825" custLinFactNeighborY="-100000">
        <dgm:presLayoutVars>
          <dgm:chPref val="3"/>
        </dgm:presLayoutVars>
      </dgm:prSet>
      <dgm:spPr/>
    </dgm:pt>
    <dgm:pt modelId="{46E2FE2A-A747-4DEE-AAF5-53A8EE84B06B}" type="pres">
      <dgm:prSet presAssocID="{8E70AA8F-7583-4AFE-9EDE-87363894E1F8}" presName="level3hierChild" presStyleCnt="0"/>
      <dgm:spPr/>
    </dgm:pt>
    <dgm:pt modelId="{CD37291B-5548-4F1B-8F2F-200AE5B0DCAE}" type="pres">
      <dgm:prSet presAssocID="{17815460-B569-463A-BACE-734F709F874A}" presName="conn2-1" presStyleLbl="parChTrans1D2" presStyleIdx="1" presStyleCnt="2"/>
      <dgm:spPr/>
    </dgm:pt>
    <dgm:pt modelId="{D4121B60-61D6-41A4-AAB9-DE9671C8ED2F}" type="pres">
      <dgm:prSet presAssocID="{17815460-B569-463A-BACE-734F709F874A}" presName="connTx" presStyleLbl="parChTrans1D2" presStyleIdx="1" presStyleCnt="2"/>
      <dgm:spPr/>
    </dgm:pt>
    <dgm:pt modelId="{50975EFF-52F3-48CE-A104-6890DF2CCC15}" type="pres">
      <dgm:prSet presAssocID="{434F1058-EF12-4590-BD43-496B2D33656A}" presName="root2" presStyleCnt="0"/>
      <dgm:spPr/>
    </dgm:pt>
    <dgm:pt modelId="{E077FA3E-A654-4D27-8616-5CDDA43F8AF6}" type="pres">
      <dgm:prSet presAssocID="{434F1058-EF12-4590-BD43-496B2D33656A}" presName="LevelTwoTextNode" presStyleLbl="node2" presStyleIdx="1" presStyleCnt="2" custLinFactY="43061" custLinFactNeighborX="-1050" custLinFactNeighborY="100000">
        <dgm:presLayoutVars>
          <dgm:chPref val="3"/>
        </dgm:presLayoutVars>
      </dgm:prSet>
      <dgm:spPr/>
    </dgm:pt>
    <dgm:pt modelId="{738BD333-0CAC-4970-A8E6-FA82D1202675}" type="pres">
      <dgm:prSet presAssocID="{434F1058-EF12-4590-BD43-496B2D33656A}" presName="level3hierChild" presStyleCnt="0"/>
      <dgm:spPr/>
    </dgm:pt>
  </dgm:ptLst>
  <dgm:cxnLst>
    <dgm:cxn modelId="{9486E231-E761-415A-A46A-B222DD3C9A89}" srcId="{96C9D5F4-FF4F-420D-8420-A926E166D7A2}" destId="{D0997319-AE2C-4C46-ADCB-BA43BE3F3F54}" srcOrd="0" destOrd="0" parTransId="{EDD69CBB-FC0D-413C-A203-D32C53DEA1CA}" sibTransId="{E975384C-827E-414A-AEB5-7C3391463B49}"/>
    <dgm:cxn modelId="{AA3E744F-10BA-4479-AF01-972C59BF3BCF}" type="presOf" srcId="{B164CB56-71EE-412E-A3A2-1509A3B08E05}" destId="{BE328E0A-C287-4B1A-BD90-C0F3098FFCD9}" srcOrd="0" destOrd="0" presId="urn:microsoft.com/office/officeart/2008/layout/HorizontalMultiLevelHierarchy"/>
    <dgm:cxn modelId="{464F8353-3A6D-43D6-B358-7ECC4F51C0BF}" type="presOf" srcId="{D0997319-AE2C-4C46-ADCB-BA43BE3F3F54}" destId="{DCF5B4EF-DE4F-4292-A3B2-724C163A44AB}" srcOrd="0" destOrd="0" presId="urn:microsoft.com/office/officeart/2008/layout/HorizontalMultiLevelHierarchy"/>
    <dgm:cxn modelId="{707B8E58-ABA5-4C9A-AFCF-298CB05D08DA}" srcId="{D0997319-AE2C-4C46-ADCB-BA43BE3F3F54}" destId="{8E70AA8F-7583-4AFE-9EDE-87363894E1F8}" srcOrd="0" destOrd="0" parTransId="{B164CB56-71EE-412E-A3A2-1509A3B08E05}" sibTransId="{50009256-33DA-4FAC-A050-2DE70DDCC26C}"/>
    <dgm:cxn modelId="{218D7769-246E-4C78-8637-1FABBE9AA235}" type="presOf" srcId="{B164CB56-71EE-412E-A3A2-1509A3B08E05}" destId="{1EB559E9-DB95-4028-B960-01A592B99E92}" srcOrd="1" destOrd="0" presId="urn:microsoft.com/office/officeart/2008/layout/HorizontalMultiLevelHierarchy"/>
    <dgm:cxn modelId="{82D60E8A-40D3-49BC-895D-3DAB17D8AD62}" type="presOf" srcId="{96C9D5F4-FF4F-420D-8420-A926E166D7A2}" destId="{50C4D88C-9CB0-4513-8456-755395491158}" srcOrd="0" destOrd="0" presId="urn:microsoft.com/office/officeart/2008/layout/HorizontalMultiLevelHierarchy"/>
    <dgm:cxn modelId="{E07BE79E-7865-47DB-84AF-7F7057F85761}" type="presOf" srcId="{8E70AA8F-7583-4AFE-9EDE-87363894E1F8}" destId="{49ADAAAB-354D-4968-9DE9-378E6595E5BB}" srcOrd="0" destOrd="0" presId="urn:microsoft.com/office/officeart/2008/layout/HorizontalMultiLevelHierarchy"/>
    <dgm:cxn modelId="{9E137BA1-2E21-43A2-A338-650B162A3662}" srcId="{D0997319-AE2C-4C46-ADCB-BA43BE3F3F54}" destId="{434F1058-EF12-4590-BD43-496B2D33656A}" srcOrd="1" destOrd="0" parTransId="{17815460-B569-463A-BACE-734F709F874A}" sibTransId="{BC8F1DC2-66B6-4B6F-BD02-84C41DB8AF5C}"/>
    <dgm:cxn modelId="{99E7BEA2-9C9E-4C52-ABF3-613AE796E93C}" type="presOf" srcId="{17815460-B569-463A-BACE-734F709F874A}" destId="{D4121B60-61D6-41A4-AAB9-DE9671C8ED2F}" srcOrd="1" destOrd="0" presId="urn:microsoft.com/office/officeart/2008/layout/HorizontalMultiLevelHierarchy"/>
    <dgm:cxn modelId="{BAACB6A7-B0F8-46C4-B719-34EE449D4921}" type="presOf" srcId="{434F1058-EF12-4590-BD43-496B2D33656A}" destId="{E077FA3E-A654-4D27-8616-5CDDA43F8AF6}" srcOrd="0" destOrd="0" presId="urn:microsoft.com/office/officeart/2008/layout/HorizontalMultiLevelHierarchy"/>
    <dgm:cxn modelId="{54CC19B8-2159-4474-B71E-58B32A9BAD74}" type="presOf" srcId="{17815460-B569-463A-BACE-734F709F874A}" destId="{CD37291B-5548-4F1B-8F2F-200AE5B0DCAE}" srcOrd="0" destOrd="0" presId="urn:microsoft.com/office/officeart/2008/layout/HorizontalMultiLevelHierarchy"/>
    <dgm:cxn modelId="{3E8C5480-73D9-4EE3-932D-82721BB1E7B2}" type="presParOf" srcId="{50C4D88C-9CB0-4513-8456-755395491158}" destId="{506FBA0B-6598-4404-B87A-56869B8718E3}" srcOrd="0" destOrd="0" presId="urn:microsoft.com/office/officeart/2008/layout/HorizontalMultiLevelHierarchy"/>
    <dgm:cxn modelId="{AD087DA0-5EB4-49EE-82D3-F6C47200DD79}" type="presParOf" srcId="{506FBA0B-6598-4404-B87A-56869B8718E3}" destId="{DCF5B4EF-DE4F-4292-A3B2-724C163A44AB}" srcOrd="0" destOrd="0" presId="urn:microsoft.com/office/officeart/2008/layout/HorizontalMultiLevelHierarchy"/>
    <dgm:cxn modelId="{AD864577-5B7E-4328-AC26-287C80C6BEA3}" type="presParOf" srcId="{506FBA0B-6598-4404-B87A-56869B8718E3}" destId="{7E8A6FC8-F240-4C27-8F75-0549E9D1CE4E}" srcOrd="1" destOrd="0" presId="urn:microsoft.com/office/officeart/2008/layout/HorizontalMultiLevelHierarchy"/>
    <dgm:cxn modelId="{0D5824EC-96D2-4284-930C-3DC3234577D3}" type="presParOf" srcId="{7E8A6FC8-F240-4C27-8F75-0549E9D1CE4E}" destId="{BE328E0A-C287-4B1A-BD90-C0F3098FFCD9}" srcOrd="0" destOrd="0" presId="urn:microsoft.com/office/officeart/2008/layout/HorizontalMultiLevelHierarchy"/>
    <dgm:cxn modelId="{FF3EDB3F-3E5D-484F-B7EB-2D9D119CC084}" type="presParOf" srcId="{BE328E0A-C287-4B1A-BD90-C0F3098FFCD9}" destId="{1EB559E9-DB95-4028-B960-01A592B99E92}" srcOrd="0" destOrd="0" presId="urn:microsoft.com/office/officeart/2008/layout/HorizontalMultiLevelHierarchy"/>
    <dgm:cxn modelId="{6E796F25-24CC-4F5D-8AB9-96C968A94D86}" type="presParOf" srcId="{7E8A6FC8-F240-4C27-8F75-0549E9D1CE4E}" destId="{9893F228-CFAA-415F-97D9-8C8EA9FB1BC5}" srcOrd="1" destOrd="0" presId="urn:microsoft.com/office/officeart/2008/layout/HorizontalMultiLevelHierarchy"/>
    <dgm:cxn modelId="{F5FE272E-5A1A-4232-A41E-5E8F96E754E7}" type="presParOf" srcId="{9893F228-CFAA-415F-97D9-8C8EA9FB1BC5}" destId="{49ADAAAB-354D-4968-9DE9-378E6595E5BB}" srcOrd="0" destOrd="0" presId="urn:microsoft.com/office/officeart/2008/layout/HorizontalMultiLevelHierarchy"/>
    <dgm:cxn modelId="{480D07D8-1F1B-4569-80CC-321A6295D639}" type="presParOf" srcId="{9893F228-CFAA-415F-97D9-8C8EA9FB1BC5}" destId="{46E2FE2A-A747-4DEE-AAF5-53A8EE84B06B}" srcOrd="1" destOrd="0" presId="urn:microsoft.com/office/officeart/2008/layout/HorizontalMultiLevelHierarchy"/>
    <dgm:cxn modelId="{5C580CC4-3C81-446F-9295-70B119E1F4D6}" type="presParOf" srcId="{7E8A6FC8-F240-4C27-8F75-0549E9D1CE4E}" destId="{CD37291B-5548-4F1B-8F2F-200AE5B0DCAE}" srcOrd="2" destOrd="0" presId="urn:microsoft.com/office/officeart/2008/layout/HorizontalMultiLevelHierarchy"/>
    <dgm:cxn modelId="{3FF4D288-216B-4CA1-A646-865AA9CAB482}" type="presParOf" srcId="{CD37291B-5548-4F1B-8F2F-200AE5B0DCAE}" destId="{D4121B60-61D6-41A4-AAB9-DE9671C8ED2F}" srcOrd="0" destOrd="0" presId="urn:microsoft.com/office/officeart/2008/layout/HorizontalMultiLevelHierarchy"/>
    <dgm:cxn modelId="{D011A705-277B-4D74-85CE-4360C9A9B047}" type="presParOf" srcId="{7E8A6FC8-F240-4C27-8F75-0549E9D1CE4E}" destId="{50975EFF-52F3-48CE-A104-6890DF2CCC15}" srcOrd="3" destOrd="0" presId="urn:microsoft.com/office/officeart/2008/layout/HorizontalMultiLevelHierarchy"/>
    <dgm:cxn modelId="{2465617A-D0D5-439C-AECA-3D0DD03F2CB2}" type="presParOf" srcId="{50975EFF-52F3-48CE-A104-6890DF2CCC15}" destId="{E077FA3E-A654-4D27-8616-5CDDA43F8AF6}" srcOrd="0" destOrd="0" presId="urn:microsoft.com/office/officeart/2008/layout/HorizontalMultiLevelHierarchy"/>
    <dgm:cxn modelId="{13FC7BEC-0977-47F7-8C84-FE5819A8C215}" type="presParOf" srcId="{50975EFF-52F3-48CE-A104-6890DF2CCC15}" destId="{738BD333-0CAC-4970-A8E6-FA82D1202675}" srcOrd="1" destOrd="0" presId="urn:microsoft.com/office/officeart/2008/layout/HorizontalMultiLevelHierarchy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12.xml><?xml version="1.0" encoding="utf-8"?>
<dgm:dataModel xmlns:dgm="http://schemas.openxmlformats.org/drawingml/2006/diagram" xmlns:a="http://schemas.openxmlformats.org/drawingml/2006/main">
  <dgm:ptLst>
    <dgm:pt modelId="{96C9D5F4-FF4F-420D-8420-A926E166D7A2}" type="doc">
      <dgm:prSet loTypeId="urn:microsoft.com/office/officeart/2008/layout/HorizontalMultiLevelHierarchy" loCatId="hierarchy" qsTypeId="urn:microsoft.com/office/officeart/2005/8/quickstyle/simple1" qsCatId="simple" csTypeId="urn:microsoft.com/office/officeart/2005/8/colors/colorful3" csCatId="colorful" phldr="1"/>
      <dgm:spPr/>
      <dgm:t>
        <a:bodyPr/>
        <a:lstStyle/>
        <a:p>
          <a:endParaRPr lang="en-US"/>
        </a:p>
      </dgm:t>
    </dgm:pt>
    <dgm:pt modelId="{D0997319-AE2C-4C46-ADCB-BA43BE3F3F54}">
      <dgm:prSet phldrT="[Text]" custT="1"/>
      <dgm:spPr/>
      <dgm:t>
        <a:bodyPr/>
        <a:lstStyle/>
        <a:p>
          <a:r>
            <a:rPr lang="de-DE" sz="1400" b="0" i="0" dirty="0">
              <a:latin typeface="Myriad Pro" panose="020B0503030403020204" pitchFamily="34" charset="0"/>
            </a:rPr>
            <a:t>Eingabebild </a:t>
          </a:r>
        </a:p>
      </dgm:t>
    </dgm:pt>
    <dgm:pt modelId="{EDD69CBB-FC0D-413C-A203-D32C53DEA1CA}" type="parTrans" cxnId="{9486E231-E761-415A-A46A-B222DD3C9A89}">
      <dgm:prSet/>
      <dgm:spPr/>
      <dgm:t>
        <a:bodyPr/>
        <a:lstStyle/>
        <a:p>
          <a:endParaRPr lang="en-US" sz="1600"/>
        </a:p>
      </dgm:t>
    </dgm:pt>
    <dgm:pt modelId="{E975384C-827E-414A-AEB5-7C3391463B49}" type="sibTrans" cxnId="{9486E231-E761-415A-A46A-B222DD3C9A89}">
      <dgm:prSet/>
      <dgm:spPr/>
      <dgm:t>
        <a:bodyPr/>
        <a:lstStyle/>
        <a:p>
          <a:endParaRPr lang="en-US" sz="1600"/>
        </a:p>
      </dgm:t>
    </dgm:pt>
    <dgm:pt modelId="{8E70AA8F-7583-4AFE-9EDE-87363894E1F8}">
      <dgm:prSet phldrT="[Text]" custT="1"/>
      <dgm:spPr/>
      <dgm:t>
        <a:bodyPr/>
        <a:lstStyle/>
        <a:p>
          <a:r>
            <a:rPr lang="de-DE" sz="1000" b="1" i="0" cap="none" baseline="0" dirty="0">
              <a:latin typeface="Myriad Pro" panose="020B0503030403020204" pitchFamily="34" charset="0"/>
            </a:rPr>
            <a:t>Einzel Netzwerk</a:t>
          </a:r>
          <a:endParaRPr lang="de-DE" sz="1000" b="0" i="0" cap="none" baseline="0" dirty="0">
            <a:latin typeface="Myriad Pro" panose="020B0503030403020204" pitchFamily="34" charset="0"/>
          </a:endParaRPr>
        </a:p>
      </dgm:t>
    </dgm:pt>
    <dgm:pt modelId="{B164CB56-71EE-412E-A3A2-1509A3B08E05}" type="parTrans" cxnId="{707B8E58-ABA5-4C9A-AFCF-298CB05D08DA}">
      <dgm:prSet/>
      <dgm:spPr/>
      <dgm:t>
        <a:bodyPr/>
        <a:lstStyle/>
        <a:p>
          <a:endParaRPr lang="en-US" sz="1600"/>
        </a:p>
      </dgm:t>
    </dgm:pt>
    <dgm:pt modelId="{50009256-33DA-4FAC-A050-2DE70DDCC26C}" type="sibTrans" cxnId="{707B8E58-ABA5-4C9A-AFCF-298CB05D08DA}">
      <dgm:prSet/>
      <dgm:spPr/>
      <dgm:t>
        <a:bodyPr/>
        <a:lstStyle/>
        <a:p>
          <a:endParaRPr lang="en-US" sz="1600"/>
        </a:p>
      </dgm:t>
    </dgm:pt>
    <dgm:pt modelId="{434F1058-EF12-4590-BD43-496B2D33656A}">
      <dgm:prSet phldrT="[Text]" custT="1"/>
      <dgm:spPr/>
      <dgm:t>
        <a:bodyPr/>
        <a:lstStyle/>
        <a:p>
          <a:r>
            <a:rPr lang="de-DE" sz="1000" b="1" i="0" cap="none" baseline="0" dirty="0">
              <a:latin typeface="Myriad Pro" panose="020B0503030403020204" pitchFamily="34" charset="0"/>
            </a:rPr>
            <a:t>Multi-Netzwerk </a:t>
          </a:r>
          <a:endParaRPr lang="de-DE" sz="1000" b="0" i="0" dirty="0">
            <a:latin typeface="Myriad Pro" panose="020B0503030403020204" pitchFamily="34" charset="0"/>
          </a:endParaRPr>
        </a:p>
      </dgm:t>
    </dgm:pt>
    <dgm:pt modelId="{17815460-B569-463A-BACE-734F709F874A}" type="parTrans" cxnId="{9E137BA1-2E21-43A2-A338-650B162A3662}">
      <dgm:prSet/>
      <dgm:spPr/>
      <dgm:t>
        <a:bodyPr/>
        <a:lstStyle/>
        <a:p>
          <a:endParaRPr lang="en-US" sz="1600"/>
        </a:p>
      </dgm:t>
    </dgm:pt>
    <dgm:pt modelId="{BC8F1DC2-66B6-4B6F-BD02-84C41DB8AF5C}" type="sibTrans" cxnId="{9E137BA1-2E21-43A2-A338-650B162A3662}">
      <dgm:prSet/>
      <dgm:spPr/>
      <dgm:t>
        <a:bodyPr/>
        <a:lstStyle/>
        <a:p>
          <a:endParaRPr lang="en-US" sz="1600"/>
        </a:p>
      </dgm:t>
    </dgm:pt>
    <dgm:pt modelId="{4098A15D-6BE4-4258-B7C8-EC2A1354A4D6}">
      <dgm:prSet phldrT="[Text]" custT="1"/>
      <dgm:spPr/>
      <dgm:t>
        <a:bodyPr/>
        <a:lstStyle/>
        <a:p>
          <a:r>
            <a:rPr lang="de-DE" sz="1000" b="0" i="0" dirty="0">
              <a:latin typeface="Myriad Pro" panose="020B0503030403020204" pitchFamily="34" charset="0"/>
            </a:rPr>
            <a:t>U-Net</a:t>
          </a:r>
        </a:p>
      </dgm:t>
    </dgm:pt>
    <dgm:pt modelId="{DA62F256-25CF-4854-BFCD-F90F70E5F8D4}" type="parTrans" cxnId="{21D8E081-3F51-4864-8D5D-F1BA8CEC852F}">
      <dgm:prSet/>
      <dgm:spPr/>
      <dgm:t>
        <a:bodyPr/>
        <a:lstStyle/>
        <a:p>
          <a:endParaRPr lang="en-US" sz="1600"/>
        </a:p>
      </dgm:t>
    </dgm:pt>
    <dgm:pt modelId="{E1090322-3287-4D3C-A158-E43939F1FA7E}" type="sibTrans" cxnId="{21D8E081-3F51-4864-8D5D-F1BA8CEC852F}">
      <dgm:prSet/>
      <dgm:spPr/>
      <dgm:t>
        <a:bodyPr/>
        <a:lstStyle/>
        <a:p>
          <a:endParaRPr lang="en-US" sz="1600"/>
        </a:p>
      </dgm:t>
    </dgm:pt>
    <dgm:pt modelId="{C1D130BE-4BC5-481C-BADA-14A869727C0B}">
      <dgm:prSet phldrT="[Text]" custT="1"/>
      <dgm:spPr/>
      <dgm:t>
        <a:bodyPr/>
        <a:lstStyle/>
        <a:p>
          <a:r>
            <a:rPr lang="de-DE" sz="1000" b="1" i="0" cap="none" baseline="0" dirty="0">
              <a:latin typeface="Myriad Pro" panose="020B0503030403020204" pitchFamily="34" charset="0"/>
            </a:rPr>
            <a:t>Ensembles </a:t>
          </a:r>
          <a:endParaRPr lang="de-DE" sz="1000" b="0" i="0" cap="none" baseline="0" dirty="0">
            <a:latin typeface="Myriad Pro" panose="020B0503030403020204" pitchFamily="34" charset="0"/>
          </a:endParaRPr>
        </a:p>
      </dgm:t>
    </dgm:pt>
    <dgm:pt modelId="{8A26916C-03BF-4B0E-92AF-656A56CF8513}" type="parTrans" cxnId="{221AD8BF-6539-43E4-9EB1-23AF138D0EE2}">
      <dgm:prSet/>
      <dgm:spPr/>
      <dgm:t>
        <a:bodyPr/>
        <a:lstStyle/>
        <a:p>
          <a:endParaRPr lang="en-US" sz="1600"/>
        </a:p>
      </dgm:t>
    </dgm:pt>
    <dgm:pt modelId="{4F4BE6FE-AE34-4934-8B0D-8FDF04C5765F}" type="sibTrans" cxnId="{221AD8BF-6539-43E4-9EB1-23AF138D0EE2}">
      <dgm:prSet/>
      <dgm:spPr/>
      <dgm:t>
        <a:bodyPr/>
        <a:lstStyle/>
        <a:p>
          <a:endParaRPr lang="en-US" sz="1600"/>
        </a:p>
      </dgm:t>
    </dgm:pt>
    <dgm:pt modelId="{CD6C8CAB-2DB8-4BEB-8794-D14E24B56239}">
      <dgm:prSet phldrT="[Text]" custT="1"/>
      <dgm:spPr/>
      <dgm:t>
        <a:bodyPr/>
        <a:lstStyle/>
        <a:p>
          <a:r>
            <a:rPr lang="de-DE" sz="1000" b="0" i="0" dirty="0">
              <a:latin typeface="Myriad Pro" panose="020B0503030403020204" pitchFamily="34" charset="0"/>
            </a:rPr>
            <a:t>Homogen</a:t>
          </a:r>
        </a:p>
      </dgm:t>
    </dgm:pt>
    <dgm:pt modelId="{503510FB-9E52-432E-98AC-FEF28CA55F0D}" type="parTrans" cxnId="{08C6FF6E-ED40-443D-B75C-6827A78AAE2F}">
      <dgm:prSet/>
      <dgm:spPr/>
      <dgm:t>
        <a:bodyPr/>
        <a:lstStyle/>
        <a:p>
          <a:endParaRPr lang="en-US" sz="1600"/>
        </a:p>
      </dgm:t>
    </dgm:pt>
    <dgm:pt modelId="{F6688289-1E3B-4C81-B097-4BC4F02DEEB1}" type="sibTrans" cxnId="{08C6FF6E-ED40-443D-B75C-6827A78AAE2F}">
      <dgm:prSet/>
      <dgm:spPr/>
      <dgm:t>
        <a:bodyPr/>
        <a:lstStyle/>
        <a:p>
          <a:endParaRPr lang="en-US" sz="1600"/>
        </a:p>
      </dgm:t>
    </dgm:pt>
    <dgm:pt modelId="{16945C89-930D-4764-8730-4F183F8B4C87}">
      <dgm:prSet phldrT="[Text]" custT="1"/>
      <dgm:spPr/>
      <dgm:t>
        <a:bodyPr/>
        <a:lstStyle/>
        <a:p>
          <a:r>
            <a:rPr lang="de-DE" sz="1000" b="0" i="0" dirty="0">
              <a:latin typeface="Myriad Pro" panose="020B0503030403020204" pitchFamily="34" charset="0"/>
            </a:rPr>
            <a:t>Heterogen</a:t>
          </a:r>
        </a:p>
      </dgm:t>
    </dgm:pt>
    <dgm:pt modelId="{B3C6A11E-10F5-433C-A0FB-1B185A7D12E0}" type="parTrans" cxnId="{587DEAC9-60C3-45DB-9C9F-C26256D35C0F}">
      <dgm:prSet/>
      <dgm:spPr/>
      <dgm:t>
        <a:bodyPr/>
        <a:lstStyle/>
        <a:p>
          <a:endParaRPr lang="en-US" sz="1600"/>
        </a:p>
      </dgm:t>
    </dgm:pt>
    <dgm:pt modelId="{5C8BCF49-4277-47C2-9543-A10467E88E20}" type="sibTrans" cxnId="{587DEAC9-60C3-45DB-9C9F-C26256D35C0F}">
      <dgm:prSet/>
      <dgm:spPr/>
      <dgm:t>
        <a:bodyPr/>
        <a:lstStyle/>
        <a:p>
          <a:endParaRPr lang="en-US" sz="1600"/>
        </a:p>
      </dgm:t>
    </dgm:pt>
    <dgm:pt modelId="{CF5B8EE4-D285-4E9D-BBB6-5F2F77DD4689}">
      <dgm:prSet phldrT="[Text]" custT="1"/>
      <dgm:spPr/>
      <dgm:t>
        <a:bodyPr/>
        <a:lstStyle/>
        <a:p>
          <a:r>
            <a:rPr lang="de-DE" sz="1000" b="0" i="0" dirty="0">
              <a:latin typeface="Myriad Pro" panose="020B0503030403020204" pitchFamily="34" charset="0"/>
            </a:rPr>
            <a:t>YOLO</a:t>
          </a:r>
        </a:p>
      </dgm:t>
    </dgm:pt>
    <dgm:pt modelId="{D937D902-C50B-4BEC-9C1F-D9880BCC701B}" type="parTrans" cxnId="{2ED6F702-CE72-434F-A1BB-6BCE9E2DA2BA}">
      <dgm:prSet/>
      <dgm:spPr/>
      <dgm:t>
        <a:bodyPr/>
        <a:lstStyle/>
        <a:p>
          <a:endParaRPr lang="en-US" sz="1600"/>
        </a:p>
      </dgm:t>
    </dgm:pt>
    <dgm:pt modelId="{CADCD7D6-E889-4A66-B79B-3ACEEF43F075}" type="sibTrans" cxnId="{2ED6F702-CE72-434F-A1BB-6BCE9E2DA2BA}">
      <dgm:prSet/>
      <dgm:spPr/>
      <dgm:t>
        <a:bodyPr/>
        <a:lstStyle/>
        <a:p>
          <a:endParaRPr lang="en-US" sz="1600"/>
        </a:p>
      </dgm:t>
    </dgm:pt>
    <dgm:pt modelId="{CA25E3C2-D53A-4DAC-A356-274163CFD791}">
      <dgm:prSet phldrT="[Text]" custT="1"/>
      <dgm:spPr/>
      <dgm:t>
        <a:bodyPr/>
        <a:lstStyle/>
        <a:p>
          <a:r>
            <a:rPr lang="de-DE" sz="1000" b="0" i="0" dirty="0" err="1">
              <a:latin typeface="Myriad Pro" panose="020B0503030403020204" pitchFamily="34" charset="0"/>
            </a:rPr>
            <a:t>Expizit</a:t>
          </a:r>
          <a:r>
            <a:rPr lang="de-DE" sz="1000" b="0" i="0" dirty="0">
              <a:latin typeface="Myriad Pro" panose="020B0503030403020204" pitchFamily="34" charset="0"/>
            </a:rPr>
            <a:t> </a:t>
          </a:r>
        </a:p>
      </dgm:t>
    </dgm:pt>
    <dgm:pt modelId="{858DE0EA-690E-49F0-9AFD-401C85E7FBB4}" type="parTrans" cxnId="{5B99DD31-B3E6-465C-A8DB-0DF740AA5D7A}">
      <dgm:prSet/>
      <dgm:spPr/>
      <dgm:t>
        <a:bodyPr/>
        <a:lstStyle/>
        <a:p>
          <a:endParaRPr lang="de-DE"/>
        </a:p>
      </dgm:t>
    </dgm:pt>
    <dgm:pt modelId="{2D56470D-3197-4A03-90FE-5A65A52F7EFB}" type="sibTrans" cxnId="{5B99DD31-B3E6-465C-A8DB-0DF740AA5D7A}">
      <dgm:prSet/>
      <dgm:spPr/>
      <dgm:t>
        <a:bodyPr/>
        <a:lstStyle/>
        <a:p>
          <a:endParaRPr lang="de-DE"/>
        </a:p>
      </dgm:t>
    </dgm:pt>
    <dgm:pt modelId="{2FAED816-5ABD-44B8-9175-AD4921C3FE98}">
      <dgm:prSet phldrT="[Text]" custT="1"/>
      <dgm:spPr/>
      <dgm:t>
        <a:bodyPr/>
        <a:lstStyle/>
        <a:p>
          <a:r>
            <a:rPr lang="de-DE" sz="1000" b="0" i="0" dirty="0" err="1">
              <a:latin typeface="Myriad Pro" panose="020B0503030403020204" pitchFamily="34" charset="0"/>
            </a:rPr>
            <a:t>Augmentierung</a:t>
          </a:r>
          <a:endParaRPr lang="de-DE" sz="1000" b="0" i="0" dirty="0">
            <a:latin typeface="Myriad Pro" panose="020B0503030403020204" pitchFamily="34" charset="0"/>
          </a:endParaRPr>
        </a:p>
      </dgm:t>
    </dgm:pt>
    <dgm:pt modelId="{4827AEAC-F6B1-4792-BB11-A609080D91CA}" type="sibTrans" cxnId="{4BDF838B-A489-4DE6-9003-7CF5CCBF8353}">
      <dgm:prSet/>
      <dgm:spPr/>
      <dgm:t>
        <a:bodyPr/>
        <a:lstStyle/>
        <a:p>
          <a:endParaRPr lang="de-DE"/>
        </a:p>
      </dgm:t>
    </dgm:pt>
    <dgm:pt modelId="{2C61C4AB-FC34-4364-9323-4A9D6350BA1C}" type="parTrans" cxnId="{4BDF838B-A489-4DE6-9003-7CF5CCBF8353}">
      <dgm:prSet/>
      <dgm:spPr/>
      <dgm:t>
        <a:bodyPr/>
        <a:lstStyle/>
        <a:p>
          <a:endParaRPr lang="de-DE"/>
        </a:p>
      </dgm:t>
    </dgm:pt>
    <dgm:pt modelId="{86A07196-5E8B-49B8-84A4-6DF135FCBFFC}">
      <dgm:prSet phldrT="[Text]" custT="1"/>
      <dgm:spPr/>
      <dgm:t>
        <a:bodyPr/>
        <a:lstStyle/>
        <a:p>
          <a:r>
            <a:rPr lang="de-DE" sz="1000" b="0" i="0" dirty="0">
              <a:latin typeface="Myriad Pro" panose="020B0503030403020204" pitchFamily="34" charset="0"/>
            </a:rPr>
            <a:t>Loss-Funktion </a:t>
          </a:r>
        </a:p>
      </dgm:t>
    </dgm:pt>
    <dgm:pt modelId="{4B4DC438-D558-40CF-9151-49154A83FB16}" type="sibTrans" cxnId="{0BE45343-E5ED-46E6-9E17-DA36296E3029}">
      <dgm:prSet/>
      <dgm:spPr/>
      <dgm:t>
        <a:bodyPr/>
        <a:lstStyle/>
        <a:p>
          <a:endParaRPr lang="de-DE"/>
        </a:p>
      </dgm:t>
    </dgm:pt>
    <dgm:pt modelId="{D0F076D3-591F-4547-A436-4947EC5EA385}" type="parTrans" cxnId="{0BE45343-E5ED-46E6-9E17-DA36296E3029}">
      <dgm:prSet/>
      <dgm:spPr/>
      <dgm:t>
        <a:bodyPr/>
        <a:lstStyle/>
        <a:p>
          <a:endParaRPr lang="de-DE"/>
        </a:p>
      </dgm:t>
    </dgm:pt>
    <dgm:pt modelId="{BF1B7062-91AB-4F1D-BD08-8D3EC4B33C1F}">
      <dgm:prSet phldrT="[Text]" custT="1"/>
      <dgm:spPr/>
      <dgm:t>
        <a:bodyPr/>
        <a:lstStyle/>
        <a:p>
          <a:r>
            <a:rPr lang="de-DE" sz="1000" b="0" i="0" dirty="0">
              <a:latin typeface="Myriad Pro" panose="020B0503030403020204" pitchFamily="34" charset="0"/>
            </a:rPr>
            <a:t>Architektur</a:t>
          </a:r>
        </a:p>
      </dgm:t>
    </dgm:pt>
    <dgm:pt modelId="{8ACEFE3D-DAAE-46D2-BF29-AF7B5FBB783D}" type="parTrans" cxnId="{626342BF-3559-4137-A851-ACB1710B13E3}">
      <dgm:prSet/>
      <dgm:spPr/>
      <dgm:t>
        <a:bodyPr/>
        <a:lstStyle/>
        <a:p>
          <a:endParaRPr lang="de-DE"/>
        </a:p>
      </dgm:t>
    </dgm:pt>
    <dgm:pt modelId="{0FF6A2D2-189B-4085-A91C-E4641E47ACCE}" type="sibTrans" cxnId="{626342BF-3559-4137-A851-ACB1710B13E3}">
      <dgm:prSet/>
      <dgm:spPr/>
      <dgm:t>
        <a:bodyPr/>
        <a:lstStyle/>
        <a:p>
          <a:endParaRPr lang="de-DE"/>
        </a:p>
      </dgm:t>
    </dgm:pt>
    <dgm:pt modelId="{4D897679-FA7C-48A2-A57F-5D0431886FF7}">
      <dgm:prSet phldrT="[Text]" custT="1"/>
      <dgm:spPr/>
      <dgm:t>
        <a:bodyPr/>
        <a:lstStyle/>
        <a:p>
          <a:r>
            <a:rPr lang="de-DE" sz="800" b="0" i="0" dirty="0">
              <a:latin typeface="Myriad Pro" panose="020B0503030403020204" pitchFamily="34" charset="0"/>
            </a:rPr>
            <a:t>U-Net</a:t>
          </a:r>
        </a:p>
      </dgm:t>
    </dgm:pt>
    <dgm:pt modelId="{C7C06085-9DF0-469C-90B3-434C5E418A6D}" type="parTrans" cxnId="{A3A0BCFB-D8D9-4632-B5AB-CF4EFA2E3C41}">
      <dgm:prSet/>
      <dgm:spPr/>
      <dgm:t>
        <a:bodyPr/>
        <a:lstStyle/>
        <a:p>
          <a:endParaRPr lang="de-DE"/>
        </a:p>
      </dgm:t>
    </dgm:pt>
    <dgm:pt modelId="{D55B2488-3E22-41F8-99B8-F1276460587D}" type="sibTrans" cxnId="{A3A0BCFB-D8D9-4632-B5AB-CF4EFA2E3C41}">
      <dgm:prSet/>
      <dgm:spPr/>
      <dgm:t>
        <a:bodyPr/>
        <a:lstStyle/>
        <a:p>
          <a:endParaRPr lang="de-DE"/>
        </a:p>
      </dgm:t>
    </dgm:pt>
    <dgm:pt modelId="{48CAF46E-7318-4269-B88D-4072C010818D}">
      <dgm:prSet phldrT="[Text]" custT="1"/>
      <dgm:spPr/>
      <dgm:t>
        <a:bodyPr/>
        <a:lstStyle/>
        <a:p>
          <a:r>
            <a:rPr lang="de-DE" sz="800" b="0" i="0" dirty="0">
              <a:latin typeface="Myriad Pro" panose="020B0503030403020204" pitchFamily="34" charset="0"/>
            </a:rPr>
            <a:t>U-Net++</a:t>
          </a:r>
        </a:p>
      </dgm:t>
    </dgm:pt>
    <dgm:pt modelId="{81CB6F6D-48DA-416D-9426-0B6E4B5AD737}" type="parTrans" cxnId="{75353E2D-D5F4-4C4B-8BFF-3A25A17EC9FB}">
      <dgm:prSet/>
      <dgm:spPr/>
      <dgm:t>
        <a:bodyPr/>
        <a:lstStyle/>
        <a:p>
          <a:endParaRPr lang="de-DE"/>
        </a:p>
      </dgm:t>
    </dgm:pt>
    <dgm:pt modelId="{D0BFACD0-8F45-4F8C-9779-0AF1AE559907}" type="sibTrans" cxnId="{75353E2D-D5F4-4C4B-8BFF-3A25A17EC9FB}">
      <dgm:prSet/>
      <dgm:spPr/>
      <dgm:t>
        <a:bodyPr/>
        <a:lstStyle/>
        <a:p>
          <a:endParaRPr lang="de-DE"/>
        </a:p>
      </dgm:t>
    </dgm:pt>
    <dgm:pt modelId="{ADED253C-6A2E-4631-B1D4-F5E1FE2B5B55}">
      <dgm:prSet phldrT="[Text]" custT="1"/>
      <dgm:spPr/>
      <dgm:t>
        <a:bodyPr/>
        <a:lstStyle/>
        <a:p>
          <a:r>
            <a:rPr lang="de-DE" sz="800" b="0" i="0" dirty="0">
              <a:latin typeface="Myriad Pro" panose="020B0503030403020204" pitchFamily="34" charset="0"/>
            </a:rPr>
            <a:t>FPN</a:t>
          </a:r>
        </a:p>
      </dgm:t>
    </dgm:pt>
    <dgm:pt modelId="{23EDCDD5-F170-402F-A11E-15FD466C3CE5}" type="parTrans" cxnId="{7CDA6FEF-3872-4337-84FA-0DD423E0FBC5}">
      <dgm:prSet/>
      <dgm:spPr/>
      <dgm:t>
        <a:bodyPr/>
        <a:lstStyle/>
        <a:p>
          <a:endParaRPr lang="de-DE"/>
        </a:p>
      </dgm:t>
    </dgm:pt>
    <dgm:pt modelId="{074D77D4-B07D-447C-B97C-356C65F95759}" type="sibTrans" cxnId="{7CDA6FEF-3872-4337-84FA-0DD423E0FBC5}">
      <dgm:prSet/>
      <dgm:spPr/>
      <dgm:t>
        <a:bodyPr/>
        <a:lstStyle/>
        <a:p>
          <a:endParaRPr lang="de-DE"/>
        </a:p>
      </dgm:t>
    </dgm:pt>
    <dgm:pt modelId="{D11BAA21-3D0E-4BFE-97F1-F349F96BB7F2}">
      <dgm:prSet phldrT="[Text]" custT="1"/>
      <dgm:spPr/>
      <dgm:t>
        <a:bodyPr/>
        <a:lstStyle/>
        <a:p>
          <a:r>
            <a:rPr lang="de-DE" sz="800" b="0" i="0" dirty="0">
              <a:latin typeface="Myriad Pro" panose="020B0503030403020204" pitchFamily="34" charset="0"/>
            </a:rPr>
            <a:t>PSPN</a:t>
          </a:r>
        </a:p>
      </dgm:t>
    </dgm:pt>
    <dgm:pt modelId="{524ED0C4-9CC2-4C2A-B51C-974FA37A7FE7}" type="parTrans" cxnId="{46C105CF-449F-4F1C-B399-CE70EC74C4C8}">
      <dgm:prSet/>
      <dgm:spPr/>
      <dgm:t>
        <a:bodyPr/>
        <a:lstStyle/>
        <a:p>
          <a:endParaRPr lang="de-DE"/>
        </a:p>
      </dgm:t>
    </dgm:pt>
    <dgm:pt modelId="{632B7E11-8BCB-44BB-80A1-C58DA59BDECF}" type="sibTrans" cxnId="{46C105CF-449F-4F1C-B399-CE70EC74C4C8}">
      <dgm:prSet/>
      <dgm:spPr/>
      <dgm:t>
        <a:bodyPr/>
        <a:lstStyle/>
        <a:p>
          <a:endParaRPr lang="de-DE"/>
        </a:p>
      </dgm:t>
    </dgm:pt>
    <dgm:pt modelId="{33587DE4-8F92-4CA4-A011-892138D47DA7}">
      <dgm:prSet phldrT="[Text]" custT="1"/>
      <dgm:spPr/>
      <dgm:t>
        <a:bodyPr/>
        <a:lstStyle/>
        <a:p>
          <a:r>
            <a:rPr lang="de-DE" sz="800" b="0" i="0" dirty="0">
              <a:latin typeface="Myriad Pro" panose="020B0503030403020204" pitchFamily="34" charset="0"/>
            </a:rPr>
            <a:t>PAN</a:t>
          </a:r>
        </a:p>
      </dgm:t>
    </dgm:pt>
    <dgm:pt modelId="{31BDA904-A9EF-437C-9DAF-E5BDF8C1106E}" type="parTrans" cxnId="{32BA70E3-2B88-4E2B-9094-EE86858857DA}">
      <dgm:prSet/>
      <dgm:spPr/>
      <dgm:t>
        <a:bodyPr/>
        <a:lstStyle/>
        <a:p>
          <a:endParaRPr lang="de-DE"/>
        </a:p>
      </dgm:t>
    </dgm:pt>
    <dgm:pt modelId="{359CEDC3-C134-4529-AEBB-BBDE1EA7D255}" type="sibTrans" cxnId="{32BA70E3-2B88-4E2B-9094-EE86858857DA}">
      <dgm:prSet/>
      <dgm:spPr/>
      <dgm:t>
        <a:bodyPr/>
        <a:lstStyle/>
        <a:p>
          <a:endParaRPr lang="de-DE"/>
        </a:p>
      </dgm:t>
    </dgm:pt>
    <dgm:pt modelId="{DAFF3CB8-4780-4F42-8F5A-A2879CF5C5A6}">
      <dgm:prSet phldrT="[Text]" custT="1"/>
      <dgm:spPr/>
      <dgm:t>
        <a:bodyPr/>
        <a:lstStyle/>
        <a:p>
          <a:r>
            <a:rPr lang="de-DE" sz="1000" b="0" i="0" dirty="0" err="1">
              <a:latin typeface="Myriad Pro" panose="020B0503030403020204" pitchFamily="34" charset="0"/>
            </a:rPr>
            <a:t>Lernrate</a:t>
          </a:r>
          <a:endParaRPr lang="de-DE" sz="1000" b="0" i="0" dirty="0">
            <a:latin typeface="Myriad Pro" panose="020B0503030403020204" pitchFamily="34" charset="0"/>
          </a:endParaRPr>
        </a:p>
      </dgm:t>
    </dgm:pt>
    <dgm:pt modelId="{BB72E3E4-7E20-4FF3-87BE-AD24CB2F12EE}" type="parTrans" cxnId="{C5BE0DE1-3793-4C23-A900-78112F2919D4}">
      <dgm:prSet/>
      <dgm:spPr/>
      <dgm:t>
        <a:bodyPr/>
        <a:lstStyle/>
        <a:p>
          <a:endParaRPr lang="de-DE"/>
        </a:p>
      </dgm:t>
    </dgm:pt>
    <dgm:pt modelId="{1E1C3655-4299-4282-B808-C53E3FABF68D}" type="sibTrans" cxnId="{C5BE0DE1-3793-4C23-A900-78112F2919D4}">
      <dgm:prSet/>
      <dgm:spPr/>
      <dgm:t>
        <a:bodyPr/>
        <a:lstStyle/>
        <a:p>
          <a:endParaRPr lang="de-DE"/>
        </a:p>
      </dgm:t>
    </dgm:pt>
    <dgm:pt modelId="{49A0BB83-CEA0-46AB-9D0B-B65F612AEE4A}">
      <dgm:prSet phldrT="[Text]" custT="1"/>
      <dgm:spPr/>
      <dgm:t>
        <a:bodyPr/>
        <a:lstStyle/>
        <a:p>
          <a:r>
            <a:rPr lang="de-DE" sz="1000" b="0" i="0" dirty="0">
              <a:latin typeface="Myriad Pro" panose="020B0503030403020204" pitchFamily="34" charset="0"/>
            </a:rPr>
            <a:t>Encoder</a:t>
          </a:r>
        </a:p>
      </dgm:t>
    </dgm:pt>
    <dgm:pt modelId="{AE65C2BF-225F-4643-AE59-9457E6820B24}" type="parTrans" cxnId="{0419F4C6-C72F-44E5-856A-7A5E20A609B0}">
      <dgm:prSet/>
      <dgm:spPr/>
      <dgm:t>
        <a:bodyPr/>
        <a:lstStyle/>
        <a:p>
          <a:endParaRPr lang="de-DE"/>
        </a:p>
      </dgm:t>
    </dgm:pt>
    <dgm:pt modelId="{2328B74F-4929-49C4-A401-C9585D838753}" type="sibTrans" cxnId="{0419F4C6-C72F-44E5-856A-7A5E20A609B0}">
      <dgm:prSet/>
      <dgm:spPr/>
      <dgm:t>
        <a:bodyPr/>
        <a:lstStyle/>
        <a:p>
          <a:endParaRPr lang="de-DE"/>
        </a:p>
      </dgm:t>
    </dgm:pt>
    <dgm:pt modelId="{C1F68F19-94EA-4970-A79B-863E823848E5}">
      <dgm:prSet phldrT="[Text]" custT="1"/>
      <dgm:spPr/>
      <dgm:t>
        <a:bodyPr/>
        <a:lstStyle/>
        <a:p>
          <a:r>
            <a:rPr lang="de-DE" sz="800" b="0" i="0" dirty="0" err="1">
              <a:latin typeface="Myriad Pro" panose="020B0503030403020204" pitchFamily="34" charset="0"/>
            </a:rPr>
            <a:t>ResNet</a:t>
          </a:r>
          <a:endParaRPr lang="de-DE" sz="800" b="0" i="0" dirty="0">
            <a:latin typeface="Myriad Pro" panose="020B0503030403020204" pitchFamily="34" charset="0"/>
          </a:endParaRPr>
        </a:p>
      </dgm:t>
    </dgm:pt>
    <dgm:pt modelId="{0F1B911F-6353-4AE6-9EEF-D49625DE905E}" type="parTrans" cxnId="{4A7380CF-8162-4F2E-9F90-B51642631E94}">
      <dgm:prSet/>
      <dgm:spPr/>
      <dgm:t>
        <a:bodyPr/>
        <a:lstStyle/>
        <a:p>
          <a:endParaRPr lang="de-DE"/>
        </a:p>
      </dgm:t>
    </dgm:pt>
    <dgm:pt modelId="{60DB14D8-838D-4A63-A334-C12EB1C7625D}" type="sibTrans" cxnId="{4A7380CF-8162-4F2E-9F90-B51642631E94}">
      <dgm:prSet/>
      <dgm:spPr/>
      <dgm:t>
        <a:bodyPr/>
        <a:lstStyle/>
        <a:p>
          <a:endParaRPr lang="de-DE"/>
        </a:p>
      </dgm:t>
    </dgm:pt>
    <dgm:pt modelId="{3EC8FF9E-3113-473A-A5E5-ABD9C5F94794}">
      <dgm:prSet phldrT="[Text]" custT="1"/>
      <dgm:spPr/>
      <dgm:t>
        <a:bodyPr/>
        <a:lstStyle/>
        <a:p>
          <a:r>
            <a:rPr lang="de-DE" sz="800" b="0" i="0" dirty="0" err="1">
              <a:latin typeface="Myriad Pro" panose="020B0503030403020204" pitchFamily="34" charset="0"/>
            </a:rPr>
            <a:t>ResNext</a:t>
          </a:r>
          <a:endParaRPr lang="de-DE" sz="800" b="0" i="0" dirty="0">
            <a:latin typeface="Myriad Pro" panose="020B0503030403020204" pitchFamily="34" charset="0"/>
          </a:endParaRPr>
        </a:p>
      </dgm:t>
    </dgm:pt>
    <dgm:pt modelId="{87CDD4F3-E71F-44A9-B515-E47672A849B6}" type="parTrans" cxnId="{0A8FCBF8-AD1F-4CF4-8568-2F5CBABA5157}">
      <dgm:prSet/>
      <dgm:spPr/>
      <dgm:t>
        <a:bodyPr/>
        <a:lstStyle/>
        <a:p>
          <a:endParaRPr lang="de-DE"/>
        </a:p>
      </dgm:t>
    </dgm:pt>
    <dgm:pt modelId="{25369813-4686-4B37-9746-915D5E2ABB1B}" type="sibTrans" cxnId="{0A8FCBF8-AD1F-4CF4-8568-2F5CBABA5157}">
      <dgm:prSet/>
      <dgm:spPr/>
      <dgm:t>
        <a:bodyPr/>
        <a:lstStyle/>
        <a:p>
          <a:endParaRPr lang="de-DE"/>
        </a:p>
      </dgm:t>
    </dgm:pt>
    <dgm:pt modelId="{E0EC0A27-9EDB-47A4-8DED-CBD1A61B9BC9}">
      <dgm:prSet phldrT="[Text]" custT="1"/>
      <dgm:spPr/>
      <dgm:t>
        <a:bodyPr/>
        <a:lstStyle/>
        <a:p>
          <a:r>
            <a:rPr lang="de-DE" sz="800" b="0" i="0" dirty="0">
              <a:latin typeface="Myriad Pro" panose="020B0503030403020204" pitchFamily="34" charset="0"/>
            </a:rPr>
            <a:t>Inception-V4</a:t>
          </a:r>
        </a:p>
      </dgm:t>
    </dgm:pt>
    <dgm:pt modelId="{C6050D19-3AE0-4870-8460-7297D5C8A50F}" type="sibTrans" cxnId="{FEC8D416-8216-4562-8549-24473B803C80}">
      <dgm:prSet/>
      <dgm:spPr/>
      <dgm:t>
        <a:bodyPr/>
        <a:lstStyle/>
        <a:p>
          <a:endParaRPr lang="de-DE"/>
        </a:p>
      </dgm:t>
    </dgm:pt>
    <dgm:pt modelId="{42F96A8F-BB1E-4B89-AB8E-11A0F37EB1DB}" type="parTrans" cxnId="{FEC8D416-8216-4562-8549-24473B803C80}">
      <dgm:prSet/>
      <dgm:spPr/>
      <dgm:t>
        <a:bodyPr/>
        <a:lstStyle/>
        <a:p>
          <a:endParaRPr lang="de-DE"/>
        </a:p>
      </dgm:t>
    </dgm:pt>
    <dgm:pt modelId="{4DA8AE24-A75C-40AE-A6A1-13FE57AE449D}">
      <dgm:prSet phldrT="[Text]" custT="1"/>
      <dgm:spPr/>
      <dgm:t>
        <a:bodyPr/>
        <a:lstStyle/>
        <a:p>
          <a:r>
            <a:rPr lang="de-DE" sz="800" b="0" i="0" dirty="0">
              <a:latin typeface="Myriad Pro" panose="020B0503030403020204" pitchFamily="34" charset="0"/>
            </a:rPr>
            <a:t>Inception-</a:t>
          </a:r>
          <a:r>
            <a:rPr lang="de-DE" sz="800" b="0" i="0" dirty="0" err="1">
              <a:latin typeface="Myriad Pro" panose="020B0503030403020204" pitchFamily="34" charset="0"/>
            </a:rPr>
            <a:t>ResNet</a:t>
          </a:r>
          <a:endParaRPr lang="de-DE" sz="800" b="0" i="0" dirty="0">
            <a:latin typeface="Myriad Pro" panose="020B0503030403020204" pitchFamily="34" charset="0"/>
          </a:endParaRPr>
        </a:p>
      </dgm:t>
    </dgm:pt>
    <dgm:pt modelId="{DF4C3ABC-A688-4048-91A3-DFE9CE606182}" type="sibTrans" cxnId="{F4D4E3EF-4C7A-4DD4-B693-2A68087757F8}">
      <dgm:prSet/>
      <dgm:spPr/>
      <dgm:t>
        <a:bodyPr/>
        <a:lstStyle/>
        <a:p>
          <a:endParaRPr lang="de-DE"/>
        </a:p>
      </dgm:t>
    </dgm:pt>
    <dgm:pt modelId="{2DCC687C-BE9B-4DD8-8A80-E970635437CA}" type="parTrans" cxnId="{F4D4E3EF-4C7A-4DD4-B693-2A68087757F8}">
      <dgm:prSet/>
      <dgm:spPr/>
      <dgm:t>
        <a:bodyPr/>
        <a:lstStyle/>
        <a:p>
          <a:endParaRPr lang="de-DE"/>
        </a:p>
      </dgm:t>
    </dgm:pt>
    <dgm:pt modelId="{50C4D88C-9CB0-4513-8456-755395491158}" type="pres">
      <dgm:prSet presAssocID="{96C9D5F4-FF4F-420D-8420-A926E166D7A2}" presName="Name0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</dgm:pt>
    <dgm:pt modelId="{506FBA0B-6598-4404-B87A-56869B8718E3}" type="pres">
      <dgm:prSet presAssocID="{D0997319-AE2C-4C46-ADCB-BA43BE3F3F54}" presName="root1" presStyleCnt="0"/>
      <dgm:spPr/>
    </dgm:pt>
    <dgm:pt modelId="{DCF5B4EF-DE4F-4292-A3B2-724C163A44AB}" type="pres">
      <dgm:prSet presAssocID="{D0997319-AE2C-4C46-ADCB-BA43BE3F3F54}" presName="LevelOneTextNode" presStyleLbl="node0" presStyleIdx="0" presStyleCnt="1">
        <dgm:presLayoutVars>
          <dgm:chPref val="3"/>
        </dgm:presLayoutVars>
      </dgm:prSet>
      <dgm:spPr/>
    </dgm:pt>
    <dgm:pt modelId="{7E8A6FC8-F240-4C27-8F75-0549E9D1CE4E}" type="pres">
      <dgm:prSet presAssocID="{D0997319-AE2C-4C46-ADCB-BA43BE3F3F54}" presName="level2hierChild" presStyleCnt="0"/>
      <dgm:spPr/>
    </dgm:pt>
    <dgm:pt modelId="{BE328E0A-C287-4B1A-BD90-C0F3098FFCD9}" type="pres">
      <dgm:prSet presAssocID="{B164CB56-71EE-412E-A3A2-1509A3B08E05}" presName="conn2-1" presStyleLbl="parChTrans1D2" presStyleIdx="0" presStyleCnt="3"/>
      <dgm:spPr/>
    </dgm:pt>
    <dgm:pt modelId="{1EB559E9-DB95-4028-B960-01A592B99E92}" type="pres">
      <dgm:prSet presAssocID="{B164CB56-71EE-412E-A3A2-1509A3B08E05}" presName="connTx" presStyleLbl="parChTrans1D2" presStyleIdx="0" presStyleCnt="3"/>
      <dgm:spPr/>
    </dgm:pt>
    <dgm:pt modelId="{9893F228-CFAA-415F-97D9-8C8EA9FB1BC5}" type="pres">
      <dgm:prSet presAssocID="{8E70AA8F-7583-4AFE-9EDE-87363894E1F8}" presName="root2" presStyleCnt="0"/>
      <dgm:spPr/>
    </dgm:pt>
    <dgm:pt modelId="{49ADAAAB-354D-4968-9DE9-378E6595E5BB}" type="pres">
      <dgm:prSet presAssocID="{8E70AA8F-7583-4AFE-9EDE-87363894E1F8}" presName="LevelTwoTextNode" presStyleLbl="node2" presStyleIdx="0" presStyleCnt="3">
        <dgm:presLayoutVars>
          <dgm:chPref val="3"/>
        </dgm:presLayoutVars>
      </dgm:prSet>
      <dgm:spPr/>
    </dgm:pt>
    <dgm:pt modelId="{46E2FE2A-A747-4DEE-AAF5-53A8EE84B06B}" type="pres">
      <dgm:prSet presAssocID="{8E70AA8F-7583-4AFE-9EDE-87363894E1F8}" presName="level3hierChild" presStyleCnt="0"/>
      <dgm:spPr/>
    </dgm:pt>
    <dgm:pt modelId="{A00DE1AA-92DF-4607-98DB-1C3BB048DCF5}" type="pres">
      <dgm:prSet presAssocID="{8ACEFE3D-DAAE-46D2-BF29-AF7B5FBB783D}" presName="conn2-1" presStyleLbl="parChTrans1D3" presStyleIdx="0" presStyleCnt="10"/>
      <dgm:spPr/>
    </dgm:pt>
    <dgm:pt modelId="{FCADF10C-D51C-403A-B095-E884F4771DA4}" type="pres">
      <dgm:prSet presAssocID="{8ACEFE3D-DAAE-46D2-BF29-AF7B5FBB783D}" presName="connTx" presStyleLbl="parChTrans1D3" presStyleIdx="0" presStyleCnt="10"/>
      <dgm:spPr/>
    </dgm:pt>
    <dgm:pt modelId="{82114EE1-887C-431E-AFFD-6C4277E5953D}" type="pres">
      <dgm:prSet presAssocID="{BF1B7062-91AB-4F1D-BD08-8D3EC4B33C1F}" presName="root2" presStyleCnt="0"/>
      <dgm:spPr/>
    </dgm:pt>
    <dgm:pt modelId="{F9F18759-F577-4686-9C34-EB964D732C77}" type="pres">
      <dgm:prSet presAssocID="{BF1B7062-91AB-4F1D-BD08-8D3EC4B33C1F}" presName="LevelTwoTextNode" presStyleLbl="node3" presStyleIdx="0" presStyleCnt="10">
        <dgm:presLayoutVars>
          <dgm:chPref val="3"/>
        </dgm:presLayoutVars>
      </dgm:prSet>
      <dgm:spPr/>
    </dgm:pt>
    <dgm:pt modelId="{54BDE115-2A0C-4217-89B4-E7E8586234DB}" type="pres">
      <dgm:prSet presAssocID="{BF1B7062-91AB-4F1D-BD08-8D3EC4B33C1F}" presName="level3hierChild" presStyleCnt="0"/>
      <dgm:spPr/>
    </dgm:pt>
    <dgm:pt modelId="{6D05A90F-5A8D-42F9-A2CB-82F28C0FF2BC}" type="pres">
      <dgm:prSet presAssocID="{C7C06085-9DF0-469C-90B3-434C5E418A6D}" presName="conn2-1" presStyleLbl="parChTrans1D4" presStyleIdx="0" presStyleCnt="9"/>
      <dgm:spPr/>
    </dgm:pt>
    <dgm:pt modelId="{799FD5E4-5D76-4338-BDA8-9F7F790A3A29}" type="pres">
      <dgm:prSet presAssocID="{C7C06085-9DF0-469C-90B3-434C5E418A6D}" presName="connTx" presStyleLbl="parChTrans1D4" presStyleIdx="0" presStyleCnt="9"/>
      <dgm:spPr/>
    </dgm:pt>
    <dgm:pt modelId="{1C875D8C-6779-45C7-9DF1-E38374A18533}" type="pres">
      <dgm:prSet presAssocID="{4D897679-FA7C-48A2-A57F-5D0431886FF7}" presName="root2" presStyleCnt="0"/>
      <dgm:spPr/>
    </dgm:pt>
    <dgm:pt modelId="{F8A94DA1-2081-4A8B-816C-A9F98C2853F5}" type="pres">
      <dgm:prSet presAssocID="{4D897679-FA7C-48A2-A57F-5D0431886FF7}" presName="LevelTwoTextNode" presStyleLbl="node4" presStyleIdx="0" presStyleCnt="9">
        <dgm:presLayoutVars>
          <dgm:chPref val="3"/>
        </dgm:presLayoutVars>
      </dgm:prSet>
      <dgm:spPr/>
    </dgm:pt>
    <dgm:pt modelId="{BE78AA36-14CC-406D-9CAF-F23AD3DFDFED}" type="pres">
      <dgm:prSet presAssocID="{4D897679-FA7C-48A2-A57F-5D0431886FF7}" presName="level3hierChild" presStyleCnt="0"/>
      <dgm:spPr/>
    </dgm:pt>
    <dgm:pt modelId="{8F0AA0AA-EF8D-43DE-82C5-2D7BFD08315F}" type="pres">
      <dgm:prSet presAssocID="{81CB6F6D-48DA-416D-9426-0B6E4B5AD737}" presName="conn2-1" presStyleLbl="parChTrans1D4" presStyleIdx="1" presStyleCnt="9"/>
      <dgm:spPr/>
    </dgm:pt>
    <dgm:pt modelId="{FD15021D-62B7-4A46-932A-654E778DB44B}" type="pres">
      <dgm:prSet presAssocID="{81CB6F6D-48DA-416D-9426-0B6E4B5AD737}" presName="connTx" presStyleLbl="parChTrans1D4" presStyleIdx="1" presStyleCnt="9"/>
      <dgm:spPr/>
    </dgm:pt>
    <dgm:pt modelId="{92C6DF90-94C7-417B-A0B7-472D3330DFC6}" type="pres">
      <dgm:prSet presAssocID="{48CAF46E-7318-4269-B88D-4072C010818D}" presName="root2" presStyleCnt="0"/>
      <dgm:spPr/>
    </dgm:pt>
    <dgm:pt modelId="{571B8373-7DFF-4282-8AA6-80F7CC7EA7C8}" type="pres">
      <dgm:prSet presAssocID="{48CAF46E-7318-4269-B88D-4072C010818D}" presName="LevelTwoTextNode" presStyleLbl="node4" presStyleIdx="1" presStyleCnt="9">
        <dgm:presLayoutVars>
          <dgm:chPref val="3"/>
        </dgm:presLayoutVars>
      </dgm:prSet>
      <dgm:spPr/>
    </dgm:pt>
    <dgm:pt modelId="{2E395B4D-D351-4809-A97B-BD1545D151D6}" type="pres">
      <dgm:prSet presAssocID="{48CAF46E-7318-4269-B88D-4072C010818D}" presName="level3hierChild" presStyleCnt="0"/>
      <dgm:spPr/>
    </dgm:pt>
    <dgm:pt modelId="{709C936E-7E65-4B5A-AC40-4548A25152AC}" type="pres">
      <dgm:prSet presAssocID="{23EDCDD5-F170-402F-A11E-15FD466C3CE5}" presName="conn2-1" presStyleLbl="parChTrans1D4" presStyleIdx="2" presStyleCnt="9"/>
      <dgm:spPr/>
    </dgm:pt>
    <dgm:pt modelId="{79D3B186-92E5-40C6-A995-4173A00C788D}" type="pres">
      <dgm:prSet presAssocID="{23EDCDD5-F170-402F-A11E-15FD466C3CE5}" presName="connTx" presStyleLbl="parChTrans1D4" presStyleIdx="2" presStyleCnt="9"/>
      <dgm:spPr/>
    </dgm:pt>
    <dgm:pt modelId="{288D4D72-A885-421E-B53B-89BEC0A8E191}" type="pres">
      <dgm:prSet presAssocID="{ADED253C-6A2E-4631-B1D4-F5E1FE2B5B55}" presName="root2" presStyleCnt="0"/>
      <dgm:spPr/>
    </dgm:pt>
    <dgm:pt modelId="{9E59A063-5821-4E2B-8FD8-3EBA8922B98E}" type="pres">
      <dgm:prSet presAssocID="{ADED253C-6A2E-4631-B1D4-F5E1FE2B5B55}" presName="LevelTwoTextNode" presStyleLbl="node4" presStyleIdx="2" presStyleCnt="9">
        <dgm:presLayoutVars>
          <dgm:chPref val="3"/>
        </dgm:presLayoutVars>
      </dgm:prSet>
      <dgm:spPr/>
    </dgm:pt>
    <dgm:pt modelId="{A60165E3-8C06-4086-B11F-0E702421E440}" type="pres">
      <dgm:prSet presAssocID="{ADED253C-6A2E-4631-B1D4-F5E1FE2B5B55}" presName="level3hierChild" presStyleCnt="0"/>
      <dgm:spPr/>
    </dgm:pt>
    <dgm:pt modelId="{C5F46441-018D-4AD0-9984-278FB6B3653F}" type="pres">
      <dgm:prSet presAssocID="{524ED0C4-9CC2-4C2A-B51C-974FA37A7FE7}" presName="conn2-1" presStyleLbl="parChTrans1D4" presStyleIdx="3" presStyleCnt="9"/>
      <dgm:spPr/>
    </dgm:pt>
    <dgm:pt modelId="{D9EA4352-69AB-4BEF-A3B8-25557C0E3D3D}" type="pres">
      <dgm:prSet presAssocID="{524ED0C4-9CC2-4C2A-B51C-974FA37A7FE7}" presName="connTx" presStyleLbl="parChTrans1D4" presStyleIdx="3" presStyleCnt="9"/>
      <dgm:spPr/>
    </dgm:pt>
    <dgm:pt modelId="{0E92266F-6127-4D65-BB11-33FD467F105D}" type="pres">
      <dgm:prSet presAssocID="{D11BAA21-3D0E-4BFE-97F1-F349F96BB7F2}" presName="root2" presStyleCnt="0"/>
      <dgm:spPr/>
    </dgm:pt>
    <dgm:pt modelId="{E35C2840-DB93-493D-B275-166B0E0C4A9D}" type="pres">
      <dgm:prSet presAssocID="{D11BAA21-3D0E-4BFE-97F1-F349F96BB7F2}" presName="LevelTwoTextNode" presStyleLbl="node4" presStyleIdx="3" presStyleCnt="9">
        <dgm:presLayoutVars>
          <dgm:chPref val="3"/>
        </dgm:presLayoutVars>
      </dgm:prSet>
      <dgm:spPr/>
    </dgm:pt>
    <dgm:pt modelId="{D8A053A6-8CD3-465F-9ECC-7C0D113893EE}" type="pres">
      <dgm:prSet presAssocID="{D11BAA21-3D0E-4BFE-97F1-F349F96BB7F2}" presName="level3hierChild" presStyleCnt="0"/>
      <dgm:spPr/>
    </dgm:pt>
    <dgm:pt modelId="{FAF45787-F807-4BB6-923D-0C0E2CD8C149}" type="pres">
      <dgm:prSet presAssocID="{31BDA904-A9EF-437C-9DAF-E5BDF8C1106E}" presName="conn2-1" presStyleLbl="parChTrans1D4" presStyleIdx="4" presStyleCnt="9"/>
      <dgm:spPr/>
    </dgm:pt>
    <dgm:pt modelId="{8B0AB1CA-7D19-4139-820F-FBEA5B4373F8}" type="pres">
      <dgm:prSet presAssocID="{31BDA904-A9EF-437C-9DAF-E5BDF8C1106E}" presName="connTx" presStyleLbl="parChTrans1D4" presStyleIdx="4" presStyleCnt="9"/>
      <dgm:spPr/>
    </dgm:pt>
    <dgm:pt modelId="{C3306D52-2437-4385-ACA3-7D8CE9EB0569}" type="pres">
      <dgm:prSet presAssocID="{33587DE4-8F92-4CA4-A011-892138D47DA7}" presName="root2" presStyleCnt="0"/>
      <dgm:spPr/>
    </dgm:pt>
    <dgm:pt modelId="{8F47A465-73D6-48E5-83FD-F149301C3BBD}" type="pres">
      <dgm:prSet presAssocID="{33587DE4-8F92-4CA4-A011-892138D47DA7}" presName="LevelTwoTextNode" presStyleLbl="node4" presStyleIdx="4" presStyleCnt="9">
        <dgm:presLayoutVars>
          <dgm:chPref val="3"/>
        </dgm:presLayoutVars>
      </dgm:prSet>
      <dgm:spPr/>
    </dgm:pt>
    <dgm:pt modelId="{E32E857A-F3CD-4263-AB35-D59E97F83B1D}" type="pres">
      <dgm:prSet presAssocID="{33587DE4-8F92-4CA4-A011-892138D47DA7}" presName="level3hierChild" presStyleCnt="0"/>
      <dgm:spPr/>
    </dgm:pt>
    <dgm:pt modelId="{5BC2DE1D-C4D7-4BFC-A0C1-3D282DC024CD}" type="pres">
      <dgm:prSet presAssocID="{AE65C2BF-225F-4643-AE59-9457E6820B24}" presName="conn2-1" presStyleLbl="parChTrans1D3" presStyleIdx="1" presStyleCnt="10"/>
      <dgm:spPr/>
    </dgm:pt>
    <dgm:pt modelId="{0C497864-2349-44C5-8D11-5F89748F0519}" type="pres">
      <dgm:prSet presAssocID="{AE65C2BF-225F-4643-AE59-9457E6820B24}" presName="connTx" presStyleLbl="parChTrans1D3" presStyleIdx="1" presStyleCnt="10"/>
      <dgm:spPr/>
    </dgm:pt>
    <dgm:pt modelId="{9DEE4079-5D60-4753-AEAE-EF1343D66E8F}" type="pres">
      <dgm:prSet presAssocID="{49A0BB83-CEA0-46AB-9D0B-B65F612AEE4A}" presName="root2" presStyleCnt="0"/>
      <dgm:spPr/>
    </dgm:pt>
    <dgm:pt modelId="{DC0B28EB-699E-45BB-87EC-30E574E72821}" type="pres">
      <dgm:prSet presAssocID="{49A0BB83-CEA0-46AB-9D0B-B65F612AEE4A}" presName="LevelTwoTextNode" presStyleLbl="node3" presStyleIdx="1" presStyleCnt="10">
        <dgm:presLayoutVars>
          <dgm:chPref val="3"/>
        </dgm:presLayoutVars>
      </dgm:prSet>
      <dgm:spPr/>
    </dgm:pt>
    <dgm:pt modelId="{F96545F6-99BC-46B9-929F-A49863AE73CF}" type="pres">
      <dgm:prSet presAssocID="{49A0BB83-CEA0-46AB-9D0B-B65F612AEE4A}" presName="level3hierChild" presStyleCnt="0"/>
      <dgm:spPr/>
    </dgm:pt>
    <dgm:pt modelId="{7F2C676C-E906-4B26-892E-C728B9239429}" type="pres">
      <dgm:prSet presAssocID="{42F96A8F-BB1E-4B89-AB8E-11A0F37EB1DB}" presName="conn2-1" presStyleLbl="parChTrans1D4" presStyleIdx="5" presStyleCnt="9"/>
      <dgm:spPr/>
    </dgm:pt>
    <dgm:pt modelId="{F614A676-E312-4A6F-BE9F-B6E2993177B6}" type="pres">
      <dgm:prSet presAssocID="{42F96A8F-BB1E-4B89-AB8E-11A0F37EB1DB}" presName="connTx" presStyleLbl="parChTrans1D4" presStyleIdx="5" presStyleCnt="9"/>
      <dgm:spPr/>
    </dgm:pt>
    <dgm:pt modelId="{BDC558D4-E8FE-4402-98B6-954B2DED52D1}" type="pres">
      <dgm:prSet presAssocID="{E0EC0A27-9EDB-47A4-8DED-CBD1A61B9BC9}" presName="root2" presStyleCnt="0"/>
      <dgm:spPr/>
    </dgm:pt>
    <dgm:pt modelId="{81473451-3FF3-474B-98FB-6869E5682468}" type="pres">
      <dgm:prSet presAssocID="{E0EC0A27-9EDB-47A4-8DED-CBD1A61B9BC9}" presName="LevelTwoTextNode" presStyleLbl="node4" presStyleIdx="5" presStyleCnt="9">
        <dgm:presLayoutVars>
          <dgm:chPref val="3"/>
        </dgm:presLayoutVars>
      </dgm:prSet>
      <dgm:spPr/>
    </dgm:pt>
    <dgm:pt modelId="{FA9000AC-D9F7-467D-A35D-DAD03D5FE186}" type="pres">
      <dgm:prSet presAssocID="{E0EC0A27-9EDB-47A4-8DED-CBD1A61B9BC9}" presName="level3hierChild" presStyleCnt="0"/>
      <dgm:spPr/>
    </dgm:pt>
    <dgm:pt modelId="{2B4072C3-2623-4EA4-94B7-025A9DCD72E9}" type="pres">
      <dgm:prSet presAssocID="{2DCC687C-BE9B-4DD8-8A80-E970635437CA}" presName="conn2-1" presStyleLbl="parChTrans1D4" presStyleIdx="6" presStyleCnt="9"/>
      <dgm:spPr/>
    </dgm:pt>
    <dgm:pt modelId="{7260B369-A7E2-44EA-98FE-B408D79B13A6}" type="pres">
      <dgm:prSet presAssocID="{2DCC687C-BE9B-4DD8-8A80-E970635437CA}" presName="connTx" presStyleLbl="parChTrans1D4" presStyleIdx="6" presStyleCnt="9"/>
      <dgm:spPr/>
    </dgm:pt>
    <dgm:pt modelId="{1FAAD552-F495-4DB6-9E8B-FAAEB560B2F6}" type="pres">
      <dgm:prSet presAssocID="{4DA8AE24-A75C-40AE-A6A1-13FE57AE449D}" presName="root2" presStyleCnt="0"/>
      <dgm:spPr/>
    </dgm:pt>
    <dgm:pt modelId="{A732D3F1-1291-409E-9A7C-778CAE167F89}" type="pres">
      <dgm:prSet presAssocID="{4DA8AE24-A75C-40AE-A6A1-13FE57AE449D}" presName="LevelTwoTextNode" presStyleLbl="node4" presStyleIdx="6" presStyleCnt="9">
        <dgm:presLayoutVars>
          <dgm:chPref val="3"/>
        </dgm:presLayoutVars>
      </dgm:prSet>
      <dgm:spPr/>
    </dgm:pt>
    <dgm:pt modelId="{AB597740-6E08-435C-B03D-74A3C28F6C7A}" type="pres">
      <dgm:prSet presAssocID="{4DA8AE24-A75C-40AE-A6A1-13FE57AE449D}" presName="level3hierChild" presStyleCnt="0"/>
      <dgm:spPr/>
    </dgm:pt>
    <dgm:pt modelId="{9458E52A-38CE-4EE6-A620-F703970B8164}" type="pres">
      <dgm:prSet presAssocID="{0F1B911F-6353-4AE6-9EEF-D49625DE905E}" presName="conn2-1" presStyleLbl="parChTrans1D4" presStyleIdx="7" presStyleCnt="9"/>
      <dgm:spPr/>
    </dgm:pt>
    <dgm:pt modelId="{32DEAE14-947F-44E2-8D61-C101875AB07D}" type="pres">
      <dgm:prSet presAssocID="{0F1B911F-6353-4AE6-9EEF-D49625DE905E}" presName="connTx" presStyleLbl="parChTrans1D4" presStyleIdx="7" presStyleCnt="9"/>
      <dgm:spPr/>
    </dgm:pt>
    <dgm:pt modelId="{69E10A20-FCE4-4D83-88A1-14D71635473C}" type="pres">
      <dgm:prSet presAssocID="{C1F68F19-94EA-4970-A79B-863E823848E5}" presName="root2" presStyleCnt="0"/>
      <dgm:spPr/>
    </dgm:pt>
    <dgm:pt modelId="{42C465EB-33D9-4AD2-A33B-930C8E39ED41}" type="pres">
      <dgm:prSet presAssocID="{C1F68F19-94EA-4970-A79B-863E823848E5}" presName="LevelTwoTextNode" presStyleLbl="node4" presStyleIdx="7" presStyleCnt="9">
        <dgm:presLayoutVars>
          <dgm:chPref val="3"/>
        </dgm:presLayoutVars>
      </dgm:prSet>
      <dgm:spPr/>
    </dgm:pt>
    <dgm:pt modelId="{2EF723DA-603B-48F9-A950-71099D97A93D}" type="pres">
      <dgm:prSet presAssocID="{C1F68F19-94EA-4970-A79B-863E823848E5}" presName="level3hierChild" presStyleCnt="0"/>
      <dgm:spPr/>
    </dgm:pt>
    <dgm:pt modelId="{329CD9E0-9945-40C9-89A5-5929AA1A3A82}" type="pres">
      <dgm:prSet presAssocID="{87CDD4F3-E71F-44A9-B515-E47672A849B6}" presName="conn2-1" presStyleLbl="parChTrans1D4" presStyleIdx="8" presStyleCnt="9"/>
      <dgm:spPr/>
    </dgm:pt>
    <dgm:pt modelId="{27874C32-AAAE-43E2-B803-B20B1E2D7450}" type="pres">
      <dgm:prSet presAssocID="{87CDD4F3-E71F-44A9-B515-E47672A849B6}" presName="connTx" presStyleLbl="parChTrans1D4" presStyleIdx="8" presStyleCnt="9"/>
      <dgm:spPr/>
    </dgm:pt>
    <dgm:pt modelId="{413EDB34-EEB8-4846-8BF9-D4944F61EBD3}" type="pres">
      <dgm:prSet presAssocID="{3EC8FF9E-3113-473A-A5E5-ABD9C5F94794}" presName="root2" presStyleCnt="0"/>
      <dgm:spPr/>
    </dgm:pt>
    <dgm:pt modelId="{84D7F889-3498-48D8-ADC3-14251347C81B}" type="pres">
      <dgm:prSet presAssocID="{3EC8FF9E-3113-473A-A5E5-ABD9C5F94794}" presName="LevelTwoTextNode" presStyleLbl="node4" presStyleIdx="8" presStyleCnt="9">
        <dgm:presLayoutVars>
          <dgm:chPref val="3"/>
        </dgm:presLayoutVars>
      </dgm:prSet>
      <dgm:spPr/>
    </dgm:pt>
    <dgm:pt modelId="{E91235D0-FC5C-4DA2-AB29-EC075B3DCA81}" type="pres">
      <dgm:prSet presAssocID="{3EC8FF9E-3113-473A-A5E5-ABD9C5F94794}" presName="level3hierChild" presStyleCnt="0"/>
      <dgm:spPr/>
    </dgm:pt>
    <dgm:pt modelId="{A4E05C94-2209-4BF4-B627-606397BBC1C5}" type="pres">
      <dgm:prSet presAssocID="{BB72E3E4-7E20-4FF3-87BE-AD24CB2F12EE}" presName="conn2-1" presStyleLbl="parChTrans1D3" presStyleIdx="2" presStyleCnt="10"/>
      <dgm:spPr/>
    </dgm:pt>
    <dgm:pt modelId="{6DCFD290-34D5-45FC-84C5-03B4A3AFAD52}" type="pres">
      <dgm:prSet presAssocID="{BB72E3E4-7E20-4FF3-87BE-AD24CB2F12EE}" presName="connTx" presStyleLbl="parChTrans1D3" presStyleIdx="2" presStyleCnt="10"/>
      <dgm:spPr/>
    </dgm:pt>
    <dgm:pt modelId="{D6C31984-0B65-416F-A6B1-E0A22FFF6163}" type="pres">
      <dgm:prSet presAssocID="{DAFF3CB8-4780-4F42-8F5A-A2879CF5C5A6}" presName="root2" presStyleCnt="0"/>
      <dgm:spPr/>
    </dgm:pt>
    <dgm:pt modelId="{485D5E8B-1295-4B72-BF14-74B2BE7008EE}" type="pres">
      <dgm:prSet presAssocID="{DAFF3CB8-4780-4F42-8F5A-A2879CF5C5A6}" presName="LevelTwoTextNode" presStyleLbl="node3" presStyleIdx="2" presStyleCnt="10">
        <dgm:presLayoutVars>
          <dgm:chPref val="3"/>
        </dgm:presLayoutVars>
      </dgm:prSet>
      <dgm:spPr/>
    </dgm:pt>
    <dgm:pt modelId="{49EAA066-0495-427D-9425-BE1889EED5E1}" type="pres">
      <dgm:prSet presAssocID="{DAFF3CB8-4780-4F42-8F5A-A2879CF5C5A6}" presName="level3hierChild" presStyleCnt="0"/>
      <dgm:spPr/>
    </dgm:pt>
    <dgm:pt modelId="{460E764F-BDF5-4D22-9B4D-16DC71F64CAC}" type="pres">
      <dgm:prSet presAssocID="{2C61C4AB-FC34-4364-9323-4A9D6350BA1C}" presName="conn2-1" presStyleLbl="parChTrans1D3" presStyleIdx="3" presStyleCnt="10"/>
      <dgm:spPr/>
    </dgm:pt>
    <dgm:pt modelId="{D2085E56-A00C-4E27-A4A7-A2743FEDF1B5}" type="pres">
      <dgm:prSet presAssocID="{2C61C4AB-FC34-4364-9323-4A9D6350BA1C}" presName="connTx" presStyleLbl="parChTrans1D3" presStyleIdx="3" presStyleCnt="10"/>
      <dgm:spPr/>
    </dgm:pt>
    <dgm:pt modelId="{73186733-5E43-4E6A-80AF-948A00AAA9B5}" type="pres">
      <dgm:prSet presAssocID="{2FAED816-5ABD-44B8-9175-AD4921C3FE98}" presName="root2" presStyleCnt="0"/>
      <dgm:spPr/>
    </dgm:pt>
    <dgm:pt modelId="{43996E1E-6F52-4F8E-9F4B-77A56824C63C}" type="pres">
      <dgm:prSet presAssocID="{2FAED816-5ABD-44B8-9175-AD4921C3FE98}" presName="LevelTwoTextNode" presStyleLbl="node3" presStyleIdx="3" presStyleCnt="10">
        <dgm:presLayoutVars>
          <dgm:chPref val="3"/>
        </dgm:presLayoutVars>
      </dgm:prSet>
      <dgm:spPr/>
    </dgm:pt>
    <dgm:pt modelId="{41502682-1FC1-4B2B-BBB5-9A5540E7D736}" type="pres">
      <dgm:prSet presAssocID="{2FAED816-5ABD-44B8-9175-AD4921C3FE98}" presName="level3hierChild" presStyleCnt="0"/>
      <dgm:spPr/>
    </dgm:pt>
    <dgm:pt modelId="{690E36EE-5895-4B91-A347-3380A5FE5255}" type="pres">
      <dgm:prSet presAssocID="{D0F076D3-591F-4547-A436-4947EC5EA385}" presName="conn2-1" presStyleLbl="parChTrans1D3" presStyleIdx="4" presStyleCnt="10"/>
      <dgm:spPr/>
    </dgm:pt>
    <dgm:pt modelId="{ADBE13F2-10FA-4B06-99C7-09C6712A7646}" type="pres">
      <dgm:prSet presAssocID="{D0F076D3-591F-4547-A436-4947EC5EA385}" presName="connTx" presStyleLbl="parChTrans1D3" presStyleIdx="4" presStyleCnt="10"/>
      <dgm:spPr/>
    </dgm:pt>
    <dgm:pt modelId="{B6754EFB-425D-471A-9BC5-9299A6414551}" type="pres">
      <dgm:prSet presAssocID="{86A07196-5E8B-49B8-84A4-6DF135FCBFFC}" presName="root2" presStyleCnt="0"/>
      <dgm:spPr/>
    </dgm:pt>
    <dgm:pt modelId="{6E154881-954A-429F-9BBE-E92EEB4B1011}" type="pres">
      <dgm:prSet presAssocID="{86A07196-5E8B-49B8-84A4-6DF135FCBFFC}" presName="LevelTwoTextNode" presStyleLbl="node3" presStyleIdx="4" presStyleCnt="10">
        <dgm:presLayoutVars>
          <dgm:chPref val="3"/>
        </dgm:presLayoutVars>
      </dgm:prSet>
      <dgm:spPr/>
    </dgm:pt>
    <dgm:pt modelId="{5D1CB6D5-4D16-456C-80C8-8FB25291517B}" type="pres">
      <dgm:prSet presAssocID="{86A07196-5E8B-49B8-84A4-6DF135FCBFFC}" presName="level3hierChild" presStyleCnt="0"/>
      <dgm:spPr/>
    </dgm:pt>
    <dgm:pt modelId="{CD37291B-5548-4F1B-8F2F-200AE5B0DCAE}" type="pres">
      <dgm:prSet presAssocID="{17815460-B569-463A-BACE-734F709F874A}" presName="conn2-1" presStyleLbl="parChTrans1D2" presStyleIdx="1" presStyleCnt="3"/>
      <dgm:spPr/>
    </dgm:pt>
    <dgm:pt modelId="{D4121B60-61D6-41A4-AAB9-DE9671C8ED2F}" type="pres">
      <dgm:prSet presAssocID="{17815460-B569-463A-BACE-734F709F874A}" presName="connTx" presStyleLbl="parChTrans1D2" presStyleIdx="1" presStyleCnt="3"/>
      <dgm:spPr/>
    </dgm:pt>
    <dgm:pt modelId="{50975EFF-52F3-48CE-A104-6890DF2CCC15}" type="pres">
      <dgm:prSet presAssocID="{434F1058-EF12-4590-BD43-496B2D33656A}" presName="root2" presStyleCnt="0"/>
      <dgm:spPr/>
    </dgm:pt>
    <dgm:pt modelId="{E077FA3E-A654-4D27-8616-5CDDA43F8AF6}" type="pres">
      <dgm:prSet presAssocID="{434F1058-EF12-4590-BD43-496B2D33656A}" presName="LevelTwoTextNode" presStyleLbl="node2" presStyleIdx="1" presStyleCnt="3">
        <dgm:presLayoutVars>
          <dgm:chPref val="3"/>
        </dgm:presLayoutVars>
      </dgm:prSet>
      <dgm:spPr/>
    </dgm:pt>
    <dgm:pt modelId="{738BD333-0CAC-4970-A8E6-FA82D1202675}" type="pres">
      <dgm:prSet presAssocID="{434F1058-EF12-4590-BD43-496B2D33656A}" presName="level3hierChild" presStyleCnt="0"/>
      <dgm:spPr/>
    </dgm:pt>
    <dgm:pt modelId="{037062E2-BE96-4A8B-9D2F-1FA0857207C1}" type="pres">
      <dgm:prSet presAssocID="{DA62F256-25CF-4854-BFCD-F90F70E5F8D4}" presName="conn2-1" presStyleLbl="parChTrans1D3" presStyleIdx="5" presStyleCnt="10"/>
      <dgm:spPr/>
    </dgm:pt>
    <dgm:pt modelId="{48D9A2E1-2598-4B00-AD73-86E6047DFB3F}" type="pres">
      <dgm:prSet presAssocID="{DA62F256-25CF-4854-BFCD-F90F70E5F8D4}" presName="connTx" presStyleLbl="parChTrans1D3" presStyleIdx="5" presStyleCnt="10"/>
      <dgm:spPr/>
    </dgm:pt>
    <dgm:pt modelId="{B8CF9832-64BD-484C-B421-A0ECF20998B1}" type="pres">
      <dgm:prSet presAssocID="{4098A15D-6BE4-4258-B7C8-EC2A1354A4D6}" presName="root2" presStyleCnt="0"/>
      <dgm:spPr/>
    </dgm:pt>
    <dgm:pt modelId="{768C7647-12EF-40E9-94EB-C1868C4AFE59}" type="pres">
      <dgm:prSet presAssocID="{4098A15D-6BE4-4258-B7C8-EC2A1354A4D6}" presName="LevelTwoTextNode" presStyleLbl="node3" presStyleIdx="5" presStyleCnt="10">
        <dgm:presLayoutVars>
          <dgm:chPref val="3"/>
        </dgm:presLayoutVars>
      </dgm:prSet>
      <dgm:spPr/>
    </dgm:pt>
    <dgm:pt modelId="{66E40938-6C34-47FD-B792-4BEC9D41A30A}" type="pres">
      <dgm:prSet presAssocID="{4098A15D-6BE4-4258-B7C8-EC2A1354A4D6}" presName="level3hierChild" presStyleCnt="0"/>
      <dgm:spPr/>
    </dgm:pt>
    <dgm:pt modelId="{313DC26C-06DB-4098-B605-33485EFC9B29}" type="pres">
      <dgm:prSet presAssocID="{D937D902-C50B-4BEC-9C1F-D9880BCC701B}" presName="conn2-1" presStyleLbl="parChTrans1D3" presStyleIdx="6" presStyleCnt="10"/>
      <dgm:spPr/>
    </dgm:pt>
    <dgm:pt modelId="{30A455D9-9D31-498C-B006-B59A4D0FAC39}" type="pres">
      <dgm:prSet presAssocID="{D937D902-C50B-4BEC-9C1F-D9880BCC701B}" presName="connTx" presStyleLbl="parChTrans1D3" presStyleIdx="6" presStyleCnt="10"/>
      <dgm:spPr/>
    </dgm:pt>
    <dgm:pt modelId="{EB09E2DB-DC0B-4A48-BC00-788EB4BF2155}" type="pres">
      <dgm:prSet presAssocID="{CF5B8EE4-D285-4E9D-BBB6-5F2F77DD4689}" presName="root2" presStyleCnt="0"/>
      <dgm:spPr/>
    </dgm:pt>
    <dgm:pt modelId="{49B6876F-A108-4FF0-9A81-E34DBB9D0BD7}" type="pres">
      <dgm:prSet presAssocID="{CF5B8EE4-D285-4E9D-BBB6-5F2F77DD4689}" presName="LevelTwoTextNode" presStyleLbl="node3" presStyleIdx="6" presStyleCnt="10">
        <dgm:presLayoutVars>
          <dgm:chPref val="3"/>
        </dgm:presLayoutVars>
      </dgm:prSet>
      <dgm:spPr/>
    </dgm:pt>
    <dgm:pt modelId="{840A5199-0A8A-47C7-8B9A-920BC241225E}" type="pres">
      <dgm:prSet presAssocID="{CF5B8EE4-D285-4E9D-BBB6-5F2F77DD4689}" presName="level3hierChild" presStyleCnt="0"/>
      <dgm:spPr/>
    </dgm:pt>
    <dgm:pt modelId="{C4365B06-B9DB-4064-B93F-1043BD4B58B2}" type="pres">
      <dgm:prSet presAssocID="{8A26916C-03BF-4B0E-92AF-656A56CF8513}" presName="conn2-1" presStyleLbl="parChTrans1D2" presStyleIdx="2" presStyleCnt="3"/>
      <dgm:spPr/>
    </dgm:pt>
    <dgm:pt modelId="{0336C92A-933C-4B9A-8AAD-80A8DB51CB00}" type="pres">
      <dgm:prSet presAssocID="{8A26916C-03BF-4B0E-92AF-656A56CF8513}" presName="connTx" presStyleLbl="parChTrans1D2" presStyleIdx="2" presStyleCnt="3"/>
      <dgm:spPr/>
    </dgm:pt>
    <dgm:pt modelId="{1FB1112C-2171-4ECC-8EA0-911ADD3964A5}" type="pres">
      <dgm:prSet presAssocID="{C1D130BE-4BC5-481C-BADA-14A869727C0B}" presName="root2" presStyleCnt="0"/>
      <dgm:spPr/>
    </dgm:pt>
    <dgm:pt modelId="{B3E59FB2-885F-4B71-9DC5-B6F45C8017DE}" type="pres">
      <dgm:prSet presAssocID="{C1D130BE-4BC5-481C-BADA-14A869727C0B}" presName="LevelTwoTextNode" presStyleLbl="node2" presStyleIdx="2" presStyleCnt="3">
        <dgm:presLayoutVars>
          <dgm:chPref val="3"/>
        </dgm:presLayoutVars>
      </dgm:prSet>
      <dgm:spPr/>
    </dgm:pt>
    <dgm:pt modelId="{AF149B8F-23A2-48DF-9DB4-21319099B718}" type="pres">
      <dgm:prSet presAssocID="{C1D130BE-4BC5-481C-BADA-14A869727C0B}" presName="level3hierChild" presStyleCnt="0"/>
      <dgm:spPr/>
    </dgm:pt>
    <dgm:pt modelId="{60A0F5E7-D1D3-49F8-A254-CFFCBE54AAF0}" type="pres">
      <dgm:prSet presAssocID="{503510FB-9E52-432E-98AC-FEF28CA55F0D}" presName="conn2-1" presStyleLbl="parChTrans1D3" presStyleIdx="7" presStyleCnt="10"/>
      <dgm:spPr/>
    </dgm:pt>
    <dgm:pt modelId="{3325D373-008A-41E8-9EA1-B4B0FC90FCD2}" type="pres">
      <dgm:prSet presAssocID="{503510FB-9E52-432E-98AC-FEF28CA55F0D}" presName="connTx" presStyleLbl="parChTrans1D3" presStyleIdx="7" presStyleCnt="10"/>
      <dgm:spPr/>
    </dgm:pt>
    <dgm:pt modelId="{533688EB-FEF2-4244-B371-7A31A6275F9E}" type="pres">
      <dgm:prSet presAssocID="{CD6C8CAB-2DB8-4BEB-8794-D14E24B56239}" presName="root2" presStyleCnt="0"/>
      <dgm:spPr/>
    </dgm:pt>
    <dgm:pt modelId="{9E81B654-57F3-4178-8807-AB7AAC7BE08E}" type="pres">
      <dgm:prSet presAssocID="{CD6C8CAB-2DB8-4BEB-8794-D14E24B56239}" presName="LevelTwoTextNode" presStyleLbl="node3" presStyleIdx="7" presStyleCnt="10">
        <dgm:presLayoutVars>
          <dgm:chPref val="3"/>
        </dgm:presLayoutVars>
      </dgm:prSet>
      <dgm:spPr/>
    </dgm:pt>
    <dgm:pt modelId="{9EA1B074-9688-4BF6-BD3E-8C3B349784E8}" type="pres">
      <dgm:prSet presAssocID="{CD6C8CAB-2DB8-4BEB-8794-D14E24B56239}" presName="level3hierChild" presStyleCnt="0"/>
      <dgm:spPr/>
    </dgm:pt>
    <dgm:pt modelId="{1CD57466-73E5-43BB-AF51-980153E8039A}" type="pres">
      <dgm:prSet presAssocID="{B3C6A11E-10F5-433C-A0FB-1B185A7D12E0}" presName="conn2-1" presStyleLbl="parChTrans1D3" presStyleIdx="8" presStyleCnt="10"/>
      <dgm:spPr/>
    </dgm:pt>
    <dgm:pt modelId="{739E7D1A-06FA-43F4-82B6-C5B799BDD12A}" type="pres">
      <dgm:prSet presAssocID="{B3C6A11E-10F5-433C-A0FB-1B185A7D12E0}" presName="connTx" presStyleLbl="parChTrans1D3" presStyleIdx="8" presStyleCnt="10"/>
      <dgm:spPr/>
    </dgm:pt>
    <dgm:pt modelId="{08A18F09-5415-4D9A-A62E-8AA11F9AF3C4}" type="pres">
      <dgm:prSet presAssocID="{16945C89-930D-4764-8730-4F183F8B4C87}" presName="root2" presStyleCnt="0"/>
      <dgm:spPr/>
    </dgm:pt>
    <dgm:pt modelId="{0CCC40AA-D80B-4B90-9188-E5CA017E63B0}" type="pres">
      <dgm:prSet presAssocID="{16945C89-930D-4764-8730-4F183F8B4C87}" presName="LevelTwoTextNode" presStyleLbl="node3" presStyleIdx="8" presStyleCnt="10">
        <dgm:presLayoutVars>
          <dgm:chPref val="3"/>
        </dgm:presLayoutVars>
      </dgm:prSet>
      <dgm:spPr/>
    </dgm:pt>
    <dgm:pt modelId="{E40DD794-4E3C-4009-B357-94D69536E6F4}" type="pres">
      <dgm:prSet presAssocID="{16945C89-930D-4764-8730-4F183F8B4C87}" presName="level3hierChild" presStyleCnt="0"/>
      <dgm:spPr/>
    </dgm:pt>
    <dgm:pt modelId="{F9C34007-6CA8-4ABF-890A-47AA50B267EA}" type="pres">
      <dgm:prSet presAssocID="{858DE0EA-690E-49F0-9AFD-401C85E7FBB4}" presName="conn2-1" presStyleLbl="parChTrans1D3" presStyleIdx="9" presStyleCnt="10"/>
      <dgm:spPr/>
    </dgm:pt>
    <dgm:pt modelId="{D3331827-B92C-4419-96E8-793E8D653308}" type="pres">
      <dgm:prSet presAssocID="{858DE0EA-690E-49F0-9AFD-401C85E7FBB4}" presName="connTx" presStyleLbl="parChTrans1D3" presStyleIdx="9" presStyleCnt="10"/>
      <dgm:spPr/>
    </dgm:pt>
    <dgm:pt modelId="{9FBA0EDF-DFF1-4228-BD6C-29FFD841B413}" type="pres">
      <dgm:prSet presAssocID="{CA25E3C2-D53A-4DAC-A356-274163CFD791}" presName="root2" presStyleCnt="0"/>
      <dgm:spPr/>
    </dgm:pt>
    <dgm:pt modelId="{E51A201A-58C4-4839-BBF3-03A3D4BA1DE9}" type="pres">
      <dgm:prSet presAssocID="{CA25E3C2-D53A-4DAC-A356-274163CFD791}" presName="LevelTwoTextNode" presStyleLbl="node3" presStyleIdx="9" presStyleCnt="10">
        <dgm:presLayoutVars>
          <dgm:chPref val="3"/>
        </dgm:presLayoutVars>
      </dgm:prSet>
      <dgm:spPr/>
    </dgm:pt>
    <dgm:pt modelId="{E4E1A461-B02B-4354-8D34-5DF04939C4AC}" type="pres">
      <dgm:prSet presAssocID="{CA25E3C2-D53A-4DAC-A356-274163CFD791}" presName="level3hierChild" presStyleCnt="0"/>
      <dgm:spPr/>
    </dgm:pt>
  </dgm:ptLst>
  <dgm:cxnLst>
    <dgm:cxn modelId="{6A42BC00-DDC6-47EB-A1CB-E461CD9820FD}" type="presOf" srcId="{B3C6A11E-10F5-433C-A0FB-1B185A7D12E0}" destId="{739E7D1A-06FA-43F4-82B6-C5B799BDD12A}" srcOrd="1" destOrd="0" presId="urn:microsoft.com/office/officeart/2008/layout/HorizontalMultiLevelHierarchy"/>
    <dgm:cxn modelId="{2ED6F702-CE72-434F-A1BB-6BCE9E2DA2BA}" srcId="{434F1058-EF12-4590-BD43-496B2D33656A}" destId="{CF5B8EE4-D285-4E9D-BBB6-5F2F77DD4689}" srcOrd="1" destOrd="0" parTransId="{D937D902-C50B-4BEC-9C1F-D9880BCC701B}" sibTransId="{CADCD7D6-E889-4A66-B79B-3ACEEF43F075}"/>
    <dgm:cxn modelId="{35C72205-75AD-4836-A353-1A0A05F601B7}" type="presOf" srcId="{48CAF46E-7318-4269-B88D-4072C010818D}" destId="{571B8373-7DFF-4282-8AA6-80F7CC7EA7C8}" srcOrd="0" destOrd="0" presId="urn:microsoft.com/office/officeart/2008/layout/HorizontalMultiLevelHierarchy"/>
    <dgm:cxn modelId="{B8419706-D293-44F8-A5BF-071DA501D1C3}" type="presOf" srcId="{8ACEFE3D-DAAE-46D2-BF29-AF7B5FBB783D}" destId="{FCADF10C-D51C-403A-B095-E884F4771DA4}" srcOrd="1" destOrd="0" presId="urn:microsoft.com/office/officeart/2008/layout/HorizontalMultiLevelHierarchy"/>
    <dgm:cxn modelId="{A112C106-B21E-4F95-89F7-0D3BEDCA1632}" type="presOf" srcId="{0F1B911F-6353-4AE6-9EEF-D49625DE905E}" destId="{9458E52A-38CE-4EE6-A620-F703970B8164}" srcOrd="0" destOrd="0" presId="urn:microsoft.com/office/officeart/2008/layout/HorizontalMultiLevelHierarchy"/>
    <dgm:cxn modelId="{8446A509-270F-4D3B-89EF-435B1D412BDB}" type="presOf" srcId="{D937D902-C50B-4BEC-9C1F-D9880BCC701B}" destId="{313DC26C-06DB-4098-B605-33485EFC9B29}" srcOrd="0" destOrd="0" presId="urn:microsoft.com/office/officeart/2008/layout/HorizontalMultiLevelHierarchy"/>
    <dgm:cxn modelId="{F0DA410D-39AE-4CDE-A96D-4DBCFC233C7C}" type="presOf" srcId="{87CDD4F3-E71F-44A9-B515-E47672A849B6}" destId="{27874C32-AAAE-43E2-B803-B20B1E2D7450}" srcOrd="1" destOrd="0" presId="urn:microsoft.com/office/officeart/2008/layout/HorizontalMultiLevelHierarchy"/>
    <dgm:cxn modelId="{49027C13-60C7-4577-8E0D-34D35F65F784}" type="presOf" srcId="{16945C89-930D-4764-8730-4F183F8B4C87}" destId="{0CCC40AA-D80B-4B90-9188-E5CA017E63B0}" srcOrd="0" destOrd="0" presId="urn:microsoft.com/office/officeart/2008/layout/HorizontalMultiLevelHierarchy"/>
    <dgm:cxn modelId="{CDA45815-1784-47A7-87EB-A18294F174A6}" type="presOf" srcId="{CD6C8CAB-2DB8-4BEB-8794-D14E24B56239}" destId="{9E81B654-57F3-4178-8807-AB7AAC7BE08E}" srcOrd="0" destOrd="0" presId="urn:microsoft.com/office/officeart/2008/layout/HorizontalMultiLevelHierarchy"/>
    <dgm:cxn modelId="{FEC8D416-8216-4562-8549-24473B803C80}" srcId="{49A0BB83-CEA0-46AB-9D0B-B65F612AEE4A}" destId="{E0EC0A27-9EDB-47A4-8DED-CBD1A61B9BC9}" srcOrd="0" destOrd="0" parTransId="{42F96A8F-BB1E-4B89-AB8E-11A0F37EB1DB}" sibTransId="{C6050D19-3AE0-4870-8460-7297D5C8A50F}"/>
    <dgm:cxn modelId="{5782D41D-ECEA-499F-9D26-91E863B791BE}" type="presOf" srcId="{DA62F256-25CF-4854-BFCD-F90F70E5F8D4}" destId="{48D9A2E1-2598-4B00-AD73-86E6047DFB3F}" srcOrd="1" destOrd="0" presId="urn:microsoft.com/office/officeart/2008/layout/HorizontalMultiLevelHierarchy"/>
    <dgm:cxn modelId="{2F95D722-3985-45E4-9E5F-0F15FC8C1680}" type="presOf" srcId="{CF5B8EE4-D285-4E9D-BBB6-5F2F77DD4689}" destId="{49B6876F-A108-4FF0-9A81-E34DBB9D0BD7}" srcOrd="0" destOrd="0" presId="urn:microsoft.com/office/officeart/2008/layout/HorizontalMultiLevelHierarchy"/>
    <dgm:cxn modelId="{64FF5A2C-981D-4E3B-9D13-47B3852BF3E9}" type="presOf" srcId="{BB72E3E4-7E20-4FF3-87BE-AD24CB2F12EE}" destId="{6DCFD290-34D5-45FC-84C5-03B4A3AFAD52}" srcOrd="1" destOrd="0" presId="urn:microsoft.com/office/officeart/2008/layout/HorizontalMultiLevelHierarchy"/>
    <dgm:cxn modelId="{75353E2D-D5F4-4C4B-8BFF-3A25A17EC9FB}" srcId="{BF1B7062-91AB-4F1D-BD08-8D3EC4B33C1F}" destId="{48CAF46E-7318-4269-B88D-4072C010818D}" srcOrd="1" destOrd="0" parTransId="{81CB6F6D-48DA-416D-9426-0B6E4B5AD737}" sibTransId="{D0BFACD0-8F45-4F8C-9779-0AF1AE559907}"/>
    <dgm:cxn modelId="{0E885231-05A1-4118-83D8-9F076DDBEA1A}" type="presOf" srcId="{C7C06085-9DF0-469C-90B3-434C5E418A6D}" destId="{6D05A90F-5A8D-42F9-A2CB-82F28C0FF2BC}" srcOrd="0" destOrd="0" presId="urn:microsoft.com/office/officeart/2008/layout/HorizontalMultiLevelHierarchy"/>
    <dgm:cxn modelId="{5B99DD31-B3E6-465C-A8DB-0DF740AA5D7A}" srcId="{C1D130BE-4BC5-481C-BADA-14A869727C0B}" destId="{CA25E3C2-D53A-4DAC-A356-274163CFD791}" srcOrd="2" destOrd="0" parTransId="{858DE0EA-690E-49F0-9AFD-401C85E7FBB4}" sibTransId="{2D56470D-3197-4A03-90FE-5A65A52F7EFB}"/>
    <dgm:cxn modelId="{9486E231-E761-415A-A46A-B222DD3C9A89}" srcId="{96C9D5F4-FF4F-420D-8420-A926E166D7A2}" destId="{D0997319-AE2C-4C46-ADCB-BA43BE3F3F54}" srcOrd="0" destOrd="0" parTransId="{EDD69CBB-FC0D-413C-A203-D32C53DEA1CA}" sibTransId="{E975384C-827E-414A-AEB5-7C3391463B49}"/>
    <dgm:cxn modelId="{1222A638-0CF4-4D66-8E42-7794D8449649}" type="presOf" srcId="{3EC8FF9E-3113-473A-A5E5-ABD9C5F94794}" destId="{84D7F889-3498-48D8-ADC3-14251347C81B}" srcOrd="0" destOrd="0" presId="urn:microsoft.com/office/officeart/2008/layout/HorizontalMultiLevelHierarchy"/>
    <dgm:cxn modelId="{23DAEE42-3C32-4C83-A2A3-106A8D737507}" type="presOf" srcId="{AE65C2BF-225F-4643-AE59-9457E6820B24}" destId="{0C497864-2349-44C5-8D11-5F89748F0519}" srcOrd="1" destOrd="0" presId="urn:microsoft.com/office/officeart/2008/layout/HorizontalMultiLevelHierarchy"/>
    <dgm:cxn modelId="{0BE45343-E5ED-46E6-9E17-DA36296E3029}" srcId="{8E70AA8F-7583-4AFE-9EDE-87363894E1F8}" destId="{86A07196-5E8B-49B8-84A4-6DF135FCBFFC}" srcOrd="4" destOrd="0" parTransId="{D0F076D3-591F-4547-A436-4947EC5EA385}" sibTransId="{4B4DC438-D558-40CF-9151-49154A83FB16}"/>
    <dgm:cxn modelId="{3CE2794B-F419-4F40-BA80-F7E4E9B8CF58}" type="presOf" srcId="{0F1B911F-6353-4AE6-9EEF-D49625DE905E}" destId="{32DEAE14-947F-44E2-8D61-C101875AB07D}" srcOrd="1" destOrd="0" presId="urn:microsoft.com/office/officeart/2008/layout/HorizontalMultiLevelHierarchy"/>
    <dgm:cxn modelId="{41B7B24E-5BA1-4B2B-AC96-EBF5A4A1F03B}" type="presOf" srcId="{2C61C4AB-FC34-4364-9323-4A9D6350BA1C}" destId="{460E764F-BDF5-4D22-9B4D-16DC71F64CAC}" srcOrd="0" destOrd="0" presId="urn:microsoft.com/office/officeart/2008/layout/HorizontalMultiLevelHierarchy"/>
    <dgm:cxn modelId="{AA3E744F-10BA-4479-AF01-972C59BF3BCF}" type="presOf" srcId="{B164CB56-71EE-412E-A3A2-1509A3B08E05}" destId="{BE328E0A-C287-4B1A-BD90-C0F3098FFCD9}" srcOrd="0" destOrd="0" presId="urn:microsoft.com/office/officeart/2008/layout/HorizontalMultiLevelHierarchy"/>
    <dgm:cxn modelId="{464F8353-3A6D-43D6-B358-7ECC4F51C0BF}" type="presOf" srcId="{D0997319-AE2C-4C46-ADCB-BA43BE3F3F54}" destId="{DCF5B4EF-DE4F-4292-A3B2-724C163A44AB}" srcOrd="0" destOrd="0" presId="urn:microsoft.com/office/officeart/2008/layout/HorizontalMultiLevelHierarchy"/>
    <dgm:cxn modelId="{1A99FB53-EFA6-4851-937B-0604F7806F2F}" type="presOf" srcId="{434F1058-EF12-4590-BD43-496B2D33656A}" destId="{E077FA3E-A654-4D27-8616-5CDDA43F8AF6}" srcOrd="0" destOrd="0" presId="urn:microsoft.com/office/officeart/2008/layout/HorizontalMultiLevelHierarchy"/>
    <dgm:cxn modelId="{70378754-45CA-4C66-B5D5-B9C9C4EF8226}" type="presOf" srcId="{81CB6F6D-48DA-416D-9426-0B6E4B5AD737}" destId="{FD15021D-62B7-4A46-932A-654E778DB44B}" srcOrd="1" destOrd="0" presId="urn:microsoft.com/office/officeart/2008/layout/HorizontalMultiLevelHierarchy"/>
    <dgm:cxn modelId="{288CF456-3237-4FF7-BD86-048D8CA5EABD}" type="presOf" srcId="{17815460-B569-463A-BACE-734F709F874A}" destId="{CD37291B-5548-4F1B-8F2F-200AE5B0DCAE}" srcOrd="0" destOrd="0" presId="urn:microsoft.com/office/officeart/2008/layout/HorizontalMultiLevelHierarchy"/>
    <dgm:cxn modelId="{707B8E58-ABA5-4C9A-AFCF-298CB05D08DA}" srcId="{D0997319-AE2C-4C46-ADCB-BA43BE3F3F54}" destId="{8E70AA8F-7583-4AFE-9EDE-87363894E1F8}" srcOrd="0" destOrd="0" parTransId="{B164CB56-71EE-412E-A3A2-1509A3B08E05}" sibTransId="{50009256-33DA-4FAC-A050-2DE70DDCC26C}"/>
    <dgm:cxn modelId="{79AF8559-F7CD-44EF-8C13-1146412076CF}" type="presOf" srcId="{2C61C4AB-FC34-4364-9323-4A9D6350BA1C}" destId="{D2085E56-A00C-4E27-A4A7-A2743FEDF1B5}" srcOrd="1" destOrd="0" presId="urn:microsoft.com/office/officeart/2008/layout/HorizontalMultiLevelHierarchy"/>
    <dgm:cxn modelId="{BFB4B55A-7A59-4107-BBB3-3FFB27350CDD}" type="presOf" srcId="{8A26916C-03BF-4B0E-92AF-656A56CF8513}" destId="{C4365B06-B9DB-4064-B93F-1043BD4B58B2}" srcOrd="0" destOrd="0" presId="urn:microsoft.com/office/officeart/2008/layout/HorizontalMultiLevelHierarchy"/>
    <dgm:cxn modelId="{4C6F195C-0214-4CDA-A612-7D5235F062E8}" type="presOf" srcId="{DAFF3CB8-4780-4F42-8F5A-A2879CF5C5A6}" destId="{485D5E8B-1295-4B72-BF14-74B2BE7008EE}" srcOrd="0" destOrd="0" presId="urn:microsoft.com/office/officeart/2008/layout/HorizontalMultiLevelHierarchy"/>
    <dgm:cxn modelId="{3868705D-EADE-4179-913C-220656615F3B}" type="presOf" srcId="{CA25E3C2-D53A-4DAC-A356-274163CFD791}" destId="{E51A201A-58C4-4839-BBF3-03A3D4BA1DE9}" srcOrd="0" destOrd="0" presId="urn:microsoft.com/office/officeart/2008/layout/HorizontalMultiLevelHierarchy"/>
    <dgm:cxn modelId="{D6FED260-3C13-4D81-9786-0CA49E676F94}" type="presOf" srcId="{524ED0C4-9CC2-4C2A-B51C-974FA37A7FE7}" destId="{D9EA4352-69AB-4BEF-A3B8-25557C0E3D3D}" srcOrd="1" destOrd="0" presId="urn:microsoft.com/office/officeart/2008/layout/HorizontalMultiLevelHierarchy"/>
    <dgm:cxn modelId="{3679B762-699A-4AEB-956B-62A58B7F1948}" type="presOf" srcId="{23EDCDD5-F170-402F-A11E-15FD466C3CE5}" destId="{79D3B186-92E5-40C6-A995-4173A00C788D}" srcOrd="1" destOrd="0" presId="urn:microsoft.com/office/officeart/2008/layout/HorizontalMultiLevelHierarchy"/>
    <dgm:cxn modelId="{65A1D062-D707-4E05-848F-D1FC7D22343D}" type="presOf" srcId="{C1D130BE-4BC5-481C-BADA-14A869727C0B}" destId="{B3E59FB2-885F-4B71-9DC5-B6F45C8017DE}" srcOrd="0" destOrd="0" presId="urn:microsoft.com/office/officeart/2008/layout/HorizontalMultiLevelHierarchy"/>
    <dgm:cxn modelId="{218D7769-246E-4C78-8637-1FABBE9AA235}" type="presOf" srcId="{B164CB56-71EE-412E-A3A2-1509A3B08E05}" destId="{1EB559E9-DB95-4028-B960-01A592B99E92}" srcOrd="1" destOrd="0" presId="urn:microsoft.com/office/officeart/2008/layout/HorizontalMultiLevelHierarchy"/>
    <dgm:cxn modelId="{725FF76C-97C7-4E96-9DF4-060D491C229B}" type="presOf" srcId="{2FAED816-5ABD-44B8-9175-AD4921C3FE98}" destId="{43996E1E-6F52-4F8E-9F4B-77A56824C63C}" srcOrd="0" destOrd="0" presId="urn:microsoft.com/office/officeart/2008/layout/HorizontalMultiLevelHierarchy"/>
    <dgm:cxn modelId="{08C6FF6E-ED40-443D-B75C-6827A78AAE2F}" srcId="{C1D130BE-4BC5-481C-BADA-14A869727C0B}" destId="{CD6C8CAB-2DB8-4BEB-8794-D14E24B56239}" srcOrd="0" destOrd="0" parTransId="{503510FB-9E52-432E-98AC-FEF28CA55F0D}" sibTransId="{F6688289-1E3B-4C81-B097-4BC4F02DEEB1}"/>
    <dgm:cxn modelId="{59E12470-60E7-402D-AB70-780B62F88FFE}" type="presOf" srcId="{49A0BB83-CEA0-46AB-9D0B-B65F612AEE4A}" destId="{DC0B28EB-699E-45BB-87EC-30E574E72821}" srcOrd="0" destOrd="0" presId="urn:microsoft.com/office/officeart/2008/layout/HorizontalMultiLevelHierarchy"/>
    <dgm:cxn modelId="{4DFC2371-3525-4748-BBE7-8447590D404A}" type="presOf" srcId="{D0F076D3-591F-4547-A436-4947EC5EA385}" destId="{690E36EE-5895-4B91-A347-3380A5FE5255}" srcOrd="0" destOrd="0" presId="urn:microsoft.com/office/officeart/2008/layout/HorizontalMultiLevelHierarchy"/>
    <dgm:cxn modelId="{C6747171-AE68-4AE9-8919-6A36E0ACE2B0}" type="presOf" srcId="{81CB6F6D-48DA-416D-9426-0B6E4B5AD737}" destId="{8F0AA0AA-EF8D-43DE-82C5-2D7BFD08315F}" srcOrd="0" destOrd="0" presId="urn:microsoft.com/office/officeart/2008/layout/HorizontalMultiLevelHierarchy"/>
    <dgm:cxn modelId="{91124872-9F74-41C7-8C6A-D035370CD04A}" type="presOf" srcId="{858DE0EA-690E-49F0-9AFD-401C85E7FBB4}" destId="{F9C34007-6CA8-4ABF-890A-47AA50B267EA}" srcOrd="0" destOrd="0" presId="urn:microsoft.com/office/officeart/2008/layout/HorizontalMultiLevelHierarchy"/>
    <dgm:cxn modelId="{63723176-B8DC-4E93-B229-28FB65F16FAA}" type="presOf" srcId="{AE65C2BF-225F-4643-AE59-9457E6820B24}" destId="{5BC2DE1D-C4D7-4BFC-A0C1-3D282DC024CD}" srcOrd="0" destOrd="0" presId="urn:microsoft.com/office/officeart/2008/layout/HorizontalMultiLevelHierarchy"/>
    <dgm:cxn modelId="{AD49A77D-FFEC-46F9-AE75-9324F1652A36}" type="presOf" srcId="{4D897679-FA7C-48A2-A57F-5D0431886FF7}" destId="{F8A94DA1-2081-4A8B-816C-A9F98C2853F5}" srcOrd="0" destOrd="0" presId="urn:microsoft.com/office/officeart/2008/layout/HorizontalMultiLevelHierarchy"/>
    <dgm:cxn modelId="{21D8E081-3F51-4864-8D5D-F1BA8CEC852F}" srcId="{434F1058-EF12-4590-BD43-496B2D33656A}" destId="{4098A15D-6BE4-4258-B7C8-EC2A1354A4D6}" srcOrd="0" destOrd="0" parTransId="{DA62F256-25CF-4854-BFCD-F90F70E5F8D4}" sibTransId="{E1090322-3287-4D3C-A158-E43939F1FA7E}"/>
    <dgm:cxn modelId="{13B4BA82-E7EF-4FB5-98C9-D814F66B4BEF}" type="presOf" srcId="{ADED253C-6A2E-4631-B1D4-F5E1FE2B5B55}" destId="{9E59A063-5821-4E2B-8FD8-3EBA8922B98E}" srcOrd="0" destOrd="0" presId="urn:microsoft.com/office/officeart/2008/layout/HorizontalMultiLevelHierarchy"/>
    <dgm:cxn modelId="{93C58A86-3E38-4D08-BAE0-11418B22C1DB}" type="presOf" srcId="{8ACEFE3D-DAAE-46D2-BF29-AF7B5FBB783D}" destId="{A00DE1AA-92DF-4607-98DB-1C3BB048DCF5}" srcOrd="0" destOrd="0" presId="urn:microsoft.com/office/officeart/2008/layout/HorizontalMultiLevelHierarchy"/>
    <dgm:cxn modelId="{0B448A87-44AF-4367-8785-F0AC108ED2DD}" type="presOf" srcId="{4098A15D-6BE4-4258-B7C8-EC2A1354A4D6}" destId="{768C7647-12EF-40E9-94EB-C1868C4AFE59}" srcOrd="0" destOrd="0" presId="urn:microsoft.com/office/officeart/2008/layout/HorizontalMultiLevelHierarchy"/>
    <dgm:cxn modelId="{605CDB89-2698-4157-8E1F-4D6677C6D46F}" type="presOf" srcId="{4DA8AE24-A75C-40AE-A6A1-13FE57AE449D}" destId="{A732D3F1-1291-409E-9A7C-778CAE167F89}" srcOrd="0" destOrd="0" presId="urn:microsoft.com/office/officeart/2008/layout/HorizontalMultiLevelHierarchy"/>
    <dgm:cxn modelId="{82D60E8A-40D3-49BC-895D-3DAB17D8AD62}" type="presOf" srcId="{96C9D5F4-FF4F-420D-8420-A926E166D7A2}" destId="{50C4D88C-9CB0-4513-8456-755395491158}" srcOrd="0" destOrd="0" presId="urn:microsoft.com/office/officeart/2008/layout/HorizontalMultiLevelHierarchy"/>
    <dgm:cxn modelId="{EB6A4F8B-0076-4AA0-A81D-3E41E4C53187}" type="presOf" srcId="{8A26916C-03BF-4B0E-92AF-656A56CF8513}" destId="{0336C92A-933C-4B9A-8AAD-80A8DB51CB00}" srcOrd="1" destOrd="0" presId="urn:microsoft.com/office/officeart/2008/layout/HorizontalMultiLevelHierarchy"/>
    <dgm:cxn modelId="{4BDF838B-A489-4DE6-9003-7CF5CCBF8353}" srcId="{8E70AA8F-7583-4AFE-9EDE-87363894E1F8}" destId="{2FAED816-5ABD-44B8-9175-AD4921C3FE98}" srcOrd="3" destOrd="0" parTransId="{2C61C4AB-FC34-4364-9323-4A9D6350BA1C}" sibTransId="{4827AEAC-F6B1-4792-BB11-A609080D91CA}"/>
    <dgm:cxn modelId="{C77F5C8D-F4DE-4573-9FDE-EBB2F5F469F1}" type="presOf" srcId="{D0F076D3-591F-4547-A436-4947EC5EA385}" destId="{ADBE13F2-10FA-4B06-99C7-09C6712A7646}" srcOrd="1" destOrd="0" presId="urn:microsoft.com/office/officeart/2008/layout/HorizontalMultiLevelHierarchy"/>
    <dgm:cxn modelId="{C3BFF295-2D54-481B-947E-4480284A189F}" type="presOf" srcId="{31BDA904-A9EF-437C-9DAF-E5BDF8C1106E}" destId="{FAF45787-F807-4BB6-923D-0C0E2CD8C149}" srcOrd="0" destOrd="0" presId="urn:microsoft.com/office/officeart/2008/layout/HorizontalMultiLevelHierarchy"/>
    <dgm:cxn modelId="{99BBE096-3DF3-4255-89AC-24F727FF2F6A}" type="presOf" srcId="{42F96A8F-BB1E-4B89-AB8E-11A0F37EB1DB}" destId="{7F2C676C-E906-4B26-892E-C728B9239429}" srcOrd="0" destOrd="0" presId="urn:microsoft.com/office/officeart/2008/layout/HorizontalMultiLevelHierarchy"/>
    <dgm:cxn modelId="{3661A398-6699-493C-A604-957A73E01291}" type="presOf" srcId="{17815460-B569-463A-BACE-734F709F874A}" destId="{D4121B60-61D6-41A4-AAB9-DE9671C8ED2F}" srcOrd="1" destOrd="0" presId="urn:microsoft.com/office/officeart/2008/layout/HorizontalMultiLevelHierarchy"/>
    <dgm:cxn modelId="{3334C099-BCC2-4024-88CF-D77B492D91C8}" type="presOf" srcId="{BB72E3E4-7E20-4FF3-87BE-AD24CB2F12EE}" destId="{A4E05C94-2209-4BF4-B627-606397BBC1C5}" srcOrd="0" destOrd="0" presId="urn:microsoft.com/office/officeart/2008/layout/HorizontalMultiLevelHierarchy"/>
    <dgm:cxn modelId="{FA7F7B9B-BCD6-48E4-84B7-A00266E14053}" type="presOf" srcId="{B3C6A11E-10F5-433C-A0FB-1B185A7D12E0}" destId="{1CD57466-73E5-43BB-AF51-980153E8039A}" srcOrd="0" destOrd="0" presId="urn:microsoft.com/office/officeart/2008/layout/HorizontalMultiLevelHierarchy"/>
    <dgm:cxn modelId="{E07BE79E-7865-47DB-84AF-7F7057F85761}" type="presOf" srcId="{8E70AA8F-7583-4AFE-9EDE-87363894E1F8}" destId="{49ADAAAB-354D-4968-9DE9-378E6595E5BB}" srcOrd="0" destOrd="0" presId="urn:microsoft.com/office/officeart/2008/layout/HorizontalMultiLevelHierarchy"/>
    <dgm:cxn modelId="{9E137BA1-2E21-43A2-A338-650B162A3662}" srcId="{D0997319-AE2C-4C46-ADCB-BA43BE3F3F54}" destId="{434F1058-EF12-4590-BD43-496B2D33656A}" srcOrd="1" destOrd="0" parTransId="{17815460-B569-463A-BACE-734F709F874A}" sibTransId="{BC8F1DC2-66B6-4B6F-BD02-84C41DB8AF5C}"/>
    <dgm:cxn modelId="{C996C3A8-B8F4-411F-B641-37F469185B57}" type="presOf" srcId="{524ED0C4-9CC2-4C2A-B51C-974FA37A7FE7}" destId="{C5F46441-018D-4AD0-9984-278FB6B3653F}" srcOrd="0" destOrd="0" presId="urn:microsoft.com/office/officeart/2008/layout/HorizontalMultiLevelHierarchy"/>
    <dgm:cxn modelId="{449FB1AA-FE60-423F-AD7C-959A05592410}" type="presOf" srcId="{858DE0EA-690E-49F0-9AFD-401C85E7FBB4}" destId="{D3331827-B92C-4419-96E8-793E8D653308}" srcOrd="1" destOrd="0" presId="urn:microsoft.com/office/officeart/2008/layout/HorizontalMultiLevelHierarchy"/>
    <dgm:cxn modelId="{00DC05AB-0E87-4D69-9934-9D14BE1C2731}" type="presOf" srcId="{503510FB-9E52-432E-98AC-FEF28CA55F0D}" destId="{60A0F5E7-D1D3-49F8-A254-CFFCBE54AAF0}" srcOrd="0" destOrd="0" presId="urn:microsoft.com/office/officeart/2008/layout/HorizontalMultiLevelHierarchy"/>
    <dgm:cxn modelId="{540F67B5-7CE8-4325-88C3-2ECA7ED151B5}" type="presOf" srcId="{E0EC0A27-9EDB-47A4-8DED-CBD1A61B9BC9}" destId="{81473451-3FF3-474B-98FB-6869E5682468}" srcOrd="0" destOrd="0" presId="urn:microsoft.com/office/officeart/2008/layout/HorizontalMultiLevelHierarchy"/>
    <dgm:cxn modelId="{7DC022B6-EC7E-4248-8376-A4A4C0054F1A}" type="presOf" srcId="{503510FB-9E52-432E-98AC-FEF28CA55F0D}" destId="{3325D373-008A-41E8-9EA1-B4B0FC90FCD2}" srcOrd="1" destOrd="0" presId="urn:microsoft.com/office/officeart/2008/layout/HorizontalMultiLevelHierarchy"/>
    <dgm:cxn modelId="{5EE5F9B8-E535-490A-81D6-FE6068C5F94F}" type="presOf" srcId="{86A07196-5E8B-49B8-84A4-6DF135FCBFFC}" destId="{6E154881-954A-429F-9BBE-E92EEB4B1011}" srcOrd="0" destOrd="0" presId="urn:microsoft.com/office/officeart/2008/layout/HorizontalMultiLevelHierarchy"/>
    <dgm:cxn modelId="{21BC0ABF-D33B-4704-99A0-AC6C60960517}" type="presOf" srcId="{87CDD4F3-E71F-44A9-B515-E47672A849B6}" destId="{329CD9E0-9945-40C9-89A5-5929AA1A3A82}" srcOrd="0" destOrd="0" presId="urn:microsoft.com/office/officeart/2008/layout/HorizontalMultiLevelHierarchy"/>
    <dgm:cxn modelId="{626342BF-3559-4137-A851-ACB1710B13E3}" srcId="{8E70AA8F-7583-4AFE-9EDE-87363894E1F8}" destId="{BF1B7062-91AB-4F1D-BD08-8D3EC4B33C1F}" srcOrd="0" destOrd="0" parTransId="{8ACEFE3D-DAAE-46D2-BF29-AF7B5FBB783D}" sibTransId="{0FF6A2D2-189B-4085-A91C-E4641E47ACCE}"/>
    <dgm:cxn modelId="{221AD8BF-6539-43E4-9EB1-23AF138D0EE2}" srcId="{D0997319-AE2C-4C46-ADCB-BA43BE3F3F54}" destId="{C1D130BE-4BC5-481C-BADA-14A869727C0B}" srcOrd="2" destOrd="0" parTransId="{8A26916C-03BF-4B0E-92AF-656A56CF8513}" sibTransId="{4F4BE6FE-AE34-4934-8B0D-8FDF04C5765F}"/>
    <dgm:cxn modelId="{25BD37C3-2196-49F3-AD2A-B163574CADC5}" type="presOf" srcId="{42F96A8F-BB1E-4B89-AB8E-11A0F37EB1DB}" destId="{F614A676-E312-4A6F-BE9F-B6E2993177B6}" srcOrd="1" destOrd="0" presId="urn:microsoft.com/office/officeart/2008/layout/HorizontalMultiLevelHierarchy"/>
    <dgm:cxn modelId="{06533EC6-3B33-4FE2-B092-DBD1E23AB973}" type="presOf" srcId="{2DCC687C-BE9B-4DD8-8A80-E970635437CA}" destId="{2B4072C3-2623-4EA4-94B7-025A9DCD72E9}" srcOrd="0" destOrd="0" presId="urn:microsoft.com/office/officeart/2008/layout/HorizontalMultiLevelHierarchy"/>
    <dgm:cxn modelId="{0419F4C6-C72F-44E5-856A-7A5E20A609B0}" srcId="{8E70AA8F-7583-4AFE-9EDE-87363894E1F8}" destId="{49A0BB83-CEA0-46AB-9D0B-B65F612AEE4A}" srcOrd="1" destOrd="0" parTransId="{AE65C2BF-225F-4643-AE59-9457E6820B24}" sibTransId="{2328B74F-4929-49C4-A401-C9585D838753}"/>
    <dgm:cxn modelId="{FA31A5C7-F378-42C8-A9AD-F864553E6C8E}" type="presOf" srcId="{23EDCDD5-F170-402F-A11E-15FD466C3CE5}" destId="{709C936E-7E65-4B5A-AC40-4548A25152AC}" srcOrd="0" destOrd="0" presId="urn:microsoft.com/office/officeart/2008/layout/HorizontalMultiLevelHierarchy"/>
    <dgm:cxn modelId="{19B9B5C9-B669-4991-9912-383473355532}" type="presOf" srcId="{33587DE4-8F92-4CA4-A011-892138D47DA7}" destId="{8F47A465-73D6-48E5-83FD-F149301C3BBD}" srcOrd="0" destOrd="0" presId="urn:microsoft.com/office/officeart/2008/layout/HorizontalMultiLevelHierarchy"/>
    <dgm:cxn modelId="{587DEAC9-60C3-45DB-9C9F-C26256D35C0F}" srcId="{C1D130BE-4BC5-481C-BADA-14A869727C0B}" destId="{16945C89-930D-4764-8730-4F183F8B4C87}" srcOrd="1" destOrd="0" parTransId="{B3C6A11E-10F5-433C-A0FB-1B185A7D12E0}" sibTransId="{5C8BCF49-4277-47C2-9543-A10467E88E20}"/>
    <dgm:cxn modelId="{EDD069CE-E724-4C0A-92C6-2204B289CF24}" type="presOf" srcId="{DA62F256-25CF-4854-BFCD-F90F70E5F8D4}" destId="{037062E2-BE96-4A8B-9D2F-1FA0857207C1}" srcOrd="0" destOrd="0" presId="urn:microsoft.com/office/officeart/2008/layout/HorizontalMultiLevelHierarchy"/>
    <dgm:cxn modelId="{46C105CF-449F-4F1C-B399-CE70EC74C4C8}" srcId="{BF1B7062-91AB-4F1D-BD08-8D3EC4B33C1F}" destId="{D11BAA21-3D0E-4BFE-97F1-F349F96BB7F2}" srcOrd="3" destOrd="0" parTransId="{524ED0C4-9CC2-4C2A-B51C-974FA37A7FE7}" sibTransId="{632B7E11-8BCB-44BB-80A1-C58DA59BDECF}"/>
    <dgm:cxn modelId="{4A7380CF-8162-4F2E-9F90-B51642631E94}" srcId="{49A0BB83-CEA0-46AB-9D0B-B65F612AEE4A}" destId="{C1F68F19-94EA-4970-A79B-863E823848E5}" srcOrd="2" destOrd="0" parTransId="{0F1B911F-6353-4AE6-9EEF-D49625DE905E}" sibTransId="{60DB14D8-838D-4A63-A334-C12EB1C7625D}"/>
    <dgm:cxn modelId="{983AD7DE-4E8D-496F-BCB8-C95CB034A01D}" type="presOf" srcId="{C7C06085-9DF0-469C-90B3-434C5E418A6D}" destId="{799FD5E4-5D76-4338-BDA8-9F7F790A3A29}" srcOrd="1" destOrd="0" presId="urn:microsoft.com/office/officeart/2008/layout/HorizontalMultiLevelHierarchy"/>
    <dgm:cxn modelId="{C5BE0DE1-3793-4C23-A900-78112F2919D4}" srcId="{8E70AA8F-7583-4AFE-9EDE-87363894E1F8}" destId="{DAFF3CB8-4780-4F42-8F5A-A2879CF5C5A6}" srcOrd="2" destOrd="0" parTransId="{BB72E3E4-7E20-4FF3-87BE-AD24CB2F12EE}" sibTransId="{1E1C3655-4299-4282-B808-C53E3FABF68D}"/>
    <dgm:cxn modelId="{32BA70E3-2B88-4E2B-9094-EE86858857DA}" srcId="{BF1B7062-91AB-4F1D-BD08-8D3EC4B33C1F}" destId="{33587DE4-8F92-4CA4-A011-892138D47DA7}" srcOrd="4" destOrd="0" parTransId="{31BDA904-A9EF-437C-9DAF-E5BDF8C1106E}" sibTransId="{359CEDC3-C134-4529-AEBB-BBDE1EA7D255}"/>
    <dgm:cxn modelId="{870D94E8-9751-454A-BABA-EA45EF84CC1C}" type="presOf" srcId="{C1F68F19-94EA-4970-A79B-863E823848E5}" destId="{42C465EB-33D9-4AD2-A33B-930C8E39ED41}" srcOrd="0" destOrd="0" presId="urn:microsoft.com/office/officeart/2008/layout/HorizontalMultiLevelHierarchy"/>
    <dgm:cxn modelId="{B7674FEE-4F81-43E5-A853-47CF1B66D2AD}" type="presOf" srcId="{BF1B7062-91AB-4F1D-BD08-8D3EC4B33C1F}" destId="{F9F18759-F577-4686-9C34-EB964D732C77}" srcOrd="0" destOrd="0" presId="urn:microsoft.com/office/officeart/2008/layout/HorizontalMultiLevelHierarchy"/>
    <dgm:cxn modelId="{8D6DF9EE-A2D8-412C-887B-0C054D51DFA0}" type="presOf" srcId="{2DCC687C-BE9B-4DD8-8A80-E970635437CA}" destId="{7260B369-A7E2-44EA-98FE-B408D79B13A6}" srcOrd="1" destOrd="0" presId="urn:microsoft.com/office/officeart/2008/layout/HorizontalMultiLevelHierarchy"/>
    <dgm:cxn modelId="{7CDA6FEF-3872-4337-84FA-0DD423E0FBC5}" srcId="{BF1B7062-91AB-4F1D-BD08-8D3EC4B33C1F}" destId="{ADED253C-6A2E-4631-B1D4-F5E1FE2B5B55}" srcOrd="2" destOrd="0" parTransId="{23EDCDD5-F170-402F-A11E-15FD466C3CE5}" sibTransId="{074D77D4-B07D-447C-B97C-356C65F95759}"/>
    <dgm:cxn modelId="{F4D4E3EF-4C7A-4DD4-B693-2A68087757F8}" srcId="{49A0BB83-CEA0-46AB-9D0B-B65F612AEE4A}" destId="{4DA8AE24-A75C-40AE-A6A1-13FE57AE449D}" srcOrd="1" destOrd="0" parTransId="{2DCC687C-BE9B-4DD8-8A80-E970635437CA}" sibTransId="{DF4C3ABC-A688-4048-91A3-DFE9CE606182}"/>
    <dgm:cxn modelId="{0A8FCBF8-AD1F-4CF4-8568-2F5CBABA5157}" srcId="{49A0BB83-CEA0-46AB-9D0B-B65F612AEE4A}" destId="{3EC8FF9E-3113-473A-A5E5-ABD9C5F94794}" srcOrd="3" destOrd="0" parTransId="{87CDD4F3-E71F-44A9-B515-E47672A849B6}" sibTransId="{25369813-4686-4B37-9746-915D5E2ABB1B}"/>
    <dgm:cxn modelId="{2279FAFA-FB88-4C2D-B0C1-6B2ACC4BBF39}" type="presOf" srcId="{D937D902-C50B-4BEC-9C1F-D9880BCC701B}" destId="{30A455D9-9D31-498C-B006-B59A4D0FAC39}" srcOrd="1" destOrd="0" presId="urn:microsoft.com/office/officeart/2008/layout/HorizontalMultiLevelHierarchy"/>
    <dgm:cxn modelId="{A3A0BCFB-D8D9-4632-B5AB-CF4EFA2E3C41}" srcId="{BF1B7062-91AB-4F1D-BD08-8D3EC4B33C1F}" destId="{4D897679-FA7C-48A2-A57F-5D0431886FF7}" srcOrd="0" destOrd="0" parTransId="{C7C06085-9DF0-469C-90B3-434C5E418A6D}" sibTransId="{D55B2488-3E22-41F8-99B8-F1276460587D}"/>
    <dgm:cxn modelId="{6B84BBFC-A091-4525-A53A-310AE57146D4}" type="presOf" srcId="{D11BAA21-3D0E-4BFE-97F1-F349F96BB7F2}" destId="{E35C2840-DB93-493D-B275-166B0E0C4A9D}" srcOrd="0" destOrd="0" presId="urn:microsoft.com/office/officeart/2008/layout/HorizontalMultiLevelHierarchy"/>
    <dgm:cxn modelId="{BC1D60FE-A17A-4459-A412-7BD781EE41A1}" type="presOf" srcId="{31BDA904-A9EF-437C-9DAF-E5BDF8C1106E}" destId="{8B0AB1CA-7D19-4139-820F-FBEA5B4373F8}" srcOrd="1" destOrd="0" presId="urn:microsoft.com/office/officeart/2008/layout/HorizontalMultiLevelHierarchy"/>
    <dgm:cxn modelId="{3E8C5480-73D9-4EE3-932D-82721BB1E7B2}" type="presParOf" srcId="{50C4D88C-9CB0-4513-8456-755395491158}" destId="{506FBA0B-6598-4404-B87A-56869B8718E3}" srcOrd="0" destOrd="0" presId="urn:microsoft.com/office/officeart/2008/layout/HorizontalMultiLevelHierarchy"/>
    <dgm:cxn modelId="{AD087DA0-5EB4-49EE-82D3-F6C47200DD79}" type="presParOf" srcId="{506FBA0B-6598-4404-B87A-56869B8718E3}" destId="{DCF5B4EF-DE4F-4292-A3B2-724C163A44AB}" srcOrd="0" destOrd="0" presId="urn:microsoft.com/office/officeart/2008/layout/HorizontalMultiLevelHierarchy"/>
    <dgm:cxn modelId="{AD864577-5B7E-4328-AC26-287C80C6BEA3}" type="presParOf" srcId="{506FBA0B-6598-4404-B87A-56869B8718E3}" destId="{7E8A6FC8-F240-4C27-8F75-0549E9D1CE4E}" srcOrd="1" destOrd="0" presId="urn:microsoft.com/office/officeart/2008/layout/HorizontalMultiLevelHierarchy"/>
    <dgm:cxn modelId="{0D5824EC-96D2-4284-930C-3DC3234577D3}" type="presParOf" srcId="{7E8A6FC8-F240-4C27-8F75-0549E9D1CE4E}" destId="{BE328E0A-C287-4B1A-BD90-C0F3098FFCD9}" srcOrd="0" destOrd="0" presId="urn:microsoft.com/office/officeart/2008/layout/HorizontalMultiLevelHierarchy"/>
    <dgm:cxn modelId="{FF3EDB3F-3E5D-484F-B7EB-2D9D119CC084}" type="presParOf" srcId="{BE328E0A-C287-4B1A-BD90-C0F3098FFCD9}" destId="{1EB559E9-DB95-4028-B960-01A592B99E92}" srcOrd="0" destOrd="0" presId="urn:microsoft.com/office/officeart/2008/layout/HorizontalMultiLevelHierarchy"/>
    <dgm:cxn modelId="{6E796F25-24CC-4F5D-8AB9-96C968A94D86}" type="presParOf" srcId="{7E8A6FC8-F240-4C27-8F75-0549E9D1CE4E}" destId="{9893F228-CFAA-415F-97D9-8C8EA9FB1BC5}" srcOrd="1" destOrd="0" presId="urn:microsoft.com/office/officeart/2008/layout/HorizontalMultiLevelHierarchy"/>
    <dgm:cxn modelId="{F5FE272E-5A1A-4232-A41E-5E8F96E754E7}" type="presParOf" srcId="{9893F228-CFAA-415F-97D9-8C8EA9FB1BC5}" destId="{49ADAAAB-354D-4968-9DE9-378E6595E5BB}" srcOrd="0" destOrd="0" presId="urn:microsoft.com/office/officeart/2008/layout/HorizontalMultiLevelHierarchy"/>
    <dgm:cxn modelId="{480D07D8-1F1B-4569-80CC-321A6295D639}" type="presParOf" srcId="{9893F228-CFAA-415F-97D9-8C8EA9FB1BC5}" destId="{46E2FE2A-A747-4DEE-AAF5-53A8EE84B06B}" srcOrd="1" destOrd="0" presId="urn:microsoft.com/office/officeart/2008/layout/HorizontalMultiLevelHierarchy"/>
    <dgm:cxn modelId="{50D16AF4-5755-49CA-8CD2-80B55C410D0F}" type="presParOf" srcId="{46E2FE2A-A747-4DEE-AAF5-53A8EE84B06B}" destId="{A00DE1AA-92DF-4607-98DB-1C3BB048DCF5}" srcOrd="0" destOrd="0" presId="urn:microsoft.com/office/officeart/2008/layout/HorizontalMultiLevelHierarchy"/>
    <dgm:cxn modelId="{431D5585-68BC-402E-A1E8-6AA95F6C7608}" type="presParOf" srcId="{A00DE1AA-92DF-4607-98DB-1C3BB048DCF5}" destId="{FCADF10C-D51C-403A-B095-E884F4771DA4}" srcOrd="0" destOrd="0" presId="urn:microsoft.com/office/officeart/2008/layout/HorizontalMultiLevelHierarchy"/>
    <dgm:cxn modelId="{15D334E0-0A38-4F4E-ADC1-2877693952AA}" type="presParOf" srcId="{46E2FE2A-A747-4DEE-AAF5-53A8EE84B06B}" destId="{82114EE1-887C-431E-AFFD-6C4277E5953D}" srcOrd="1" destOrd="0" presId="urn:microsoft.com/office/officeart/2008/layout/HorizontalMultiLevelHierarchy"/>
    <dgm:cxn modelId="{8C9D2DBB-76FF-4B29-A8BF-76E1595D5F7B}" type="presParOf" srcId="{82114EE1-887C-431E-AFFD-6C4277E5953D}" destId="{F9F18759-F577-4686-9C34-EB964D732C77}" srcOrd="0" destOrd="0" presId="urn:microsoft.com/office/officeart/2008/layout/HorizontalMultiLevelHierarchy"/>
    <dgm:cxn modelId="{24FAD8B7-4C36-4713-89C8-0B0C5F8DE428}" type="presParOf" srcId="{82114EE1-887C-431E-AFFD-6C4277E5953D}" destId="{54BDE115-2A0C-4217-89B4-E7E8586234DB}" srcOrd="1" destOrd="0" presId="urn:microsoft.com/office/officeart/2008/layout/HorizontalMultiLevelHierarchy"/>
    <dgm:cxn modelId="{3D372E14-A8FD-44D7-8131-FA6D9CF22B67}" type="presParOf" srcId="{54BDE115-2A0C-4217-89B4-E7E8586234DB}" destId="{6D05A90F-5A8D-42F9-A2CB-82F28C0FF2BC}" srcOrd="0" destOrd="0" presId="urn:microsoft.com/office/officeart/2008/layout/HorizontalMultiLevelHierarchy"/>
    <dgm:cxn modelId="{F40CABF1-22E9-41F5-8B23-F27E5206AE95}" type="presParOf" srcId="{6D05A90F-5A8D-42F9-A2CB-82F28C0FF2BC}" destId="{799FD5E4-5D76-4338-BDA8-9F7F790A3A29}" srcOrd="0" destOrd="0" presId="urn:microsoft.com/office/officeart/2008/layout/HorizontalMultiLevelHierarchy"/>
    <dgm:cxn modelId="{DFBDF78B-1D23-455B-94D1-7FEC00C888AD}" type="presParOf" srcId="{54BDE115-2A0C-4217-89B4-E7E8586234DB}" destId="{1C875D8C-6779-45C7-9DF1-E38374A18533}" srcOrd="1" destOrd="0" presId="urn:microsoft.com/office/officeart/2008/layout/HorizontalMultiLevelHierarchy"/>
    <dgm:cxn modelId="{00ED9729-0AF6-4E65-A263-4A217F294ED2}" type="presParOf" srcId="{1C875D8C-6779-45C7-9DF1-E38374A18533}" destId="{F8A94DA1-2081-4A8B-816C-A9F98C2853F5}" srcOrd="0" destOrd="0" presId="urn:microsoft.com/office/officeart/2008/layout/HorizontalMultiLevelHierarchy"/>
    <dgm:cxn modelId="{44FDD24A-6CFB-46B1-BEB2-69DCD38B52E4}" type="presParOf" srcId="{1C875D8C-6779-45C7-9DF1-E38374A18533}" destId="{BE78AA36-14CC-406D-9CAF-F23AD3DFDFED}" srcOrd="1" destOrd="0" presId="urn:microsoft.com/office/officeart/2008/layout/HorizontalMultiLevelHierarchy"/>
    <dgm:cxn modelId="{944A07B4-171F-46FD-9A9A-D9F32623A61F}" type="presParOf" srcId="{54BDE115-2A0C-4217-89B4-E7E8586234DB}" destId="{8F0AA0AA-EF8D-43DE-82C5-2D7BFD08315F}" srcOrd="2" destOrd="0" presId="urn:microsoft.com/office/officeart/2008/layout/HorizontalMultiLevelHierarchy"/>
    <dgm:cxn modelId="{8E6E216A-B20D-4FF2-9976-6A4AD97AA5AD}" type="presParOf" srcId="{8F0AA0AA-EF8D-43DE-82C5-2D7BFD08315F}" destId="{FD15021D-62B7-4A46-932A-654E778DB44B}" srcOrd="0" destOrd="0" presId="urn:microsoft.com/office/officeart/2008/layout/HorizontalMultiLevelHierarchy"/>
    <dgm:cxn modelId="{35774EDF-2194-4938-91A1-C2CF1298126D}" type="presParOf" srcId="{54BDE115-2A0C-4217-89B4-E7E8586234DB}" destId="{92C6DF90-94C7-417B-A0B7-472D3330DFC6}" srcOrd="3" destOrd="0" presId="urn:microsoft.com/office/officeart/2008/layout/HorizontalMultiLevelHierarchy"/>
    <dgm:cxn modelId="{62003EF5-E134-419F-A088-B5DDC40A2688}" type="presParOf" srcId="{92C6DF90-94C7-417B-A0B7-472D3330DFC6}" destId="{571B8373-7DFF-4282-8AA6-80F7CC7EA7C8}" srcOrd="0" destOrd="0" presId="urn:microsoft.com/office/officeart/2008/layout/HorizontalMultiLevelHierarchy"/>
    <dgm:cxn modelId="{E322A04F-806C-4932-A9A0-D0423C9769E7}" type="presParOf" srcId="{92C6DF90-94C7-417B-A0B7-472D3330DFC6}" destId="{2E395B4D-D351-4809-A97B-BD1545D151D6}" srcOrd="1" destOrd="0" presId="urn:microsoft.com/office/officeart/2008/layout/HorizontalMultiLevelHierarchy"/>
    <dgm:cxn modelId="{F777DE2D-E80D-4EA4-B833-A3841CA97B4B}" type="presParOf" srcId="{54BDE115-2A0C-4217-89B4-E7E8586234DB}" destId="{709C936E-7E65-4B5A-AC40-4548A25152AC}" srcOrd="4" destOrd="0" presId="urn:microsoft.com/office/officeart/2008/layout/HorizontalMultiLevelHierarchy"/>
    <dgm:cxn modelId="{32E88D2B-0DC3-47DF-8E3C-D73500CC12ED}" type="presParOf" srcId="{709C936E-7E65-4B5A-AC40-4548A25152AC}" destId="{79D3B186-92E5-40C6-A995-4173A00C788D}" srcOrd="0" destOrd="0" presId="urn:microsoft.com/office/officeart/2008/layout/HorizontalMultiLevelHierarchy"/>
    <dgm:cxn modelId="{3F754718-EE57-49C1-BB11-DB71B1789707}" type="presParOf" srcId="{54BDE115-2A0C-4217-89B4-E7E8586234DB}" destId="{288D4D72-A885-421E-B53B-89BEC0A8E191}" srcOrd="5" destOrd="0" presId="urn:microsoft.com/office/officeart/2008/layout/HorizontalMultiLevelHierarchy"/>
    <dgm:cxn modelId="{7057AA4D-B137-41ED-BB23-97CC6A463ECC}" type="presParOf" srcId="{288D4D72-A885-421E-B53B-89BEC0A8E191}" destId="{9E59A063-5821-4E2B-8FD8-3EBA8922B98E}" srcOrd="0" destOrd="0" presId="urn:microsoft.com/office/officeart/2008/layout/HorizontalMultiLevelHierarchy"/>
    <dgm:cxn modelId="{B1430112-47C7-421A-A831-AD9432EA9447}" type="presParOf" srcId="{288D4D72-A885-421E-B53B-89BEC0A8E191}" destId="{A60165E3-8C06-4086-B11F-0E702421E440}" srcOrd="1" destOrd="0" presId="urn:microsoft.com/office/officeart/2008/layout/HorizontalMultiLevelHierarchy"/>
    <dgm:cxn modelId="{4606825E-DF7B-4A4B-970B-90A4366FCD75}" type="presParOf" srcId="{54BDE115-2A0C-4217-89B4-E7E8586234DB}" destId="{C5F46441-018D-4AD0-9984-278FB6B3653F}" srcOrd="6" destOrd="0" presId="urn:microsoft.com/office/officeart/2008/layout/HorizontalMultiLevelHierarchy"/>
    <dgm:cxn modelId="{2195A6B6-C0E7-4925-B522-ECD20392777B}" type="presParOf" srcId="{C5F46441-018D-4AD0-9984-278FB6B3653F}" destId="{D9EA4352-69AB-4BEF-A3B8-25557C0E3D3D}" srcOrd="0" destOrd="0" presId="urn:microsoft.com/office/officeart/2008/layout/HorizontalMultiLevelHierarchy"/>
    <dgm:cxn modelId="{76A9F908-999F-4A91-9814-EDE65165187B}" type="presParOf" srcId="{54BDE115-2A0C-4217-89B4-E7E8586234DB}" destId="{0E92266F-6127-4D65-BB11-33FD467F105D}" srcOrd="7" destOrd="0" presId="urn:microsoft.com/office/officeart/2008/layout/HorizontalMultiLevelHierarchy"/>
    <dgm:cxn modelId="{F306A3C1-7973-4F7A-943B-6ADCD306A7F6}" type="presParOf" srcId="{0E92266F-6127-4D65-BB11-33FD467F105D}" destId="{E35C2840-DB93-493D-B275-166B0E0C4A9D}" srcOrd="0" destOrd="0" presId="urn:microsoft.com/office/officeart/2008/layout/HorizontalMultiLevelHierarchy"/>
    <dgm:cxn modelId="{A835B48E-3A8E-4008-A8CE-A71601018F84}" type="presParOf" srcId="{0E92266F-6127-4D65-BB11-33FD467F105D}" destId="{D8A053A6-8CD3-465F-9ECC-7C0D113893EE}" srcOrd="1" destOrd="0" presId="urn:microsoft.com/office/officeart/2008/layout/HorizontalMultiLevelHierarchy"/>
    <dgm:cxn modelId="{8D24C396-9E55-4005-8D86-DB4BF7EBCB4D}" type="presParOf" srcId="{54BDE115-2A0C-4217-89B4-E7E8586234DB}" destId="{FAF45787-F807-4BB6-923D-0C0E2CD8C149}" srcOrd="8" destOrd="0" presId="urn:microsoft.com/office/officeart/2008/layout/HorizontalMultiLevelHierarchy"/>
    <dgm:cxn modelId="{B8C3ED00-AC23-46BD-B1D0-119DB40B33C6}" type="presParOf" srcId="{FAF45787-F807-4BB6-923D-0C0E2CD8C149}" destId="{8B0AB1CA-7D19-4139-820F-FBEA5B4373F8}" srcOrd="0" destOrd="0" presId="urn:microsoft.com/office/officeart/2008/layout/HorizontalMultiLevelHierarchy"/>
    <dgm:cxn modelId="{CEE7DFA3-513B-4D24-A57B-0052FB3C207F}" type="presParOf" srcId="{54BDE115-2A0C-4217-89B4-E7E8586234DB}" destId="{C3306D52-2437-4385-ACA3-7D8CE9EB0569}" srcOrd="9" destOrd="0" presId="urn:microsoft.com/office/officeart/2008/layout/HorizontalMultiLevelHierarchy"/>
    <dgm:cxn modelId="{08DF73F5-ABF4-4C8B-834F-6A47AAB5E318}" type="presParOf" srcId="{C3306D52-2437-4385-ACA3-7D8CE9EB0569}" destId="{8F47A465-73D6-48E5-83FD-F149301C3BBD}" srcOrd="0" destOrd="0" presId="urn:microsoft.com/office/officeart/2008/layout/HorizontalMultiLevelHierarchy"/>
    <dgm:cxn modelId="{1CF8F74E-E989-4A3F-908A-DCDB6D590139}" type="presParOf" srcId="{C3306D52-2437-4385-ACA3-7D8CE9EB0569}" destId="{E32E857A-F3CD-4263-AB35-D59E97F83B1D}" srcOrd="1" destOrd="0" presId="urn:microsoft.com/office/officeart/2008/layout/HorizontalMultiLevelHierarchy"/>
    <dgm:cxn modelId="{88639E4F-31C1-497A-AD08-8F53C1B0472D}" type="presParOf" srcId="{46E2FE2A-A747-4DEE-AAF5-53A8EE84B06B}" destId="{5BC2DE1D-C4D7-4BFC-A0C1-3D282DC024CD}" srcOrd="2" destOrd="0" presId="urn:microsoft.com/office/officeart/2008/layout/HorizontalMultiLevelHierarchy"/>
    <dgm:cxn modelId="{BC66EAF4-D03A-4B97-B08C-7F76CC2F9B24}" type="presParOf" srcId="{5BC2DE1D-C4D7-4BFC-A0C1-3D282DC024CD}" destId="{0C497864-2349-44C5-8D11-5F89748F0519}" srcOrd="0" destOrd="0" presId="urn:microsoft.com/office/officeart/2008/layout/HorizontalMultiLevelHierarchy"/>
    <dgm:cxn modelId="{40D40725-FA7B-4511-B16E-C1EFB81A0750}" type="presParOf" srcId="{46E2FE2A-A747-4DEE-AAF5-53A8EE84B06B}" destId="{9DEE4079-5D60-4753-AEAE-EF1343D66E8F}" srcOrd="3" destOrd="0" presId="urn:microsoft.com/office/officeart/2008/layout/HorizontalMultiLevelHierarchy"/>
    <dgm:cxn modelId="{6042F3FD-F18F-4D46-8EC2-9066A06C2B78}" type="presParOf" srcId="{9DEE4079-5D60-4753-AEAE-EF1343D66E8F}" destId="{DC0B28EB-699E-45BB-87EC-30E574E72821}" srcOrd="0" destOrd="0" presId="urn:microsoft.com/office/officeart/2008/layout/HorizontalMultiLevelHierarchy"/>
    <dgm:cxn modelId="{608302F7-1EC7-4ADD-8AE7-438FDE7034DF}" type="presParOf" srcId="{9DEE4079-5D60-4753-AEAE-EF1343D66E8F}" destId="{F96545F6-99BC-46B9-929F-A49863AE73CF}" srcOrd="1" destOrd="0" presId="urn:microsoft.com/office/officeart/2008/layout/HorizontalMultiLevelHierarchy"/>
    <dgm:cxn modelId="{A053F520-2BFF-4D78-ABA3-085B38E9BB46}" type="presParOf" srcId="{F96545F6-99BC-46B9-929F-A49863AE73CF}" destId="{7F2C676C-E906-4B26-892E-C728B9239429}" srcOrd="0" destOrd="0" presId="urn:microsoft.com/office/officeart/2008/layout/HorizontalMultiLevelHierarchy"/>
    <dgm:cxn modelId="{DC63E4DA-2911-48A2-B45E-2A3F7F320F95}" type="presParOf" srcId="{7F2C676C-E906-4B26-892E-C728B9239429}" destId="{F614A676-E312-4A6F-BE9F-B6E2993177B6}" srcOrd="0" destOrd="0" presId="urn:microsoft.com/office/officeart/2008/layout/HorizontalMultiLevelHierarchy"/>
    <dgm:cxn modelId="{98791E69-7D35-4CF1-9761-6C24C2696866}" type="presParOf" srcId="{F96545F6-99BC-46B9-929F-A49863AE73CF}" destId="{BDC558D4-E8FE-4402-98B6-954B2DED52D1}" srcOrd="1" destOrd="0" presId="urn:microsoft.com/office/officeart/2008/layout/HorizontalMultiLevelHierarchy"/>
    <dgm:cxn modelId="{FDBEFCAE-1435-4A02-93C8-6822FB954273}" type="presParOf" srcId="{BDC558D4-E8FE-4402-98B6-954B2DED52D1}" destId="{81473451-3FF3-474B-98FB-6869E5682468}" srcOrd="0" destOrd="0" presId="urn:microsoft.com/office/officeart/2008/layout/HorizontalMultiLevelHierarchy"/>
    <dgm:cxn modelId="{B5D9CD1B-6DBD-4706-A7AF-2E52473396EC}" type="presParOf" srcId="{BDC558D4-E8FE-4402-98B6-954B2DED52D1}" destId="{FA9000AC-D9F7-467D-A35D-DAD03D5FE186}" srcOrd="1" destOrd="0" presId="urn:microsoft.com/office/officeart/2008/layout/HorizontalMultiLevelHierarchy"/>
    <dgm:cxn modelId="{796470D6-7D1B-4420-B116-3CDECA6C4332}" type="presParOf" srcId="{F96545F6-99BC-46B9-929F-A49863AE73CF}" destId="{2B4072C3-2623-4EA4-94B7-025A9DCD72E9}" srcOrd="2" destOrd="0" presId="urn:microsoft.com/office/officeart/2008/layout/HorizontalMultiLevelHierarchy"/>
    <dgm:cxn modelId="{26C198F0-9097-4B40-A099-0CF7BB5FE30B}" type="presParOf" srcId="{2B4072C3-2623-4EA4-94B7-025A9DCD72E9}" destId="{7260B369-A7E2-44EA-98FE-B408D79B13A6}" srcOrd="0" destOrd="0" presId="urn:microsoft.com/office/officeart/2008/layout/HorizontalMultiLevelHierarchy"/>
    <dgm:cxn modelId="{561417E8-7976-4A1C-A015-08E3E4F64664}" type="presParOf" srcId="{F96545F6-99BC-46B9-929F-A49863AE73CF}" destId="{1FAAD552-F495-4DB6-9E8B-FAAEB560B2F6}" srcOrd="3" destOrd="0" presId="urn:microsoft.com/office/officeart/2008/layout/HorizontalMultiLevelHierarchy"/>
    <dgm:cxn modelId="{EA019D1A-3F95-4D56-9997-0C9D24A997C5}" type="presParOf" srcId="{1FAAD552-F495-4DB6-9E8B-FAAEB560B2F6}" destId="{A732D3F1-1291-409E-9A7C-778CAE167F89}" srcOrd="0" destOrd="0" presId="urn:microsoft.com/office/officeart/2008/layout/HorizontalMultiLevelHierarchy"/>
    <dgm:cxn modelId="{166A27F3-4442-45CA-8BA6-9A502B1E32B0}" type="presParOf" srcId="{1FAAD552-F495-4DB6-9E8B-FAAEB560B2F6}" destId="{AB597740-6E08-435C-B03D-74A3C28F6C7A}" srcOrd="1" destOrd="0" presId="urn:microsoft.com/office/officeart/2008/layout/HorizontalMultiLevelHierarchy"/>
    <dgm:cxn modelId="{B13D283A-3BF4-4186-8B35-E30A1BFCB7DD}" type="presParOf" srcId="{F96545F6-99BC-46B9-929F-A49863AE73CF}" destId="{9458E52A-38CE-4EE6-A620-F703970B8164}" srcOrd="4" destOrd="0" presId="urn:microsoft.com/office/officeart/2008/layout/HorizontalMultiLevelHierarchy"/>
    <dgm:cxn modelId="{CBEB0CDE-7383-4B68-B06E-63692D94162C}" type="presParOf" srcId="{9458E52A-38CE-4EE6-A620-F703970B8164}" destId="{32DEAE14-947F-44E2-8D61-C101875AB07D}" srcOrd="0" destOrd="0" presId="urn:microsoft.com/office/officeart/2008/layout/HorizontalMultiLevelHierarchy"/>
    <dgm:cxn modelId="{268498D5-D929-4DAB-AC0F-7C00397892F8}" type="presParOf" srcId="{F96545F6-99BC-46B9-929F-A49863AE73CF}" destId="{69E10A20-FCE4-4D83-88A1-14D71635473C}" srcOrd="5" destOrd="0" presId="urn:microsoft.com/office/officeart/2008/layout/HorizontalMultiLevelHierarchy"/>
    <dgm:cxn modelId="{C53C4149-E278-4B46-8FC3-6C96C874D326}" type="presParOf" srcId="{69E10A20-FCE4-4D83-88A1-14D71635473C}" destId="{42C465EB-33D9-4AD2-A33B-930C8E39ED41}" srcOrd="0" destOrd="0" presId="urn:microsoft.com/office/officeart/2008/layout/HorizontalMultiLevelHierarchy"/>
    <dgm:cxn modelId="{148DD049-D5F2-44AA-9110-DDD80E88C1F7}" type="presParOf" srcId="{69E10A20-FCE4-4D83-88A1-14D71635473C}" destId="{2EF723DA-603B-48F9-A950-71099D97A93D}" srcOrd="1" destOrd="0" presId="urn:microsoft.com/office/officeart/2008/layout/HorizontalMultiLevelHierarchy"/>
    <dgm:cxn modelId="{E6A09153-7C65-4D54-AF4C-8F005668B195}" type="presParOf" srcId="{F96545F6-99BC-46B9-929F-A49863AE73CF}" destId="{329CD9E0-9945-40C9-89A5-5929AA1A3A82}" srcOrd="6" destOrd="0" presId="urn:microsoft.com/office/officeart/2008/layout/HorizontalMultiLevelHierarchy"/>
    <dgm:cxn modelId="{6218AF02-8BFB-41EC-94F2-A7B83BEFA856}" type="presParOf" srcId="{329CD9E0-9945-40C9-89A5-5929AA1A3A82}" destId="{27874C32-AAAE-43E2-B803-B20B1E2D7450}" srcOrd="0" destOrd="0" presId="urn:microsoft.com/office/officeart/2008/layout/HorizontalMultiLevelHierarchy"/>
    <dgm:cxn modelId="{5191E024-DDD0-405C-A806-A32820FD8CC5}" type="presParOf" srcId="{F96545F6-99BC-46B9-929F-A49863AE73CF}" destId="{413EDB34-EEB8-4846-8BF9-D4944F61EBD3}" srcOrd="7" destOrd="0" presId="urn:microsoft.com/office/officeart/2008/layout/HorizontalMultiLevelHierarchy"/>
    <dgm:cxn modelId="{A545499C-31A8-4879-8B70-422B8B7E16E8}" type="presParOf" srcId="{413EDB34-EEB8-4846-8BF9-D4944F61EBD3}" destId="{84D7F889-3498-48D8-ADC3-14251347C81B}" srcOrd="0" destOrd="0" presId="urn:microsoft.com/office/officeart/2008/layout/HorizontalMultiLevelHierarchy"/>
    <dgm:cxn modelId="{A0A19357-EB8B-4612-A7DA-0BAC1172C650}" type="presParOf" srcId="{413EDB34-EEB8-4846-8BF9-D4944F61EBD3}" destId="{E91235D0-FC5C-4DA2-AB29-EC075B3DCA81}" srcOrd="1" destOrd="0" presId="urn:microsoft.com/office/officeart/2008/layout/HorizontalMultiLevelHierarchy"/>
    <dgm:cxn modelId="{726D319B-7F9C-410A-923E-E7D70D1E9BE5}" type="presParOf" srcId="{46E2FE2A-A747-4DEE-AAF5-53A8EE84B06B}" destId="{A4E05C94-2209-4BF4-B627-606397BBC1C5}" srcOrd="4" destOrd="0" presId="urn:microsoft.com/office/officeart/2008/layout/HorizontalMultiLevelHierarchy"/>
    <dgm:cxn modelId="{BC8E1C1E-4F81-4EDB-B206-0F9F561D1BE3}" type="presParOf" srcId="{A4E05C94-2209-4BF4-B627-606397BBC1C5}" destId="{6DCFD290-34D5-45FC-84C5-03B4A3AFAD52}" srcOrd="0" destOrd="0" presId="urn:microsoft.com/office/officeart/2008/layout/HorizontalMultiLevelHierarchy"/>
    <dgm:cxn modelId="{C24C0CF1-8773-4C67-935E-616A1C69F1B6}" type="presParOf" srcId="{46E2FE2A-A747-4DEE-AAF5-53A8EE84B06B}" destId="{D6C31984-0B65-416F-A6B1-E0A22FFF6163}" srcOrd="5" destOrd="0" presId="urn:microsoft.com/office/officeart/2008/layout/HorizontalMultiLevelHierarchy"/>
    <dgm:cxn modelId="{BF5C4A11-F9CD-408A-9CA8-15A0D2A36E35}" type="presParOf" srcId="{D6C31984-0B65-416F-A6B1-E0A22FFF6163}" destId="{485D5E8B-1295-4B72-BF14-74B2BE7008EE}" srcOrd="0" destOrd="0" presId="urn:microsoft.com/office/officeart/2008/layout/HorizontalMultiLevelHierarchy"/>
    <dgm:cxn modelId="{F6BDEA0C-9395-46B8-B4A0-F02379190F75}" type="presParOf" srcId="{D6C31984-0B65-416F-A6B1-E0A22FFF6163}" destId="{49EAA066-0495-427D-9425-BE1889EED5E1}" srcOrd="1" destOrd="0" presId="urn:microsoft.com/office/officeart/2008/layout/HorizontalMultiLevelHierarchy"/>
    <dgm:cxn modelId="{D41C7959-272E-4EBA-8328-6A420A7753D6}" type="presParOf" srcId="{46E2FE2A-A747-4DEE-AAF5-53A8EE84B06B}" destId="{460E764F-BDF5-4D22-9B4D-16DC71F64CAC}" srcOrd="6" destOrd="0" presId="urn:microsoft.com/office/officeart/2008/layout/HorizontalMultiLevelHierarchy"/>
    <dgm:cxn modelId="{9E3C5359-D3AF-471A-A4EB-632E9E1FFFED}" type="presParOf" srcId="{460E764F-BDF5-4D22-9B4D-16DC71F64CAC}" destId="{D2085E56-A00C-4E27-A4A7-A2743FEDF1B5}" srcOrd="0" destOrd="0" presId="urn:microsoft.com/office/officeart/2008/layout/HorizontalMultiLevelHierarchy"/>
    <dgm:cxn modelId="{E9C36CB9-A5C3-4B2E-8690-8C27F406F889}" type="presParOf" srcId="{46E2FE2A-A747-4DEE-AAF5-53A8EE84B06B}" destId="{73186733-5E43-4E6A-80AF-948A00AAA9B5}" srcOrd="7" destOrd="0" presId="urn:microsoft.com/office/officeart/2008/layout/HorizontalMultiLevelHierarchy"/>
    <dgm:cxn modelId="{3DE4C77A-92C4-499B-A96E-6812CB8CF9E7}" type="presParOf" srcId="{73186733-5E43-4E6A-80AF-948A00AAA9B5}" destId="{43996E1E-6F52-4F8E-9F4B-77A56824C63C}" srcOrd="0" destOrd="0" presId="urn:microsoft.com/office/officeart/2008/layout/HorizontalMultiLevelHierarchy"/>
    <dgm:cxn modelId="{0F21ABEF-B7AA-44AC-A89A-91EB275FF44F}" type="presParOf" srcId="{73186733-5E43-4E6A-80AF-948A00AAA9B5}" destId="{41502682-1FC1-4B2B-BBB5-9A5540E7D736}" srcOrd="1" destOrd="0" presId="urn:microsoft.com/office/officeart/2008/layout/HorizontalMultiLevelHierarchy"/>
    <dgm:cxn modelId="{D6EB78A0-A34D-4723-9332-CDC12F78869A}" type="presParOf" srcId="{46E2FE2A-A747-4DEE-AAF5-53A8EE84B06B}" destId="{690E36EE-5895-4B91-A347-3380A5FE5255}" srcOrd="8" destOrd="0" presId="urn:microsoft.com/office/officeart/2008/layout/HorizontalMultiLevelHierarchy"/>
    <dgm:cxn modelId="{E55A1800-8DD6-4853-A0D4-E4B94395683D}" type="presParOf" srcId="{690E36EE-5895-4B91-A347-3380A5FE5255}" destId="{ADBE13F2-10FA-4B06-99C7-09C6712A7646}" srcOrd="0" destOrd="0" presId="urn:microsoft.com/office/officeart/2008/layout/HorizontalMultiLevelHierarchy"/>
    <dgm:cxn modelId="{0DEBCA27-CE2E-409D-8652-B03064A5A0BD}" type="presParOf" srcId="{46E2FE2A-A747-4DEE-AAF5-53A8EE84B06B}" destId="{B6754EFB-425D-471A-9BC5-9299A6414551}" srcOrd="9" destOrd="0" presId="urn:microsoft.com/office/officeart/2008/layout/HorizontalMultiLevelHierarchy"/>
    <dgm:cxn modelId="{827B1068-D035-4351-8FA7-E96A12C46B8D}" type="presParOf" srcId="{B6754EFB-425D-471A-9BC5-9299A6414551}" destId="{6E154881-954A-429F-9BBE-E92EEB4B1011}" srcOrd="0" destOrd="0" presId="urn:microsoft.com/office/officeart/2008/layout/HorizontalMultiLevelHierarchy"/>
    <dgm:cxn modelId="{CF5796C7-4017-4D28-84C5-F23B50B601E5}" type="presParOf" srcId="{B6754EFB-425D-471A-9BC5-9299A6414551}" destId="{5D1CB6D5-4D16-456C-80C8-8FB25291517B}" srcOrd="1" destOrd="0" presId="urn:microsoft.com/office/officeart/2008/layout/HorizontalMultiLevelHierarchy"/>
    <dgm:cxn modelId="{8C48EBB2-861E-4B2B-84F8-7FD8866630A9}" type="presParOf" srcId="{7E8A6FC8-F240-4C27-8F75-0549E9D1CE4E}" destId="{CD37291B-5548-4F1B-8F2F-200AE5B0DCAE}" srcOrd="2" destOrd="0" presId="urn:microsoft.com/office/officeart/2008/layout/HorizontalMultiLevelHierarchy"/>
    <dgm:cxn modelId="{1EAA7291-3D7E-4E1D-BFA5-466FBB9231BE}" type="presParOf" srcId="{CD37291B-5548-4F1B-8F2F-200AE5B0DCAE}" destId="{D4121B60-61D6-41A4-AAB9-DE9671C8ED2F}" srcOrd="0" destOrd="0" presId="urn:microsoft.com/office/officeart/2008/layout/HorizontalMultiLevelHierarchy"/>
    <dgm:cxn modelId="{30BF0797-9DFC-4143-9934-65A925553B04}" type="presParOf" srcId="{7E8A6FC8-F240-4C27-8F75-0549E9D1CE4E}" destId="{50975EFF-52F3-48CE-A104-6890DF2CCC15}" srcOrd="3" destOrd="0" presId="urn:microsoft.com/office/officeart/2008/layout/HorizontalMultiLevelHierarchy"/>
    <dgm:cxn modelId="{B1E72420-C269-47B9-8826-4F40BF90D27F}" type="presParOf" srcId="{50975EFF-52F3-48CE-A104-6890DF2CCC15}" destId="{E077FA3E-A654-4D27-8616-5CDDA43F8AF6}" srcOrd="0" destOrd="0" presId="urn:microsoft.com/office/officeart/2008/layout/HorizontalMultiLevelHierarchy"/>
    <dgm:cxn modelId="{2984DC2A-8109-4C03-B00F-93C41BC46DCB}" type="presParOf" srcId="{50975EFF-52F3-48CE-A104-6890DF2CCC15}" destId="{738BD333-0CAC-4970-A8E6-FA82D1202675}" srcOrd="1" destOrd="0" presId="urn:microsoft.com/office/officeart/2008/layout/HorizontalMultiLevelHierarchy"/>
    <dgm:cxn modelId="{701C9470-548A-4BE2-BFE5-EA05C36188CF}" type="presParOf" srcId="{738BD333-0CAC-4970-A8E6-FA82D1202675}" destId="{037062E2-BE96-4A8B-9D2F-1FA0857207C1}" srcOrd="0" destOrd="0" presId="urn:microsoft.com/office/officeart/2008/layout/HorizontalMultiLevelHierarchy"/>
    <dgm:cxn modelId="{A85CA7AE-0B05-415C-879A-E60AE08B5C38}" type="presParOf" srcId="{037062E2-BE96-4A8B-9D2F-1FA0857207C1}" destId="{48D9A2E1-2598-4B00-AD73-86E6047DFB3F}" srcOrd="0" destOrd="0" presId="urn:microsoft.com/office/officeart/2008/layout/HorizontalMultiLevelHierarchy"/>
    <dgm:cxn modelId="{C4A41739-1868-4E6C-8999-7C6171F40DDB}" type="presParOf" srcId="{738BD333-0CAC-4970-A8E6-FA82D1202675}" destId="{B8CF9832-64BD-484C-B421-A0ECF20998B1}" srcOrd="1" destOrd="0" presId="urn:microsoft.com/office/officeart/2008/layout/HorizontalMultiLevelHierarchy"/>
    <dgm:cxn modelId="{48303E24-0767-49ED-9ED9-ABE66A3F8EB4}" type="presParOf" srcId="{B8CF9832-64BD-484C-B421-A0ECF20998B1}" destId="{768C7647-12EF-40E9-94EB-C1868C4AFE59}" srcOrd="0" destOrd="0" presId="urn:microsoft.com/office/officeart/2008/layout/HorizontalMultiLevelHierarchy"/>
    <dgm:cxn modelId="{5A3DA604-9904-4F44-9882-A2E63AE76B38}" type="presParOf" srcId="{B8CF9832-64BD-484C-B421-A0ECF20998B1}" destId="{66E40938-6C34-47FD-B792-4BEC9D41A30A}" srcOrd="1" destOrd="0" presId="urn:microsoft.com/office/officeart/2008/layout/HorizontalMultiLevelHierarchy"/>
    <dgm:cxn modelId="{55446B2F-4034-42F1-8435-46B9BE44613A}" type="presParOf" srcId="{738BD333-0CAC-4970-A8E6-FA82D1202675}" destId="{313DC26C-06DB-4098-B605-33485EFC9B29}" srcOrd="2" destOrd="0" presId="urn:microsoft.com/office/officeart/2008/layout/HorizontalMultiLevelHierarchy"/>
    <dgm:cxn modelId="{4A033A29-C601-4F84-BFD7-622B89FB96DB}" type="presParOf" srcId="{313DC26C-06DB-4098-B605-33485EFC9B29}" destId="{30A455D9-9D31-498C-B006-B59A4D0FAC39}" srcOrd="0" destOrd="0" presId="urn:microsoft.com/office/officeart/2008/layout/HorizontalMultiLevelHierarchy"/>
    <dgm:cxn modelId="{B93B707E-B961-4BA7-B3CF-63ACD0FF66B1}" type="presParOf" srcId="{738BD333-0CAC-4970-A8E6-FA82D1202675}" destId="{EB09E2DB-DC0B-4A48-BC00-788EB4BF2155}" srcOrd="3" destOrd="0" presId="urn:microsoft.com/office/officeart/2008/layout/HorizontalMultiLevelHierarchy"/>
    <dgm:cxn modelId="{6CBDF43C-70BD-4409-9DF9-9CA7F57EB17C}" type="presParOf" srcId="{EB09E2DB-DC0B-4A48-BC00-788EB4BF2155}" destId="{49B6876F-A108-4FF0-9A81-E34DBB9D0BD7}" srcOrd="0" destOrd="0" presId="urn:microsoft.com/office/officeart/2008/layout/HorizontalMultiLevelHierarchy"/>
    <dgm:cxn modelId="{2686E0A6-F092-4AAA-926C-60D6DAFD0249}" type="presParOf" srcId="{EB09E2DB-DC0B-4A48-BC00-788EB4BF2155}" destId="{840A5199-0A8A-47C7-8B9A-920BC241225E}" srcOrd="1" destOrd="0" presId="urn:microsoft.com/office/officeart/2008/layout/HorizontalMultiLevelHierarchy"/>
    <dgm:cxn modelId="{25D58353-0D81-4A8A-94ED-93CDC7E7186B}" type="presParOf" srcId="{7E8A6FC8-F240-4C27-8F75-0549E9D1CE4E}" destId="{C4365B06-B9DB-4064-B93F-1043BD4B58B2}" srcOrd="4" destOrd="0" presId="urn:microsoft.com/office/officeart/2008/layout/HorizontalMultiLevelHierarchy"/>
    <dgm:cxn modelId="{7A9066B8-6414-422E-BFD9-738E8455C555}" type="presParOf" srcId="{C4365B06-B9DB-4064-B93F-1043BD4B58B2}" destId="{0336C92A-933C-4B9A-8AAD-80A8DB51CB00}" srcOrd="0" destOrd="0" presId="urn:microsoft.com/office/officeart/2008/layout/HorizontalMultiLevelHierarchy"/>
    <dgm:cxn modelId="{8B26E937-4058-4513-8A0F-CFE594B0876E}" type="presParOf" srcId="{7E8A6FC8-F240-4C27-8F75-0549E9D1CE4E}" destId="{1FB1112C-2171-4ECC-8EA0-911ADD3964A5}" srcOrd="5" destOrd="0" presId="urn:microsoft.com/office/officeart/2008/layout/HorizontalMultiLevelHierarchy"/>
    <dgm:cxn modelId="{C26F454F-9AD3-4024-89FF-46146E45546E}" type="presParOf" srcId="{1FB1112C-2171-4ECC-8EA0-911ADD3964A5}" destId="{B3E59FB2-885F-4B71-9DC5-B6F45C8017DE}" srcOrd="0" destOrd="0" presId="urn:microsoft.com/office/officeart/2008/layout/HorizontalMultiLevelHierarchy"/>
    <dgm:cxn modelId="{D088637E-3313-42FD-BF6C-2731986EDBD5}" type="presParOf" srcId="{1FB1112C-2171-4ECC-8EA0-911ADD3964A5}" destId="{AF149B8F-23A2-48DF-9DB4-21319099B718}" srcOrd="1" destOrd="0" presId="urn:microsoft.com/office/officeart/2008/layout/HorizontalMultiLevelHierarchy"/>
    <dgm:cxn modelId="{BE9866F0-9F68-43A1-A842-DB93EF04DC1F}" type="presParOf" srcId="{AF149B8F-23A2-48DF-9DB4-21319099B718}" destId="{60A0F5E7-D1D3-49F8-A254-CFFCBE54AAF0}" srcOrd="0" destOrd="0" presId="urn:microsoft.com/office/officeart/2008/layout/HorizontalMultiLevelHierarchy"/>
    <dgm:cxn modelId="{C0E974FA-E049-45C2-93A2-BDBEC3178337}" type="presParOf" srcId="{60A0F5E7-D1D3-49F8-A254-CFFCBE54AAF0}" destId="{3325D373-008A-41E8-9EA1-B4B0FC90FCD2}" srcOrd="0" destOrd="0" presId="urn:microsoft.com/office/officeart/2008/layout/HorizontalMultiLevelHierarchy"/>
    <dgm:cxn modelId="{9EFC154F-E0C3-4C05-B0CB-69653AF0C3B6}" type="presParOf" srcId="{AF149B8F-23A2-48DF-9DB4-21319099B718}" destId="{533688EB-FEF2-4244-B371-7A31A6275F9E}" srcOrd="1" destOrd="0" presId="urn:microsoft.com/office/officeart/2008/layout/HorizontalMultiLevelHierarchy"/>
    <dgm:cxn modelId="{E257AAD2-4B95-4624-89C1-BE814C0D3710}" type="presParOf" srcId="{533688EB-FEF2-4244-B371-7A31A6275F9E}" destId="{9E81B654-57F3-4178-8807-AB7AAC7BE08E}" srcOrd="0" destOrd="0" presId="urn:microsoft.com/office/officeart/2008/layout/HorizontalMultiLevelHierarchy"/>
    <dgm:cxn modelId="{89945E56-01F6-4A3F-9837-20D5AC4310BC}" type="presParOf" srcId="{533688EB-FEF2-4244-B371-7A31A6275F9E}" destId="{9EA1B074-9688-4BF6-BD3E-8C3B349784E8}" srcOrd="1" destOrd="0" presId="urn:microsoft.com/office/officeart/2008/layout/HorizontalMultiLevelHierarchy"/>
    <dgm:cxn modelId="{81CF8646-6190-4B20-9C2D-153F30112CA2}" type="presParOf" srcId="{AF149B8F-23A2-48DF-9DB4-21319099B718}" destId="{1CD57466-73E5-43BB-AF51-980153E8039A}" srcOrd="2" destOrd="0" presId="urn:microsoft.com/office/officeart/2008/layout/HorizontalMultiLevelHierarchy"/>
    <dgm:cxn modelId="{79F3A2F2-77F4-4E34-9449-6B5826AE4D1A}" type="presParOf" srcId="{1CD57466-73E5-43BB-AF51-980153E8039A}" destId="{739E7D1A-06FA-43F4-82B6-C5B799BDD12A}" srcOrd="0" destOrd="0" presId="urn:microsoft.com/office/officeart/2008/layout/HorizontalMultiLevelHierarchy"/>
    <dgm:cxn modelId="{27C613A4-BB0F-4597-B8FD-A17EEF5F9CA1}" type="presParOf" srcId="{AF149B8F-23A2-48DF-9DB4-21319099B718}" destId="{08A18F09-5415-4D9A-A62E-8AA11F9AF3C4}" srcOrd="3" destOrd="0" presId="urn:microsoft.com/office/officeart/2008/layout/HorizontalMultiLevelHierarchy"/>
    <dgm:cxn modelId="{6A9B847B-CAF0-4938-B455-CC25A2C7546A}" type="presParOf" srcId="{08A18F09-5415-4D9A-A62E-8AA11F9AF3C4}" destId="{0CCC40AA-D80B-4B90-9188-E5CA017E63B0}" srcOrd="0" destOrd="0" presId="urn:microsoft.com/office/officeart/2008/layout/HorizontalMultiLevelHierarchy"/>
    <dgm:cxn modelId="{6C3BEF47-B999-4C4E-82B1-8E7A48264A7C}" type="presParOf" srcId="{08A18F09-5415-4D9A-A62E-8AA11F9AF3C4}" destId="{E40DD794-4E3C-4009-B357-94D69536E6F4}" srcOrd="1" destOrd="0" presId="urn:microsoft.com/office/officeart/2008/layout/HorizontalMultiLevelHierarchy"/>
    <dgm:cxn modelId="{9786B997-D56E-4BF4-AC74-4CAA5AB104E8}" type="presParOf" srcId="{AF149B8F-23A2-48DF-9DB4-21319099B718}" destId="{F9C34007-6CA8-4ABF-890A-47AA50B267EA}" srcOrd="4" destOrd="0" presId="urn:microsoft.com/office/officeart/2008/layout/HorizontalMultiLevelHierarchy"/>
    <dgm:cxn modelId="{41C2E213-C4DA-4CDB-B4FB-76B4C3D388D6}" type="presParOf" srcId="{F9C34007-6CA8-4ABF-890A-47AA50B267EA}" destId="{D3331827-B92C-4419-96E8-793E8D653308}" srcOrd="0" destOrd="0" presId="urn:microsoft.com/office/officeart/2008/layout/HorizontalMultiLevelHierarchy"/>
    <dgm:cxn modelId="{1738D637-F2D5-42C9-AD21-243F1342B2AC}" type="presParOf" srcId="{AF149B8F-23A2-48DF-9DB4-21319099B718}" destId="{9FBA0EDF-DFF1-4228-BD6C-29FFD841B413}" srcOrd="5" destOrd="0" presId="urn:microsoft.com/office/officeart/2008/layout/HorizontalMultiLevelHierarchy"/>
    <dgm:cxn modelId="{B0363929-8710-42A8-B169-AB09A28B29CB}" type="presParOf" srcId="{9FBA0EDF-DFF1-4228-BD6C-29FFD841B413}" destId="{E51A201A-58C4-4839-BBF3-03A3D4BA1DE9}" srcOrd="0" destOrd="0" presId="urn:microsoft.com/office/officeart/2008/layout/HorizontalMultiLevelHierarchy"/>
    <dgm:cxn modelId="{ABA51267-B8A0-43BC-B1DC-3B671101344E}" type="presParOf" srcId="{9FBA0EDF-DFF1-4228-BD6C-29FFD841B413}" destId="{E4E1A461-B02B-4354-8D34-5DF04939C4AC}" srcOrd="1" destOrd="0" presId="urn:microsoft.com/office/officeart/2008/layout/HorizontalMultiLevelHierarchy"/>
  </dgm:cxnLst>
  <dgm:bg/>
  <dgm:whole/>
  <dgm:extLst>
    <a:ext uri="http://schemas.microsoft.com/office/drawing/2008/diagram">
      <dsp:dataModelExt xmlns:dsp="http://schemas.microsoft.com/office/drawing/2008/diagram" relId="rId12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96C9D5F4-FF4F-420D-8420-A926E166D7A2}" type="doc">
      <dgm:prSet loTypeId="urn:microsoft.com/office/officeart/2008/layout/HorizontalMultiLevelHierarchy" loCatId="hierarchy" qsTypeId="urn:microsoft.com/office/officeart/2005/8/quickstyle/simple1" qsCatId="simple" csTypeId="urn:microsoft.com/office/officeart/2005/8/colors/colorful3" csCatId="colorful" phldr="1"/>
      <dgm:spPr/>
      <dgm:t>
        <a:bodyPr/>
        <a:lstStyle/>
        <a:p>
          <a:endParaRPr lang="en-US"/>
        </a:p>
      </dgm:t>
    </dgm:pt>
    <dgm:pt modelId="{D0997319-AE2C-4C46-ADCB-BA43BE3F3F54}">
      <dgm:prSet phldrT="[Text]" custT="1"/>
      <dgm:spPr/>
      <dgm:t>
        <a:bodyPr/>
        <a:lstStyle/>
        <a:p>
          <a:r>
            <a:rPr lang="de-DE" sz="1400" b="0" i="0" dirty="0">
              <a:latin typeface="Myriad Pro" panose="020B0503030403020204" pitchFamily="34" charset="0"/>
            </a:rPr>
            <a:t>Eingabebild </a:t>
          </a:r>
        </a:p>
      </dgm:t>
    </dgm:pt>
    <dgm:pt modelId="{EDD69CBB-FC0D-413C-A203-D32C53DEA1CA}" type="parTrans" cxnId="{9486E231-E761-415A-A46A-B222DD3C9A89}">
      <dgm:prSet/>
      <dgm:spPr/>
      <dgm:t>
        <a:bodyPr/>
        <a:lstStyle/>
        <a:p>
          <a:endParaRPr lang="en-US" sz="1600"/>
        </a:p>
      </dgm:t>
    </dgm:pt>
    <dgm:pt modelId="{E975384C-827E-414A-AEB5-7C3391463B49}" type="sibTrans" cxnId="{9486E231-E761-415A-A46A-B222DD3C9A89}">
      <dgm:prSet/>
      <dgm:spPr/>
      <dgm:t>
        <a:bodyPr/>
        <a:lstStyle/>
        <a:p>
          <a:endParaRPr lang="en-US" sz="1600"/>
        </a:p>
      </dgm:t>
    </dgm:pt>
    <dgm:pt modelId="{8E70AA8F-7583-4AFE-9EDE-87363894E1F8}">
      <dgm:prSet phldrT="[Text]" custT="1"/>
      <dgm:spPr/>
      <dgm:t>
        <a:bodyPr/>
        <a:lstStyle/>
        <a:p>
          <a:r>
            <a:rPr lang="de-DE" sz="1000" b="1" i="0" cap="none" baseline="0" dirty="0">
              <a:latin typeface="Myriad Pro" panose="020B0503030403020204" pitchFamily="34" charset="0"/>
            </a:rPr>
            <a:t>Einzel Netzwerk</a:t>
          </a:r>
          <a:endParaRPr lang="de-DE" sz="1000" b="0" i="0" cap="none" baseline="0" dirty="0">
            <a:latin typeface="Myriad Pro" panose="020B0503030403020204" pitchFamily="34" charset="0"/>
          </a:endParaRPr>
        </a:p>
      </dgm:t>
    </dgm:pt>
    <dgm:pt modelId="{B164CB56-71EE-412E-A3A2-1509A3B08E05}" type="parTrans" cxnId="{707B8E58-ABA5-4C9A-AFCF-298CB05D08DA}">
      <dgm:prSet/>
      <dgm:spPr/>
      <dgm:t>
        <a:bodyPr/>
        <a:lstStyle/>
        <a:p>
          <a:endParaRPr lang="en-US" sz="1600"/>
        </a:p>
      </dgm:t>
    </dgm:pt>
    <dgm:pt modelId="{50009256-33DA-4FAC-A050-2DE70DDCC26C}" type="sibTrans" cxnId="{707B8E58-ABA5-4C9A-AFCF-298CB05D08DA}">
      <dgm:prSet/>
      <dgm:spPr/>
      <dgm:t>
        <a:bodyPr/>
        <a:lstStyle/>
        <a:p>
          <a:endParaRPr lang="en-US" sz="1600"/>
        </a:p>
      </dgm:t>
    </dgm:pt>
    <dgm:pt modelId="{434F1058-EF12-4590-BD43-496B2D33656A}">
      <dgm:prSet phldrT="[Text]" custT="1"/>
      <dgm:spPr/>
      <dgm:t>
        <a:bodyPr/>
        <a:lstStyle/>
        <a:p>
          <a:r>
            <a:rPr lang="de-DE" sz="1000" b="1" i="0" cap="none" baseline="0" dirty="0">
              <a:latin typeface="Myriad Pro" panose="020B0503030403020204" pitchFamily="34" charset="0"/>
            </a:rPr>
            <a:t>Multi-Netzwerk </a:t>
          </a:r>
          <a:endParaRPr lang="de-DE" sz="1000" b="0" i="0" dirty="0">
            <a:latin typeface="Myriad Pro" panose="020B0503030403020204" pitchFamily="34" charset="0"/>
          </a:endParaRPr>
        </a:p>
      </dgm:t>
    </dgm:pt>
    <dgm:pt modelId="{17815460-B569-463A-BACE-734F709F874A}" type="parTrans" cxnId="{9E137BA1-2E21-43A2-A338-650B162A3662}">
      <dgm:prSet/>
      <dgm:spPr/>
      <dgm:t>
        <a:bodyPr/>
        <a:lstStyle/>
        <a:p>
          <a:endParaRPr lang="en-US" sz="1600"/>
        </a:p>
      </dgm:t>
    </dgm:pt>
    <dgm:pt modelId="{BC8F1DC2-66B6-4B6F-BD02-84C41DB8AF5C}" type="sibTrans" cxnId="{9E137BA1-2E21-43A2-A338-650B162A3662}">
      <dgm:prSet/>
      <dgm:spPr/>
      <dgm:t>
        <a:bodyPr/>
        <a:lstStyle/>
        <a:p>
          <a:endParaRPr lang="en-US" sz="1600"/>
        </a:p>
      </dgm:t>
    </dgm:pt>
    <dgm:pt modelId="{4098A15D-6BE4-4258-B7C8-EC2A1354A4D6}">
      <dgm:prSet phldrT="[Text]" custT="1"/>
      <dgm:spPr/>
      <dgm:t>
        <a:bodyPr/>
        <a:lstStyle/>
        <a:p>
          <a:r>
            <a:rPr lang="de-DE" sz="1000" b="0" i="0" dirty="0">
              <a:latin typeface="Myriad Pro" panose="020B0503030403020204" pitchFamily="34" charset="0"/>
            </a:rPr>
            <a:t>U-Net</a:t>
          </a:r>
        </a:p>
      </dgm:t>
    </dgm:pt>
    <dgm:pt modelId="{DA62F256-25CF-4854-BFCD-F90F70E5F8D4}" type="parTrans" cxnId="{21D8E081-3F51-4864-8D5D-F1BA8CEC852F}">
      <dgm:prSet/>
      <dgm:spPr/>
      <dgm:t>
        <a:bodyPr/>
        <a:lstStyle/>
        <a:p>
          <a:endParaRPr lang="en-US" sz="1600"/>
        </a:p>
      </dgm:t>
    </dgm:pt>
    <dgm:pt modelId="{E1090322-3287-4D3C-A158-E43939F1FA7E}" type="sibTrans" cxnId="{21D8E081-3F51-4864-8D5D-F1BA8CEC852F}">
      <dgm:prSet/>
      <dgm:spPr/>
      <dgm:t>
        <a:bodyPr/>
        <a:lstStyle/>
        <a:p>
          <a:endParaRPr lang="en-US" sz="1600"/>
        </a:p>
      </dgm:t>
    </dgm:pt>
    <dgm:pt modelId="{C1D130BE-4BC5-481C-BADA-14A869727C0B}">
      <dgm:prSet phldrT="[Text]" custT="1"/>
      <dgm:spPr/>
      <dgm:t>
        <a:bodyPr/>
        <a:lstStyle/>
        <a:p>
          <a:r>
            <a:rPr lang="de-DE" sz="1000" b="1" i="0" cap="none" baseline="0" dirty="0">
              <a:latin typeface="Myriad Pro" panose="020B0503030403020204" pitchFamily="34" charset="0"/>
            </a:rPr>
            <a:t>Ensembles </a:t>
          </a:r>
          <a:endParaRPr lang="de-DE" sz="1000" b="0" i="0" cap="none" baseline="0" dirty="0">
            <a:latin typeface="Myriad Pro" panose="020B0503030403020204" pitchFamily="34" charset="0"/>
          </a:endParaRPr>
        </a:p>
      </dgm:t>
    </dgm:pt>
    <dgm:pt modelId="{8A26916C-03BF-4B0E-92AF-656A56CF8513}" type="parTrans" cxnId="{221AD8BF-6539-43E4-9EB1-23AF138D0EE2}">
      <dgm:prSet/>
      <dgm:spPr/>
      <dgm:t>
        <a:bodyPr/>
        <a:lstStyle/>
        <a:p>
          <a:endParaRPr lang="en-US" sz="1600"/>
        </a:p>
      </dgm:t>
    </dgm:pt>
    <dgm:pt modelId="{4F4BE6FE-AE34-4934-8B0D-8FDF04C5765F}" type="sibTrans" cxnId="{221AD8BF-6539-43E4-9EB1-23AF138D0EE2}">
      <dgm:prSet/>
      <dgm:spPr/>
      <dgm:t>
        <a:bodyPr/>
        <a:lstStyle/>
        <a:p>
          <a:endParaRPr lang="en-US" sz="1600"/>
        </a:p>
      </dgm:t>
    </dgm:pt>
    <dgm:pt modelId="{CD6C8CAB-2DB8-4BEB-8794-D14E24B56239}">
      <dgm:prSet phldrT="[Text]" custT="1"/>
      <dgm:spPr/>
      <dgm:t>
        <a:bodyPr/>
        <a:lstStyle/>
        <a:p>
          <a:r>
            <a:rPr lang="de-DE" sz="1000" b="0" i="0" dirty="0">
              <a:latin typeface="Myriad Pro" panose="020B0503030403020204" pitchFamily="34" charset="0"/>
            </a:rPr>
            <a:t>Homogen</a:t>
          </a:r>
        </a:p>
      </dgm:t>
    </dgm:pt>
    <dgm:pt modelId="{503510FB-9E52-432E-98AC-FEF28CA55F0D}" type="parTrans" cxnId="{08C6FF6E-ED40-443D-B75C-6827A78AAE2F}">
      <dgm:prSet/>
      <dgm:spPr/>
      <dgm:t>
        <a:bodyPr/>
        <a:lstStyle/>
        <a:p>
          <a:endParaRPr lang="en-US" sz="1600"/>
        </a:p>
      </dgm:t>
    </dgm:pt>
    <dgm:pt modelId="{F6688289-1E3B-4C81-B097-4BC4F02DEEB1}" type="sibTrans" cxnId="{08C6FF6E-ED40-443D-B75C-6827A78AAE2F}">
      <dgm:prSet/>
      <dgm:spPr/>
      <dgm:t>
        <a:bodyPr/>
        <a:lstStyle/>
        <a:p>
          <a:endParaRPr lang="en-US" sz="1600"/>
        </a:p>
      </dgm:t>
    </dgm:pt>
    <dgm:pt modelId="{16945C89-930D-4764-8730-4F183F8B4C87}">
      <dgm:prSet phldrT="[Text]" custT="1"/>
      <dgm:spPr/>
      <dgm:t>
        <a:bodyPr/>
        <a:lstStyle/>
        <a:p>
          <a:r>
            <a:rPr lang="de-DE" sz="1000" b="0" i="0" dirty="0">
              <a:latin typeface="Myriad Pro" panose="020B0503030403020204" pitchFamily="34" charset="0"/>
            </a:rPr>
            <a:t>Heterogen</a:t>
          </a:r>
        </a:p>
      </dgm:t>
    </dgm:pt>
    <dgm:pt modelId="{B3C6A11E-10F5-433C-A0FB-1B185A7D12E0}" type="parTrans" cxnId="{587DEAC9-60C3-45DB-9C9F-C26256D35C0F}">
      <dgm:prSet/>
      <dgm:spPr/>
      <dgm:t>
        <a:bodyPr/>
        <a:lstStyle/>
        <a:p>
          <a:endParaRPr lang="en-US" sz="1600"/>
        </a:p>
      </dgm:t>
    </dgm:pt>
    <dgm:pt modelId="{5C8BCF49-4277-47C2-9543-A10467E88E20}" type="sibTrans" cxnId="{587DEAC9-60C3-45DB-9C9F-C26256D35C0F}">
      <dgm:prSet/>
      <dgm:spPr/>
      <dgm:t>
        <a:bodyPr/>
        <a:lstStyle/>
        <a:p>
          <a:endParaRPr lang="en-US" sz="1600"/>
        </a:p>
      </dgm:t>
    </dgm:pt>
    <dgm:pt modelId="{CF5B8EE4-D285-4E9D-BBB6-5F2F77DD4689}">
      <dgm:prSet phldrT="[Text]" custT="1"/>
      <dgm:spPr/>
      <dgm:t>
        <a:bodyPr/>
        <a:lstStyle/>
        <a:p>
          <a:r>
            <a:rPr lang="de-DE" sz="1000" b="0" i="0" dirty="0">
              <a:latin typeface="Myriad Pro" panose="020B0503030403020204" pitchFamily="34" charset="0"/>
            </a:rPr>
            <a:t>YOLO</a:t>
          </a:r>
        </a:p>
      </dgm:t>
    </dgm:pt>
    <dgm:pt modelId="{D937D902-C50B-4BEC-9C1F-D9880BCC701B}" type="parTrans" cxnId="{2ED6F702-CE72-434F-A1BB-6BCE9E2DA2BA}">
      <dgm:prSet/>
      <dgm:spPr/>
      <dgm:t>
        <a:bodyPr/>
        <a:lstStyle/>
        <a:p>
          <a:endParaRPr lang="en-US" sz="1600"/>
        </a:p>
      </dgm:t>
    </dgm:pt>
    <dgm:pt modelId="{CADCD7D6-E889-4A66-B79B-3ACEEF43F075}" type="sibTrans" cxnId="{2ED6F702-CE72-434F-A1BB-6BCE9E2DA2BA}">
      <dgm:prSet/>
      <dgm:spPr/>
      <dgm:t>
        <a:bodyPr/>
        <a:lstStyle/>
        <a:p>
          <a:endParaRPr lang="en-US" sz="1600"/>
        </a:p>
      </dgm:t>
    </dgm:pt>
    <dgm:pt modelId="{CA25E3C2-D53A-4DAC-A356-274163CFD791}">
      <dgm:prSet phldrT="[Text]" custT="1"/>
      <dgm:spPr/>
      <dgm:t>
        <a:bodyPr/>
        <a:lstStyle/>
        <a:p>
          <a:r>
            <a:rPr lang="de-DE" sz="1000" b="0" i="0" dirty="0" err="1">
              <a:latin typeface="Myriad Pro" panose="020B0503030403020204" pitchFamily="34" charset="0"/>
            </a:rPr>
            <a:t>Expizit</a:t>
          </a:r>
          <a:r>
            <a:rPr lang="de-DE" sz="1000" b="0" i="0" dirty="0">
              <a:latin typeface="Myriad Pro" panose="020B0503030403020204" pitchFamily="34" charset="0"/>
            </a:rPr>
            <a:t> </a:t>
          </a:r>
        </a:p>
      </dgm:t>
    </dgm:pt>
    <dgm:pt modelId="{858DE0EA-690E-49F0-9AFD-401C85E7FBB4}" type="parTrans" cxnId="{5B99DD31-B3E6-465C-A8DB-0DF740AA5D7A}">
      <dgm:prSet/>
      <dgm:spPr/>
      <dgm:t>
        <a:bodyPr/>
        <a:lstStyle/>
        <a:p>
          <a:endParaRPr lang="de-DE"/>
        </a:p>
      </dgm:t>
    </dgm:pt>
    <dgm:pt modelId="{2D56470D-3197-4A03-90FE-5A65A52F7EFB}" type="sibTrans" cxnId="{5B99DD31-B3E6-465C-A8DB-0DF740AA5D7A}">
      <dgm:prSet/>
      <dgm:spPr/>
      <dgm:t>
        <a:bodyPr/>
        <a:lstStyle/>
        <a:p>
          <a:endParaRPr lang="de-DE"/>
        </a:p>
      </dgm:t>
    </dgm:pt>
    <dgm:pt modelId="{2FAED816-5ABD-44B8-9175-AD4921C3FE98}">
      <dgm:prSet phldrT="[Text]" custT="1"/>
      <dgm:spPr/>
      <dgm:t>
        <a:bodyPr/>
        <a:lstStyle/>
        <a:p>
          <a:r>
            <a:rPr lang="de-DE" sz="1000" b="0" i="0" dirty="0" err="1">
              <a:latin typeface="Myriad Pro" panose="020B0503030403020204" pitchFamily="34" charset="0"/>
            </a:rPr>
            <a:t>Augmentierung</a:t>
          </a:r>
          <a:endParaRPr lang="de-DE" sz="1000" b="0" i="0" dirty="0">
            <a:latin typeface="Myriad Pro" panose="020B0503030403020204" pitchFamily="34" charset="0"/>
          </a:endParaRPr>
        </a:p>
      </dgm:t>
    </dgm:pt>
    <dgm:pt modelId="{4827AEAC-F6B1-4792-BB11-A609080D91CA}" type="sibTrans" cxnId="{4BDF838B-A489-4DE6-9003-7CF5CCBF8353}">
      <dgm:prSet/>
      <dgm:spPr/>
      <dgm:t>
        <a:bodyPr/>
        <a:lstStyle/>
        <a:p>
          <a:endParaRPr lang="de-DE"/>
        </a:p>
      </dgm:t>
    </dgm:pt>
    <dgm:pt modelId="{2C61C4AB-FC34-4364-9323-4A9D6350BA1C}" type="parTrans" cxnId="{4BDF838B-A489-4DE6-9003-7CF5CCBF8353}">
      <dgm:prSet/>
      <dgm:spPr/>
      <dgm:t>
        <a:bodyPr/>
        <a:lstStyle/>
        <a:p>
          <a:endParaRPr lang="de-DE"/>
        </a:p>
      </dgm:t>
    </dgm:pt>
    <dgm:pt modelId="{86A07196-5E8B-49B8-84A4-6DF135FCBFFC}">
      <dgm:prSet phldrT="[Text]" custT="1"/>
      <dgm:spPr/>
      <dgm:t>
        <a:bodyPr/>
        <a:lstStyle/>
        <a:p>
          <a:r>
            <a:rPr lang="de-DE" sz="1000" b="0" i="0" dirty="0">
              <a:latin typeface="Myriad Pro" panose="020B0503030403020204" pitchFamily="34" charset="0"/>
            </a:rPr>
            <a:t>Loss-Funktion </a:t>
          </a:r>
        </a:p>
      </dgm:t>
    </dgm:pt>
    <dgm:pt modelId="{4B4DC438-D558-40CF-9151-49154A83FB16}" type="sibTrans" cxnId="{0BE45343-E5ED-46E6-9E17-DA36296E3029}">
      <dgm:prSet/>
      <dgm:spPr/>
      <dgm:t>
        <a:bodyPr/>
        <a:lstStyle/>
        <a:p>
          <a:endParaRPr lang="de-DE"/>
        </a:p>
      </dgm:t>
    </dgm:pt>
    <dgm:pt modelId="{D0F076D3-591F-4547-A436-4947EC5EA385}" type="parTrans" cxnId="{0BE45343-E5ED-46E6-9E17-DA36296E3029}">
      <dgm:prSet/>
      <dgm:spPr/>
      <dgm:t>
        <a:bodyPr/>
        <a:lstStyle/>
        <a:p>
          <a:endParaRPr lang="de-DE"/>
        </a:p>
      </dgm:t>
    </dgm:pt>
    <dgm:pt modelId="{BF1B7062-91AB-4F1D-BD08-8D3EC4B33C1F}">
      <dgm:prSet phldrT="[Text]" custT="1"/>
      <dgm:spPr/>
      <dgm:t>
        <a:bodyPr/>
        <a:lstStyle/>
        <a:p>
          <a:r>
            <a:rPr lang="de-DE" sz="1000" b="0" i="0" dirty="0">
              <a:latin typeface="Myriad Pro" panose="020B0503030403020204" pitchFamily="34" charset="0"/>
            </a:rPr>
            <a:t>Architektur</a:t>
          </a:r>
        </a:p>
      </dgm:t>
    </dgm:pt>
    <dgm:pt modelId="{8ACEFE3D-DAAE-46D2-BF29-AF7B5FBB783D}" type="parTrans" cxnId="{626342BF-3559-4137-A851-ACB1710B13E3}">
      <dgm:prSet/>
      <dgm:spPr/>
      <dgm:t>
        <a:bodyPr/>
        <a:lstStyle/>
        <a:p>
          <a:endParaRPr lang="de-DE"/>
        </a:p>
      </dgm:t>
    </dgm:pt>
    <dgm:pt modelId="{0FF6A2D2-189B-4085-A91C-E4641E47ACCE}" type="sibTrans" cxnId="{626342BF-3559-4137-A851-ACB1710B13E3}">
      <dgm:prSet/>
      <dgm:spPr/>
      <dgm:t>
        <a:bodyPr/>
        <a:lstStyle/>
        <a:p>
          <a:endParaRPr lang="de-DE"/>
        </a:p>
      </dgm:t>
    </dgm:pt>
    <dgm:pt modelId="{4D897679-FA7C-48A2-A57F-5D0431886FF7}">
      <dgm:prSet phldrT="[Text]" custT="1"/>
      <dgm:spPr/>
      <dgm:t>
        <a:bodyPr/>
        <a:lstStyle/>
        <a:p>
          <a:r>
            <a:rPr lang="de-DE" sz="800" b="0" i="0" dirty="0">
              <a:latin typeface="Myriad Pro" panose="020B0503030403020204" pitchFamily="34" charset="0"/>
            </a:rPr>
            <a:t>U-Net</a:t>
          </a:r>
        </a:p>
      </dgm:t>
    </dgm:pt>
    <dgm:pt modelId="{C7C06085-9DF0-469C-90B3-434C5E418A6D}" type="parTrans" cxnId="{A3A0BCFB-D8D9-4632-B5AB-CF4EFA2E3C41}">
      <dgm:prSet/>
      <dgm:spPr/>
      <dgm:t>
        <a:bodyPr/>
        <a:lstStyle/>
        <a:p>
          <a:endParaRPr lang="de-DE"/>
        </a:p>
      </dgm:t>
    </dgm:pt>
    <dgm:pt modelId="{D55B2488-3E22-41F8-99B8-F1276460587D}" type="sibTrans" cxnId="{A3A0BCFB-D8D9-4632-B5AB-CF4EFA2E3C41}">
      <dgm:prSet/>
      <dgm:spPr/>
      <dgm:t>
        <a:bodyPr/>
        <a:lstStyle/>
        <a:p>
          <a:endParaRPr lang="de-DE"/>
        </a:p>
      </dgm:t>
    </dgm:pt>
    <dgm:pt modelId="{48CAF46E-7318-4269-B88D-4072C010818D}">
      <dgm:prSet phldrT="[Text]" custT="1"/>
      <dgm:spPr/>
      <dgm:t>
        <a:bodyPr/>
        <a:lstStyle/>
        <a:p>
          <a:r>
            <a:rPr lang="de-DE" sz="800" b="0" i="0" dirty="0">
              <a:latin typeface="Myriad Pro" panose="020B0503030403020204" pitchFamily="34" charset="0"/>
            </a:rPr>
            <a:t>U-Net++</a:t>
          </a:r>
        </a:p>
      </dgm:t>
    </dgm:pt>
    <dgm:pt modelId="{81CB6F6D-48DA-416D-9426-0B6E4B5AD737}" type="parTrans" cxnId="{75353E2D-D5F4-4C4B-8BFF-3A25A17EC9FB}">
      <dgm:prSet/>
      <dgm:spPr/>
      <dgm:t>
        <a:bodyPr/>
        <a:lstStyle/>
        <a:p>
          <a:endParaRPr lang="de-DE"/>
        </a:p>
      </dgm:t>
    </dgm:pt>
    <dgm:pt modelId="{D0BFACD0-8F45-4F8C-9779-0AF1AE559907}" type="sibTrans" cxnId="{75353E2D-D5F4-4C4B-8BFF-3A25A17EC9FB}">
      <dgm:prSet/>
      <dgm:spPr/>
      <dgm:t>
        <a:bodyPr/>
        <a:lstStyle/>
        <a:p>
          <a:endParaRPr lang="de-DE"/>
        </a:p>
      </dgm:t>
    </dgm:pt>
    <dgm:pt modelId="{ADED253C-6A2E-4631-B1D4-F5E1FE2B5B55}">
      <dgm:prSet phldrT="[Text]" custT="1"/>
      <dgm:spPr/>
      <dgm:t>
        <a:bodyPr/>
        <a:lstStyle/>
        <a:p>
          <a:r>
            <a:rPr lang="de-DE" sz="800" b="0" i="0" dirty="0">
              <a:latin typeface="Myriad Pro" panose="020B0503030403020204" pitchFamily="34" charset="0"/>
            </a:rPr>
            <a:t>FPN</a:t>
          </a:r>
        </a:p>
      </dgm:t>
    </dgm:pt>
    <dgm:pt modelId="{23EDCDD5-F170-402F-A11E-15FD466C3CE5}" type="parTrans" cxnId="{7CDA6FEF-3872-4337-84FA-0DD423E0FBC5}">
      <dgm:prSet/>
      <dgm:spPr/>
      <dgm:t>
        <a:bodyPr/>
        <a:lstStyle/>
        <a:p>
          <a:endParaRPr lang="de-DE"/>
        </a:p>
      </dgm:t>
    </dgm:pt>
    <dgm:pt modelId="{074D77D4-B07D-447C-B97C-356C65F95759}" type="sibTrans" cxnId="{7CDA6FEF-3872-4337-84FA-0DD423E0FBC5}">
      <dgm:prSet/>
      <dgm:spPr/>
      <dgm:t>
        <a:bodyPr/>
        <a:lstStyle/>
        <a:p>
          <a:endParaRPr lang="de-DE"/>
        </a:p>
      </dgm:t>
    </dgm:pt>
    <dgm:pt modelId="{D11BAA21-3D0E-4BFE-97F1-F349F96BB7F2}">
      <dgm:prSet phldrT="[Text]" custT="1"/>
      <dgm:spPr/>
      <dgm:t>
        <a:bodyPr/>
        <a:lstStyle/>
        <a:p>
          <a:r>
            <a:rPr lang="de-DE" sz="800" b="0" i="0" dirty="0">
              <a:latin typeface="Myriad Pro" panose="020B0503030403020204" pitchFamily="34" charset="0"/>
            </a:rPr>
            <a:t>PSPN</a:t>
          </a:r>
        </a:p>
      </dgm:t>
    </dgm:pt>
    <dgm:pt modelId="{524ED0C4-9CC2-4C2A-B51C-974FA37A7FE7}" type="parTrans" cxnId="{46C105CF-449F-4F1C-B399-CE70EC74C4C8}">
      <dgm:prSet/>
      <dgm:spPr/>
      <dgm:t>
        <a:bodyPr/>
        <a:lstStyle/>
        <a:p>
          <a:endParaRPr lang="de-DE"/>
        </a:p>
      </dgm:t>
    </dgm:pt>
    <dgm:pt modelId="{632B7E11-8BCB-44BB-80A1-C58DA59BDECF}" type="sibTrans" cxnId="{46C105CF-449F-4F1C-B399-CE70EC74C4C8}">
      <dgm:prSet/>
      <dgm:spPr/>
      <dgm:t>
        <a:bodyPr/>
        <a:lstStyle/>
        <a:p>
          <a:endParaRPr lang="de-DE"/>
        </a:p>
      </dgm:t>
    </dgm:pt>
    <dgm:pt modelId="{33587DE4-8F92-4CA4-A011-892138D47DA7}">
      <dgm:prSet phldrT="[Text]" custT="1"/>
      <dgm:spPr/>
      <dgm:t>
        <a:bodyPr/>
        <a:lstStyle/>
        <a:p>
          <a:r>
            <a:rPr lang="de-DE" sz="800" b="0" i="0" dirty="0">
              <a:latin typeface="Myriad Pro" panose="020B0503030403020204" pitchFamily="34" charset="0"/>
            </a:rPr>
            <a:t>PAN</a:t>
          </a:r>
        </a:p>
      </dgm:t>
    </dgm:pt>
    <dgm:pt modelId="{31BDA904-A9EF-437C-9DAF-E5BDF8C1106E}" type="parTrans" cxnId="{32BA70E3-2B88-4E2B-9094-EE86858857DA}">
      <dgm:prSet/>
      <dgm:spPr/>
      <dgm:t>
        <a:bodyPr/>
        <a:lstStyle/>
        <a:p>
          <a:endParaRPr lang="de-DE"/>
        </a:p>
      </dgm:t>
    </dgm:pt>
    <dgm:pt modelId="{359CEDC3-C134-4529-AEBB-BBDE1EA7D255}" type="sibTrans" cxnId="{32BA70E3-2B88-4E2B-9094-EE86858857DA}">
      <dgm:prSet/>
      <dgm:spPr/>
      <dgm:t>
        <a:bodyPr/>
        <a:lstStyle/>
        <a:p>
          <a:endParaRPr lang="de-DE"/>
        </a:p>
      </dgm:t>
    </dgm:pt>
    <dgm:pt modelId="{DAFF3CB8-4780-4F42-8F5A-A2879CF5C5A6}">
      <dgm:prSet phldrT="[Text]" custT="1"/>
      <dgm:spPr/>
      <dgm:t>
        <a:bodyPr/>
        <a:lstStyle/>
        <a:p>
          <a:r>
            <a:rPr lang="de-DE" sz="1000" b="0" i="0" dirty="0" err="1">
              <a:latin typeface="Myriad Pro" panose="020B0503030403020204" pitchFamily="34" charset="0"/>
            </a:rPr>
            <a:t>Lernrate</a:t>
          </a:r>
          <a:endParaRPr lang="de-DE" sz="1000" b="0" i="0" dirty="0">
            <a:latin typeface="Myriad Pro" panose="020B0503030403020204" pitchFamily="34" charset="0"/>
          </a:endParaRPr>
        </a:p>
      </dgm:t>
    </dgm:pt>
    <dgm:pt modelId="{BB72E3E4-7E20-4FF3-87BE-AD24CB2F12EE}" type="parTrans" cxnId="{C5BE0DE1-3793-4C23-A900-78112F2919D4}">
      <dgm:prSet/>
      <dgm:spPr/>
      <dgm:t>
        <a:bodyPr/>
        <a:lstStyle/>
        <a:p>
          <a:endParaRPr lang="de-DE"/>
        </a:p>
      </dgm:t>
    </dgm:pt>
    <dgm:pt modelId="{1E1C3655-4299-4282-B808-C53E3FABF68D}" type="sibTrans" cxnId="{C5BE0DE1-3793-4C23-A900-78112F2919D4}">
      <dgm:prSet/>
      <dgm:spPr/>
      <dgm:t>
        <a:bodyPr/>
        <a:lstStyle/>
        <a:p>
          <a:endParaRPr lang="de-DE"/>
        </a:p>
      </dgm:t>
    </dgm:pt>
    <dgm:pt modelId="{49A0BB83-CEA0-46AB-9D0B-B65F612AEE4A}">
      <dgm:prSet phldrT="[Text]" custT="1"/>
      <dgm:spPr/>
      <dgm:t>
        <a:bodyPr/>
        <a:lstStyle/>
        <a:p>
          <a:r>
            <a:rPr lang="de-DE" sz="1000" b="0" i="0" dirty="0">
              <a:latin typeface="Myriad Pro" panose="020B0503030403020204" pitchFamily="34" charset="0"/>
            </a:rPr>
            <a:t>Encoder</a:t>
          </a:r>
        </a:p>
      </dgm:t>
    </dgm:pt>
    <dgm:pt modelId="{AE65C2BF-225F-4643-AE59-9457E6820B24}" type="parTrans" cxnId="{0419F4C6-C72F-44E5-856A-7A5E20A609B0}">
      <dgm:prSet/>
      <dgm:spPr/>
      <dgm:t>
        <a:bodyPr/>
        <a:lstStyle/>
        <a:p>
          <a:endParaRPr lang="de-DE"/>
        </a:p>
      </dgm:t>
    </dgm:pt>
    <dgm:pt modelId="{2328B74F-4929-49C4-A401-C9585D838753}" type="sibTrans" cxnId="{0419F4C6-C72F-44E5-856A-7A5E20A609B0}">
      <dgm:prSet/>
      <dgm:spPr/>
      <dgm:t>
        <a:bodyPr/>
        <a:lstStyle/>
        <a:p>
          <a:endParaRPr lang="de-DE"/>
        </a:p>
      </dgm:t>
    </dgm:pt>
    <dgm:pt modelId="{E0EC0A27-9EDB-47A4-8DED-CBD1A61B9BC9}">
      <dgm:prSet phldrT="[Text]" custT="1"/>
      <dgm:spPr/>
      <dgm:t>
        <a:bodyPr/>
        <a:lstStyle/>
        <a:p>
          <a:r>
            <a:rPr lang="de-DE" sz="800" b="0" i="0" dirty="0">
              <a:latin typeface="Myriad Pro" panose="020B0503030403020204" pitchFamily="34" charset="0"/>
            </a:rPr>
            <a:t>Inception-V4</a:t>
          </a:r>
        </a:p>
      </dgm:t>
    </dgm:pt>
    <dgm:pt modelId="{42F96A8F-BB1E-4B89-AB8E-11A0F37EB1DB}" type="parTrans" cxnId="{FEC8D416-8216-4562-8549-24473B803C80}">
      <dgm:prSet/>
      <dgm:spPr/>
      <dgm:t>
        <a:bodyPr/>
        <a:lstStyle/>
        <a:p>
          <a:endParaRPr lang="de-DE"/>
        </a:p>
      </dgm:t>
    </dgm:pt>
    <dgm:pt modelId="{C6050D19-3AE0-4870-8460-7297D5C8A50F}" type="sibTrans" cxnId="{FEC8D416-8216-4562-8549-24473B803C80}">
      <dgm:prSet/>
      <dgm:spPr/>
      <dgm:t>
        <a:bodyPr/>
        <a:lstStyle/>
        <a:p>
          <a:endParaRPr lang="de-DE"/>
        </a:p>
      </dgm:t>
    </dgm:pt>
    <dgm:pt modelId="{4DA8AE24-A75C-40AE-A6A1-13FE57AE449D}">
      <dgm:prSet phldrT="[Text]" custT="1"/>
      <dgm:spPr/>
      <dgm:t>
        <a:bodyPr/>
        <a:lstStyle/>
        <a:p>
          <a:r>
            <a:rPr lang="de-DE" sz="800" b="0" i="0" dirty="0" err="1">
              <a:latin typeface="Myriad Pro" panose="020B0503030403020204" pitchFamily="34" charset="0"/>
            </a:rPr>
            <a:t>Inception-ResNet</a:t>
          </a:r>
          <a:endParaRPr lang="de-DE" sz="800" b="0" i="0" dirty="0">
            <a:latin typeface="Myriad Pro" panose="020B0503030403020204" pitchFamily="34" charset="0"/>
          </a:endParaRPr>
        </a:p>
      </dgm:t>
    </dgm:pt>
    <dgm:pt modelId="{2DCC687C-BE9B-4DD8-8A80-E970635437CA}" type="parTrans" cxnId="{F4D4E3EF-4C7A-4DD4-B693-2A68087757F8}">
      <dgm:prSet/>
      <dgm:spPr/>
      <dgm:t>
        <a:bodyPr/>
        <a:lstStyle/>
        <a:p>
          <a:endParaRPr lang="de-DE"/>
        </a:p>
      </dgm:t>
    </dgm:pt>
    <dgm:pt modelId="{DF4C3ABC-A688-4048-91A3-DFE9CE606182}" type="sibTrans" cxnId="{F4D4E3EF-4C7A-4DD4-B693-2A68087757F8}">
      <dgm:prSet/>
      <dgm:spPr/>
      <dgm:t>
        <a:bodyPr/>
        <a:lstStyle/>
        <a:p>
          <a:endParaRPr lang="de-DE"/>
        </a:p>
      </dgm:t>
    </dgm:pt>
    <dgm:pt modelId="{C1F68F19-94EA-4970-A79B-863E823848E5}">
      <dgm:prSet phldrT="[Text]" custT="1"/>
      <dgm:spPr/>
      <dgm:t>
        <a:bodyPr/>
        <a:lstStyle/>
        <a:p>
          <a:r>
            <a:rPr lang="de-DE" sz="800" b="0" i="0" dirty="0">
              <a:latin typeface="Myriad Pro" panose="020B0503030403020204" pitchFamily="34" charset="0"/>
            </a:rPr>
            <a:t>Res-Net</a:t>
          </a:r>
        </a:p>
      </dgm:t>
    </dgm:pt>
    <dgm:pt modelId="{0F1B911F-6353-4AE6-9EEF-D49625DE905E}" type="parTrans" cxnId="{4A7380CF-8162-4F2E-9F90-B51642631E94}">
      <dgm:prSet/>
      <dgm:spPr/>
      <dgm:t>
        <a:bodyPr/>
        <a:lstStyle/>
        <a:p>
          <a:endParaRPr lang="de-DE"/>
        </a:p>
      </dgm:t>
    </dgm:pt>
    <dgm:pt modelId="{60DB14D8-838D-4A63-A334-C12EB1C7625D}" type="sibTrans" cxnId="{4A7380CF-8162-4F2E-9F90-B51642631E94}">
      <dgm:prSet/>
      <dgm:spPr/>
      <dgm:t>
        <a:bodyPr/>
        <a:lstStyle/>
        <a:p>
          <a:endParaRPr lang="de-DE"/>
        </a:p>
      </dgm:t>
    </dgm:pt>
    <dgm:pt modelId="{3EC8FF9E-3113-473A-A5E5-ABD9C5F94794}">
      <dgm:prSet phldrT="[Text]" custT="1"/>
      <dgm:spPr/>
      <dgm:t>
        <a:bodyPr/>
        <a:lstStyle/>
        <a:p>
          <a:r>
            <a:rPr lang="de-DE" sz="800" b="0" i="0" dirty="0" err="1">
              <a:latin typeface="Myriad Pro" panose="020B0503030403020204" pitchFamily="34" charset="0"/>
            </a:rPr>
            <a:t>ResNext</a:t>
          </a:r>
          <a:endParaRPr lang="de-DE" sz="800" b="0" i="0" dirty="0">
            <a:latin typeface="Myriad Pro" panose="020B0503030403020204" pitchFamily="34" charset="0"/>
          </a:endParaRPr>
        </a:p>
      </dgm:t>
    </dgm:pt>
    <dgm:pt modelId="{87CDD4F3-E71F-44A9-B515-E47672A849B6}" type="parTrans" cxnId="{0A8FCBF8-AD1F-4CF4-8568-2F5CBABA5157}">
      <dgm:prSet/>
      <dgm:spPr/>
      <dgm:t>
        <a:bodyPr/>
        <a:lstStyle/>
        <a:p>
          <a:endParaRPr lang="de-DE"/>
        </a:p>
      </dgm:t>
    </dgm:pt>
    <dgm:pt modelId="{25369813-4686-4B37-9746-915D5E2ABB1B}" type="sibTrans" cxnId="{0A8FCBF8-AD1F-4CF4-8568-2F5CBABA5157}">
      <dgm:prSet/>
      <dgm:spPr/>
      <dgm:t>
        <a:bodyPr/>
        <a:lstStyle/>
        <a:p>
          <a:endParaRPr lang="de-DE"/>
        </a:p>
      </dgm:t>
    </dgm:pt>
    <dgm:pt modelId="{50C4D88C-9CB0-4513-8456-755395491158}" type="pres">
      <dgm:prSet presAssocID="{96C9D5F4-FF4F-420D-8420-A926E166D7A2}" presName="Name0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</dgm:pt>
    <dgm:pt modelId="{506FBA0B-6598-4404-B87A-56869B8718E3}" type="pres">
      <dgm:prSet presAssocID="{D0997319-AE2C-4C46-ADCB-BA43BE3F3F54}" presName="root1" presStyleCnt="0"/>
      <dgm:spPr/>
    </dgm:pt>
    <dgm:pt modelId="{DCF5B4EF-DE4F-4292-A3B2-724C163A44AB}" type="pres">
      <dgm:prSet presAssocID="{D0997319-AE2C-4C46-ADCB-BA43BE3F3F54}" presName="LevelOneTextNode" presStyleLbl="node0" presStyleIdx="0" presStyleCnt="1">
        <dgm:presLayoutVars>
          <dgm:chPref val="3"/>
        </dgm:presLayoutVars>
      </dgm:prSet>
      <dgm:spPr/>
    </dgm:pt>
    <dgm:pt modelId="{7E8A6FC8-F240-4C27-8F75-0549E9D1CE4E}" type="pres">
      <dgm:prSet presAssocID="{D0997319-AE2C-4C46-ADCB-BA43BE3F3F54}" presName="level2hierChild" presStyleCnt="0"/>
      <dgm:spPr/>
    </dgm:pt>
    <dgm:pt modelId="{BE328E0A-C287-4B1A-BD90-C0F3098FFCD9}" type="pres">
      <dgm:prSet presAssocID="{B164CB56-71EE-412E-A3A2-1509A3B08E05}" presName="conn2-1" presStyleLbl="parChTrans1D2" presStyleIdx="0" presStyleCnt="3"/>
      <dgm:spPr/>
    </dgm:pt>
    <dgm:pt modelId="{1EB559E9-DB95-4028-B960-01A592B99E92}" type="pres">
      <dgm:prSet presAssocID="{B164CB56-71EE-412E-A3A2-1509A3B08E05}" presName="connTx" presStyleLbl="parChTrans1D2" presStyleIdx="0" presStyleCnt="3"/>
      <dgm:spPr/>
    </dgm:pt>
    <dgm:pt modelId="{9893F228-CFAA-415F-97D9-8C8EA9FB1BC5}" type="pres">
      <dgm:prSet presAssocID="{8E70AA8F-7583-4AFE-9EDE-87363894E1F8}" presName="root2" presStyleCnt="0"/>
      <dgm:spPr/>
    </dgm:pt>
    <dgm:pt modelId="{49ADAAAB-354D-4968-9DE9-378E6595E5BB}" type="pres">
      <dgm:prSet presAssocID="{8E70AA8F-7583-4AFE-9EDE-87363894E1F8}" presName="LevelTwoTextNode" presStyleLbl="node2" presStyleIdx="0" presStyleCnt="3">
        <dgm:presLayoutVars>
          <dgm:chPref val="3"/>
        </dgm:presLayoutVars>
      </dgm:prSet>
      <dgm:spPr/>
    </dgm:pt>
    <dgm:pt modelId="{46E2FE2A-A747-4DEE-AAF5-53A8EE84B06B}" type="pres">
      <dgm:prSet presAssocID="{8E70AA8F-7583-4AFE-9EDE-87363894E1F8}" presName="level3hierChild" presStyleCnt="0"/>
      <dgm:spPr/>
    </dgm:pt>
    <dgm:pt modelId="{A00DE1AA-92DF-4607-98DB-1C3BB048DCF5}" type="pres">
      <dgm:prSet presAssocID="{8ACEFE3D-DAAE-46D2-BF29-AF7B5FBB783D}" presName="conn2-1" presStyleLbl="parChTrans1D3" presStyleIdx="0" presStyleCnt="10"/>
      <dgm:spPr/>
    </dgm:pt>
    <dgm:pt modelId="{FCADF10C-D51C-403A-B095-E884F4771DA4}" type="pres">
      <dgm:prSet presAssocID="{8ACEFE3D-DAAE-46D2-BF29-AF7B5FBB783D}" presName="connTx" presStyleLbl="parChTrans1D3" presStyleIdx="0" presStyleCnt="10"/>
      <dgm:spPr/>
    </dgm:pt>
    <dgm:pt modelId="{82114EE1-887C-431E-AFFD-6C4277E5953D}" type="pres">
      <dgm:prSet presAssocID="{BF1B7062-91AB-4F1D-BD08-8D3EC4B33C1F}" presName="root2" presStyleCnt="0"/>
      <dgm:spPr/>
    </dgm:pt>
    <dgm:pt modelId="{F9F18759-F577-4686-9C34-EB964D732C77}" type="pres">
      <dgm:prSet presAssocID="{BF1B7062-91AB-4F1D-BD08-8D3EC4B33C1F}" presName="LevelTwoTextNode" presStyleLbl="node3" presStyleIdx="0" presStyleCnt="10">
        <dgm:presLayoutVars>
          <dgm:chPref val="3"/>
        </dgm:presLayoutVars>
      </dgm:prSet>
      <dgm:spPr/>
    </dgm:pt>
    <dgm:pt modelId="{54BDE115-2A0C-4217-89B4-E7E8586234DB}" type="pres">
      <dgm:prSet presAssocID="{BF1B7062-91AB-4F1D-BD08-8D3EC4B33C1F}" presName="level3hierChild" presStyleCnt="0"/>
      <dgm:spPr/>
    </dgm:pt>
    <dgm:pt modelId="{6D05A90F-5A8D-42F9-A2CB-82F28C0FF2BC}" type="pres">
      <dgm:prSet presAssocID="{C7C06085-9DF0-469C-90B3-434C5E418A6D}" presName="conn2-1" presStyleLbl="parChTrans1D4" presStyleIdx="0" presStyleCnt="9"/>
      <dgm:spPr/>
    </dgm:pt>
    <dgm:pt modelId="{799FD5E4-5D76-4338-BDA8-9F7F790A3A29}" type="pres">
      <dgm:prSet presAssocID="{C7C06085-9DF0-469C-90B3-434C5E418A6D}" presName="connTx" presStyleLbl="parChTrans1D4" presStyleIdx="0" presStyleCnt="9"/>
      <dgm:spPr/>
    </dgm:pt>
    <dgm:pt modelId="{1C875D8C-6779-45C7-9DF1-E38374A18533}" type="pres">
      <dgm:prSet presAssocID="{4D897679-FA7C-48A2-A57F-5D0431886FF7}" presName="root2" presStyleCnt="0"/>
      <dgm:spPr/>
    </dgm:pt>
    <dgm:pt modelId="{F8A94DA1-2081-4A8B-816C-A9F98C2853F5}" type="pres">
      <dgm:prSet presAssocID="{4D897679-FA7C-48A2-A57F-5D0431886FF7}" presName="LevelTwoTextNode" presStyleLbl="node4" presStyleIdx="0" presStyleCnt="9">
        <dgm:presLayoutVars>
          <dgm:chPref val="3"/>
        </dgm:presLayoutVars>
      </dgm:prSet>
      <dgm:spPr/>
    </dgm:pt>
    <dgm:pt modelId="{BE78AA36-14CC-406D-9CAF-F23AD3DFDFED}" type="pres">
      <dgm:prSet presAssocID="{4D897679-FA7C-48A2-A57F-5D0431886FF7}" presName="level3hierChild" presStyleCnt="0"/>
      <dgm:spPr/>
    </dgm:pt>
    <dgm:pt modelId="{8F0AA0AA-EF8D-43DE-82C5-2D7BFD08315F}" type="pres">
      <dgm:prSet presAssocID="{81CB6F6D-48DA-416D-9426-0B6E4B5AD737}" presName="conn2-1" presStyleLbl="parChTrans1D4" presStyleIdx="1" presStyleCnt="9"/>
      <dgm:spPr/>
    </dgm:pt>
    <dgm:pt modelId="{FD15021D-62B7-4A46-932A-654E778DB44B}" type="pres">
      <dgm:prSet presAssocID="{81CB6F6D-48DA-416D-9426-0B6E4B5AD737}" presName="connTx" presStyleLbl="parChTrans1D4" presStyleIdx="1" presStyleCnt="9"/>
      <dgm:spPr/>
    </dgm:pt>
    <dgm:pt modelId="{92C6DF90-94C7-417B-A0B7-472D3330DFC6}" type="pres">
      <dgm:prSet presAssocID="{48CAF46E-7318-4269-B88D-4072C010818D}" presName="root2" presStyleCnt="0"/>
      <dgm:spPr/>
    </dgm:pt>
    <dgm:pt modelId="{571B8373-7DFF-4282-8AA6-80F7CC7EA7C8}" type="pres">
      <dgm:prSet presAssocID="{48CAF46E-7318-4269-B88D-4072C010818D}" presName="LevelTwoTextNode" presStyleLbl="node4" presStyleIdx="1" presStyleCnt="9">
        <dgm:presLayoutVars>
          <dgm:chPref val="3"/>
        </dgm:presLayoutVars>
      </dgm:prSet>
      <dgm:spPr/>
    </dgm:pt>
    <dgm:pt modelId="{2E395B4D-D351-4809-A97B-BD1545D151D6}" type="pres">
      <dgm:prSet presAssocID="{48CAF46E-7318-4269-B88D-4072C010818D}" presName="level3hierChild" presStyleCnt="0"/>
      <dgm:spPr/>
    </dgm:pt>
    <dgm:pt modelId="{709C936E-7E65-4B5A-AC40-4548A25152AC}" type="pres">
      <dgm:prSet presAssocID="{23EDCDD5-F170-402F-A11E-15FD466C3CE5}" presName="conn2-1" presStyleLbl="parChTrans1D4" presStyleIdx="2" presStyleCnt="9"/>
      <dgm:spPr/>
    </dgm:pt>
    <dgm:pt modelId="{79D3B186-92E5-40C6-A995-4173A00C788D}" type="pres">
      <dgm:prSet presAssocID="{23EDCDD5-F170-402F-A11E-15FD466C3CE5}" presName="connTx" presStyleLbl="parChTrans1D4" presStyleIdx="2" presStyleCnt="9"/>
      <dgm:spPr/>
    </dgm:pt>
    <dgm:pt modelId="{288D4D72-A885-421E-B53B-89BEC0A8E191}" type="pres">
      <dgm:prSet presAssocID="{ADED253C-6A2E-4631-B1D4-F5E1FE2B5B55}" presName="root2" presStyleCnt="0"/>
      <dgm:spPr/>
    </dgm:pt>
    <dgm:pt modelId="{9E59A063-5821-4E2B-8FD8-3EBA8922B98E}" type="pres">
      <dgm:prSet presAssocID="{ADED253C-6A2E-4631-B1D4-F5E1FE2B5B55}" presName="LevelTwoTextNode" presStyleLbl="node4" presStyleIdx="2" presStyleCnt="9">
        <dgm:presLayoutVars>
          <dgm:chPref val="3"/>
        </dgm:presLayoutVars>
      </dgm:prSet>
      <dgm:spPr/>
    </dgm:pt>
    <dgm:pt modelId="{A60165E3-8C06-4086-B11F-0E702421E440}" type="pres">
      <dgm:prSet presAssocID="{ADED253C-6A2E-4631-B1D4-F5E1FE2B5B55}" presName="level3hierChild" presStyleCnt="0"/>
      <dgm:spPr/>
    </dgm:pt>
    <dgm:pt modelId="{C5F46441-018D-4AD0-9984-278FB6B3653F}" type="pres">
      <dgm:prSet presAssocID="{524ED0C4-9CC2-4C2A-B51C-974FA37A7FE7}" presName="conn2-1" presStyleLbl="parChTrans1D4" presStyleIdx="3" presStyleCnt="9"/>
      <dgm:spPr/>
    </dgm:pt>
    <dgm:pt modelId="{D9EA4352-69AB-4BEF-A3B8-25557C0E3D3D}" type="pres">
      <dgm:prSet presAssocID="{524ED0C4-9CC2-4C2A-B51C-974FA37A7FE7}" presName="connTx" presStyleLbl="parChTrans1D4" presStyleIdx="3" presStyleCnt="9"/>
      <dgm:spPr/>
    </dgm:pt>
    <dgm:pt modelId="{0E92266F-6127-4D65-BB11-33FD467F105D}" type="pres">
      <dgm:prSet presAssocID="{D11BAA21-3D0E-4BFE-97F1-F349F96BB7F2}" presName="root2" presStyleCnt="0"/>
      <dgm:spPr/>
    </dgm:pt>
    <dgm:pt modelId="{E35C2840-DB93-493D-B275-166B0E0C4A9D}" type="pres">
      <dgm:prSet presAssocID="{D11BAA21-3D0E-4BFE-97F1-F349F96BB7F2}" presName="LevelTwoTextNode" presStyleLbl="node4" presStyleIdx="3" presStyleCnt="9">
        <dgm:presLayoutVars>
          <dgm:chPref val="3"/>
        </dgm:presLayoutVars>
      </dgm:prSet>
      <dgm:spPr/>
    </dgm:pt>
    <dgm:pt modelId="{D8A053A6-8CD3-465F-9ECC-7C0D113893EE}" type="pres">
      <dgm:prSet presAssocID="{D11BAA21-3D0E-4BFE-97F1-F349F96BB7F2}" presName="level3hierChild" presStyleCnt="0"/>
      <dgm:spPr/>
    </dgm:pt>
    <dgm:pt modelId="{FAF45787-F807-4BB6-923D-0C0E2CD8C149}" type="pres">
      <dgm:prSet presAssocID="{31BDA904-A9EF-437C-9DAF-E5BDF8C1106E}" presName="conn2-1" presStyleLbl="parChTrans1D4" presStyleIdx="4" presStyleCnt="9"/>
      <dgm:spPr/>
    </dgm:pt>
    <dgm:pt modelId="{8B0AB1CA-7D19-4139-820F-FBEA5B4373F8}" type="pres">
      <dgm:prSet presAssocID="{31BDA904-A9EF-437C-9DAF-E5BDF8C1106E}" presName="connTx" presStyleLbl="parChTrans1D4" presStyleIdx="4" presStyleCnt="9"/>
      <dgm:spPr/>
    </dgm:pt>
    <dgm:pt modelId="{C3306D52-2437-4385-ACA3-7D8CE9EB0569}" type="pres">
      <dgm:prSet presAssocID="{33587DE4-8F92-4CA4-A011-892138D47DA7}" presName="root2" presStyleCnt="0"/>
      <dgm:spPr/>
    </dgm:pt>
    <dgm:pt modelId="{8F47A465-73D6-48E5-83FD-F149301C3BBD}" type="pres">
      <dgm:prSet presAssocID="{33587DE4-8F92-4CA4-A011-892138D47DA7}" presName="LevelTwoTextNode" presStyleLbl="node4" presStyleIdx="4" presStyleCnt="9">
        <dgm:presLayoutVars>
          <dgm:chPref val="3"/>
        </dgm:presLayoutVars>
      </dgm:prSet>
      <dgm:spPr/>
    </dgm:pt>
    <dgm:pt modelId="{E32E857A-F3CD-4263-AB35-D59E97F83B1D}" type="pres">
      <dgm:prSet presAssocID="{33587DE4-8F92-4CA4-A011-892138D47DA7}" presName="level3hierChild" presStyleCnt="0"/>
      <dgm:spPr/>
    </dgm:pt>
    <dgm:pt modelId="{5BC2DE1D-C4D7-4BFC-A0C1-3D282DC024CD}" type="pres">
      <dgm:prSet presAssocID="{AE65C2BF-225F-4643-AE59-9457E6820B24}" presName="conn2-1" presStyleLbl="parChTrans1D3" presStyleIdx="1" presStyleCnt="10"/>
      <dgm:spPr/>
    </dgm:pt>
    <dgm:pt modelId="{0C497864-2349-44C5-8D11-5F89748F0519}" type="pres">
      <dgm:prSet presAssocID="{AE65C2BF-225F-4643-AE59-9457E6820B24}" presName="connTx" presStyleLbl="parChTrans1D3" presStyleIdx="1" presStyleCnt="10"/>
      <dgm:spPr/>
    </dgm:pt>
    <dgm:pt modelId="{9DEE4079-5D60-4753-AEAE-EF1343D66E8F}" type="pres">
      <dgm:prSet presAssocID="{49A0BB83-CEA0-46AB-9D0B-B65F612AEE4A}" presName="root2" presStyleCnt="0"/>
      <dgm:spPr/>
    </dgm:pt>
    <dgm:pt modelId="{DC0B28EB-699E-45BB-87EC-30E574E72821}" type="pres">
      <dgm:prSet presAssocID="{49A0BB83-CEA0-46AB-9D0B-B65F612AEE4A}" presName="LevelTwoTextNode" presStyleLbl="node3" presStyleIdx="1" presStyleCnt="10">
        <dgm:presLayoutVars>
          <dgm:chPref val="3"/>
        </dgm:presLayoutVars>
      </dgm:prSet>
      <dgm:spPr/>
    </dgm:pt>
    <dgm:pt modelId="{F96545F6-99BC-46B9-929F-A49863AE73CF}" type="pres">
      <dgm:prSet presAssocID="{49A0BB83-CEA0-46AB-9D0B-B65F612AEE4A}" presName="level3hierChild" presStyleCnt="0"/>
      <dgm:spPr/>
    </dgm:pt>
    <dgm:pt modelId="{7F2C676C-E906-4B26-892E-C728B9239429}" type="pres">
      <dgm:prSet presAssocID="{42F96A8F-BB1E-4B89-AB8E-11A0F37EB1DB}" presName="conn2-1" presStyleLbl="parChTrans1D4" presStyleIdx="5" presStyleCnt="9"/>
      <dgm:spPr/>
    </dgm:pt>
    <dgm:pt modelId="{F614A676-E312-4A6F-BE9F-B6E2993177B6}" type="pres">
      <dgm:prSet presAssocID="{42F96A8F-BB1E-4B89-AB8E-11A0F37EB1DB}" presName="connTx" presStyleLbl="parChTrans1D4" presStyleIdx="5" presStyleCnt="9"/>
      <dgm:spPr/>
    </dgm:pt>
    <dgm:pt modelId="{BDC558D4-E8FE-4402-98B6-954B2DED52D1}" type="pres">
      <dgm:prSet presAssocID="{E0EC0A27-9EDB-47A4-8DED-CBD1A61B9BC9}" presName="root2" presStyleCnt="0"/>
      <dgm:spPr/>
    </dgm:pt>
    <dgm:pt modelId="{81473451-3FF3-474B-98FB-6869E5682468}" type="pres">
      <dgm:prSet presAssocID="{E0EC0A27-9EDB-47A4-8DED-CBD1A61B9BC9}" presName="LevelTwoTextNode" presStyleLbl="node4" presStyleIdx="5" presStyleCnt="9">
        <dgm:presLayoutVars>
          <dgm:chPref val="3"/>
        </dgm:presLayoutVars>
      </dgm:prSet>
      <dgm:spPr/>
    </dgm:pt>
    <dgm:pt modelId="{FA9000AC-D9F7-467D-A35D-DAD03D5FE186}" type="pres">
      <dgm:prSet presAssocID="{E0EC0A27-9EDB-47A4-8DED-CBD1A61B9BC9}" presName="level3hierChild" presStyleCnt="0"/>
      <dgm:spPr/>
    </dgm:pt>
    <dgm:pt modelId="{2B4072C3-2623-4EA4-94B7-025A9DCD72E9}" type="pres">
      <dgm:prSet presAssocID="{2DCC687C-BE9B-4DD8-8A80-E970635437CA}" presName="conn2-1" presStyleLbl="parChTrans1D4" presStyleIdx="6" presStyleCnt="9"/>
      <dgm:spPr/>
    </dgm:pt>
    <dgm:pt modelId="{7260B369-A7E2-44EA-98FE-B408D79B13A6}" type="pres">
      <dgm:prSet presAssocID="{2DCC687C-BE9B-4DD8-8A80-E970635437CA}" presName="connTx" presStyleLbl="parChTrans1D4" presStyleIdx="6" presStyleCnt="9"/>
      <dgm:spPr/>
    </dgm:pt>
    <dgm:pt modelId="{1FAAD552-F495-4DB6-9E8B-FAAEB560B2F6}" type="pres">
      <dgm:prSet presAssocID="{4DA8AE24-A75C-40AE-A6A1-13FE57AE449D}" presName="root2" presStyleCnt="0"/>
      <dgm:spPr/>
    </dgm:pt>
    <dgm:pt modelId="{A732D3F1-1291-409E-9A7C-778CAE167F89}" type="pres">
      <dgm:prSet presAssocID="{4DA8AE24-A75C-40AE-A6A1-13FE57AE449D}" presName="LevelTwoTextNode" presStyleLbl="node4" presStyleIdx="6" presStyleCnt="9">
        <dgm:presLayoutVars>
          <dgm:chPref val="3"/>
        </dgm:presLayoutVars>
      </dgm:prSet>
      <dgm:spPr/>
    </dgm:pt>
    <dgm:pt modelId="{AB597740-6E08-435C-B03D-74A3C28F6C7A}" type="pres">
      <dgm:prSet presAssocID="{4DA8AE24-A75C-40AE-A6A1-13FE57AE449D}" presName="level3hierChild" presStyleCnt="0"/>
      <dgm:spPr/>
    </dgm:pt>
    <dgm:pt modelId="{9458E52A-38CE-4EE6-A620-F703970B8164}" type="pres">
      <dgm:prSet presAssocID="{0F1B911F-6353-4AE6-9EEF-D49625DE905E}" presName="conn2-1" presStyleLbl="parChTrans1D4" presStyleIdx="7" presStyleCnt="9"/>
      <dgm:spPr/>
    </dgm:pt>
    <dgm:pt modelId="{32DEAE14-947F-44E2-8D61-C101875AB07D}" type="pres">
      <dgm:prSet presAssocID="{0F1B911F-6353-4AE6-9EEF-D49625DE905E}" presName="connTx" presStyleLbl="parChTrans1D4" presStyleIdx="7" presStyleCnt="9"/>
      <dgm:spPr/>
    </dgm:pt>
    <dgm:pt modelId="{69E10A20-FCE4-4D83-88A1-14D71635473C}" type="pres">
      <dgm:prSet presAssocID="{C1F68F19-94EA-4970-A79B-863E823848E5}" presName="root2" presStyleCnt="0"/>
      <dgm:spPr/>
    </dgm:pt>
    <dgm:pt modelId="{42C465EB-33D9-4AD2-A33B-930C8E39ED41}" type="pres">
      <dgm:prSet presAssocID="{C1F68F19-94EA-4970-A79B-863E823848E5}" presName="LevelTwoTextNode" presStyleLbl="node4" presStyleIdx="7" presStyleCnt="9">
        <dgm:presLayoutVars>
          <dgm:chPref val="3"/>
        </dgm:presLayoutVars>
      </dgm:prSet>
      <dgm:spPr/>
    </dgm:pt>
    <dgm:pt modelId="{2EF723DA-603B-48F9-A950-71099D97A93D}" type="pres">
      <dgm:prSet presAssocID="{C1F68F19-94EA-4970-A79B-863E823848E5}" presName="level3hierChild" presStyleCnt="0"/>
      <dgm:spPr/>
    </dgm:pt>
    <dgm:pt modelId="{329CD9E0-9945-40C9-89A5-5929AA1A3A82}" type="pres">
      <dgm:prSet presAssocID="{87CDD4F3-E71F-44A9-B515-E47672A849B6}" presName="conn2-1" presStyleLbl="parChTrans1D4" presStyleIdx="8" presStyleCnt="9"/>
      <dgm:spPr/>
    </dgm:pt>
    <dgm:pt modelId="{27874C32-AAAE-43E2-B803-B20B1E2D7450}" type="pres">
      <dgm:prSet presAssocID="{87CDD4F3-E71F-44A9-B515-E47672A849B6}" presName="connTx" presStyleLbl="parChTrans1D4" presStyleIdx="8" presStyleCnt="9"/>
      <dgm:spPr/>
    </dgm:pt>
    <dgm:pt modelId="{413EDB34-EEB8-4846-8BF9-D4944F61EBD3}" type="pres">
      <dgm:prSet presAssocID="{3EC8FF9E-3113-473A-A5E5-ABD9C5F94794}" presName="root2" presStyleCnt="0"/>
      <dgm:spPr/>
    </dgm:pt>
    <dgm:pt modelId="{84D7F889-3498-48D8-ADC3-14251347C81B}" type="pres">
      <dgm:prSet presAssocID="{3EC8FF9E-3113-473A-A5E5-ABD9C5F94794}" presName="LevelTwoTextNode" presStyleLbl="node4" presStyleIdx="8" presStyleCnt="9">
        <dgm:presLayoutVars>
          <dgm:chPref val="3"/>
        </dgm:presLayoutVars>
      </dgm:prSet>
      <dgm:spPr/>
    </dgm:pt>
    <dgm:pt modelId="{E91235D0-FC5C-4DA2-AB29-EC075B3DCA81}" type="pres">
      <dgm:prSet presAssocID="{3EC8FF9E-3113-473A-A5E5-ABD9C5F94794}" presName="level3hierChild" presStyleCnt="0"/>
      <dgm:spPr/>
    </dgm:pt>
    <dgm:pt modelId="{A4E05C94-2209-4BF4-B627-606397BBC1C5}" type="pres">
      <dgm:prSet presAssocID="{BB72E3E4-7E20-4FF3-87BE-AD24CB2F12EE}" presName="conn2-1" presStyleLbl="parChTrans1D3" presStyleIdx="2" presStyleCnt="10"/>
      <dgm:spPr/>
    </dgm:pt>
    <dgm:pt modelId="{6DCFD290-34D5-45FC-84C5-03B4A3AFAD52}" type="pres">
      <dgm:prSet presAssocID="{BB72E3E4-7E20-4FF3-87BE-AD24CB2F12EE}" presName="connTx" presStyleLbl="parChTrans1D3" presStyleIdx="2" presStyleCnt="10"/>
      <dgm:spPr/>
    </dgm:pt>
    <dgm:pt modelId="{D6C31984-0B65-416F-A6B1-E0A22FFF6163}" type="pres">
      <dgm:prSet presAssocID="{DAFF3CB8-4780-4F42-8F5A-A2879CF5C5A6}" presName="root2" presStyleCnt="0"/>
      <dgm:spPr/>
    </dgm:pt>
    <dgm:pt modelId="{485D5E8B-1295-4B72-BF14-74B2BE7008EE}" type="pres">
      <dgm:prSet presAssocID="{DAFF3CB8-4780-4F42-8F5A-A2879CF5C5A6}" presName="LevelTwoTextNode" presStyleLbl="node3" presStyleIdx="2" presStyleCnt="10">
        <dgm:presLayoutVars>
          <dgm:chPref val="3"/>
        </dgm:presLayoutVars>
      </dgm:prSet>
      <dgm:spPr/>
    </dgm:pt>
    <dgm:pt modelId="{49EAA066-0495-427D-9425-BE1889EED5E1}" type="pres">
      <dgm:prSet presAssocID="{DAFF3CB8-4780-4F42-8F5A-A2879CF5C5A6}" presName="level3hierChild" presStyleCnt="0"/>
      <dgm:spPr/>
    </dgm:pt>
    <dgm:pt modelId="{460E764F-BDF5-4D22-9B4D-16DC71F64CAC}" type="pres">
      <dgm:prSet presAssocID="{2C61C4AB-FC34-4364-9323-4A9D6350BA1C}" presName="conn2-1" presStyleLbl="parChTrans1D3" presStyleIdx="3" presStyleCnt="10"/>
      <dgm:spPr/>
    </dgm:pt>
    <dgm:pt modelId="{D2085E56-A00C-4E27-A4A7-A2743FEDF1B5}" type="pres">
      <dgm:prSet presAssocID="{2C61C4AB-FC34-4364-9323-4A9D6350BA1C}" presName="connTx" presStyleLbl="parChTrans1D3" presStyleIdx="3" presStyleCnt="10"/>
      <dgm:spPr/>
    </dgm:pt>
    <dgm:pt modelId="{73186733-5E43-4E6A-80AF-948A00AAA9B5}" type="pres">
      <dgm:prSet presAssocID="{2FAED816-5ABD-44B8-9175-AD4921C3FE98}" presName="root2" presStyleCnt="0"/>
      <dgm:spPr/>
    </dgm:pt>
    <dgm:pt modelId="{43996E1E-6F52-4F8E-9F4B-77A56824C63C}" type="pres">
      <dgm:prSet presAssocID="{2FAED816-5ABD-44B8-9175-AD4921C3FE98}" presName="LevelTwoTextNode" presStyleLbl="node3" presStyleIdx="3" presStyleCnt="10">
        <dgm:presLayoutVars>
          <dgm:chPref val="3"/>
        </dgm:presLayoutVars>
      </dgm:prSet>
      <dgm:spPr/>
    </dgm:pt>
    <dgm:pt modelId="{41502682-1FC1-4B2B-BBB5-9A5540E7D736}" type="pres">
      <dgm:prSet presAssocID="{2FAED816-5ABD-44B8-9175-AD4921C3FE98}" presName="level3hierChild" presStyleCnt="0"/>
      <dgm:spPr/>
    </dgm:pt>
    <dgm:pt modelId="{690E36EE-5895-4B91-A347-3380A5FE5255}" type="pres">
      <dgm:prSet presAssocID="{D0F076D3-591F-4547-A436-4947EC5EA385}" presName="conn2-1" presStyleLbl="parChTrans1D3" presStyleIdx="4" presStyleCnt="10"/>
      <dgm:spPr/>
    </dgm:pt>
    <dgm:pt modelId="{ADBE13F2-10FA-4B06-99C7-09C6712A7646}" type="pres">
      <dgm:prSet presAssocID="{D0F076D3-591F-4547-A436-4947EC5EA385}" presName="connTx" presStyleLbl="parChTrans1D3" presStyleIdx="4" presStyleCnt="10"/>
      <dgm:spPr/>
    </dgm:pt>
    <dgm:pt modelId="{B6754EFB-425D-471A-9BC5-9299A6414551}" type="pres">
      <dgm:prSet presAssocID="{86A07196-5E8B-49B8-84A4-6DF135FCBFFC}" presName="root2" presStyleCnt="0"/>
      <dgm:spPr/>
    </dgm:pt>
    <dgm:pt modelId="{6E154881-954A-429F-9BBE-E92EEB4B1011}" type="pres">
      <dgm:prSet presAssocID="{86A07196-5E8B-49B8-84A4-6DF135FCBFFC}" presName="LevelTwoTextNode" presStyleLbl="node3" presStyleIdx="4" presStyleCnt="10">
        <dgm:presLayoutVars>
          <dgm:chPref val="3"/>
        </dgm:presLayoutVars>
      </dgm:prSet>
      <dgm:spPr/>
    </dgm:pt>
    <dgm:pt modelId="{5D1CB6D5-4D16-456C-80C8-8FB25291517B}" type="pres">
      <dgm:prSet presAssocID="{86A07196-5E8B-49B8-84A4-6DF135FCBFFC}" presName="level3hierChild" presStyleCnt="0"/>
      <dgm:spPr/>
    </dgm:pt>
    <dgm:pt modelId="{CD37291B-5548-4F1B-8F2F-200AE5B0DCAE}" type="pres">
      <dgm:prSet presAssocID="{17815460-B569-463A-BACE-734F709F874A}" presName="conn2-1" presStyleLbl="parChTrans1D2" presStyleIdx="1" presStyleCnt="3"/>
      <dgm:spPr/>
    </dgm:pt>
    <dgm:pt modelId="{D4121B60-61D6-41A4-AAB9-DE9671C8ED2F}" type="pres">
      <dgm:prSet presAssocID="{17815460-B569-463A-BACE-734F709F874A}" presName="connTx" presStyleLbl="parChTrans1D2" presStyleIdx="1" presStyleCnt="3"/>
      <dgm:spPr/>
    </dgm:pt>
    <dgm:pt modelId="{50975EFF-52F3-48CE-A104-6890DF2CCC15}" type="pres">
      <dgm:prSet presAssocID="{434F1058-EF12-4590-BD43-496B2D33656A}" presName="root2" presStyleCnt="0"/>
      <dgm:spPr/>
    </dgm:pt>
    <dgm:pt modelId="{E077FA3E-A654-4D27-8616-5CDDA43F8AF6}" type="pres">
      <dgm:prSet presAssocID="{434F1058-EF12-4590-BD43-496B2D33656A}" presName="LevelTwoTextNode" presStyleLbl="node2" presStyleIdx="1" presStyleCnt="3">
        <dgm:presLayoutVars>
          <dgm:chPref val="3"/>
        </dgm:presLayoutVars>
      </dgm:prSet>
      <dgm:spPr/>
    </dgm:pt>
    <dgm:pt modelId="{738BD333-0CAC-4970-A8E6-FA82D1202675}" type="pres">
      <dgm:prSet presAssocID="{434F1058-EF12-4590-BD43-496B2D33656A}" presName="level3hierChild" presStyleCnt="0"/>
      <dgm:spPr/>
    </dgm:pt>
    <dgm:pt modelId="{037062E2-BE96-4A8B-9D2F-1FA0857207C1}" type="pres">
      <dgm:prSet presAssocID="{DA62F256-25CF-4854-BFCD-F90F70E5F8D4}" presName="conn2-1" presStyleLbl="parChTrans1D3" presStyleIdx="5" presStyleCnt="10"/>
      <dgm:spPr/>
    </dgm:pt>
    <dgm:pt modelId="{48D9A2E1-2598-4B00-AD73-86E6047DFB3F}" type="pres">
      <dgm:prSet presAssocID="{DA62F256-25CF-4854-BFCD-F90F70E5F8D4}" presName="connTx" presStyleLbl="parChTrans1D3" presStyleIdx="5" presStyleCnt="10"/>
      <dgm:spPr/>
    </dgm:pt>
    <dgm:pt modelId="{B8CF9832-64BD-484C-B421-A0ECF20998B1}" type="pres">
      <dgm:prSet presAssocID="{4098A15D-6BE4-4258-B7C8-EC2A1354A4D6}" presName="root2" presStyleCnt="0"/>
      <dgm:spPr/>
    </dgm:pt>
    <dgm:pt modelId="{768C7647-12EF-40E9-94EB-C1868C4AFE59}" type="pres">
      <dgm:prSet presAssocID="{4098A15D-6BE4-4258-B7C8-EC2A1354A4D6}" presName="LevelTwoTextNode" presStyleLbl="node3" presStyleIdx="5" presStyleCnt="10">
        <dgm:presLayoutVars>
          <dgm:chPref val="3"/>
        </dgm:presLayoutVars>
      </dgm:prSet>
      <dgm:spPr/>
    </dgm:pt>
    <dgm:pt modelId="{66E40938-6C34-47FD-B792-4BEC9D41A30A}" type="pres">
      <dgm:prSet presAssocID="{4098A15D-6BE4-4258-B7C8-EC2A1354A4D6}" presName="level3hierChild" presStyleCnt="0"/>
      <dgm:spPr/>
    </dgm:pt>
    <dgm:pt modelId="{313DC26C-06DB-4098-B605-33485EFC9B29}" type="pres">
      <dgm:prSet presAssocID="{D937D902-C50B-4BEC-9C1F-D9880BCC701B}" presName="conn2-1" presStyleLbl="parChTrans1D3" presStyleIdx="6" presStyleCnt="10"/>
      <dgm:spPr/>
    </dgm:pt>
    <dgm:pt modelId="{30A455D9-9D31-498C-B006-B59A4D0FAC39}" type="pres">
      <dgm:prSet presAssocID="{D937D902-C50B-4BEC-9C1F-D9880BCC701B}" presName="connTx" presStyleLbl="parChTrans1D3" presStyleIdx="6" presStyleCnt="10"/>
      <dgm:spPr/>
    </dgm:pt>
    <dgm:pt modelId="{EB09E2DB-DC0B-4A48-BC00-788EB4BF2155}" type="pres">
      <dgm:prSet presAssocID="{CF5B8EE4-D285-4E9D-BBB6-5F2F77DD4689}" presName="root2" presStyleCnt="0"/>
      <dgm:spPr/>
    </dgm:pt>
    <dgm:pt modelId="{49B6876F-A108-4FF0-9A81-E34DBB9D0BD7}" type="pres">
      <dgm:prSet presAssocID="{CF5B8EE4-D285-4E9D-BBB6-5F2F77DD4689}" presName="LevelTwoTextNode" presStyleLbl="node3" presStyleIdx="6" presStyleCnt="10">
        <dgm:presLayoutVars>
          <dgm:chPref val="3"/>
        </dgm:presLayoutVars>
      </dgm:prSet>
      <dgm:spPr/>
    </dgm:pt>
    <dgm:pt modelId="{840A5199-0A8A-47C7-8B9A-920BC241225E}" type="pres">
      <dgm:prSet presAssocID="{CF5B8EE4-D285-4E9D-BBB6-5F2F77DD4689}" presName="level3hierChild" presStyleCnt="0"/>
      <dgm:spPr/>
    </dgm:pt>
    <dgm:pt modelId="{C4365B06-B9DB-4064-B93F-1043BD4B58B2}" type="pres">
      <dgm:prSet presAssocID="{8A26916C-03BF-4B0E-92AF-656A56CF8513}" presName="conn2-1" presStyleLbl="parChTrans1D2" presStyleIdx="2" presStyleCnt="3"/>
      <dgm:spPr/>
    </dgm:pt>
    <dgm:pt modelId="{0336C92A-933C-4B9A-8AAD-80A8DB51CB00}" type="pres">
      <dgm:prSet presAssocID="{8A26916C-03BF-4B0E-92AF-656A56CF8513}" presName="connTx" presStyleLbl="parChTrans1D2" presStyleIdx="2" presStyleCnt="3"/>
      <dgm:spPr/>
    </dgm:pt>
    <dgm:pt modelId="{1FB1112C-2171-4ECC-8EA0-911ADD3964A5}" type="pres">
      <dgm:prSet presAssocID="{C1D130BE-4BC5-481C-BADA-14A869727C0B}" presName="root2" presStyleCnt="0"/>
      <dgm:spPr/>
    </dgm:pt>
    <dgm:pt modelId="{B3E59FB2-885F-4B71-9DC5-B6F45C8017DE}" type="pres">
      <dgm:prSet presAssocID="{C1D130BE-4BC5-481C-BADA-14A869727C0B}" presName="LevelTwoTextNode" presStyleLbl="node2" presStyleIdx="2" presStyleCnt="3">
        <dgm:presLayoutVars>
          <dgm:chPref val="3"/>
        </dgm:presLayoutVars>
      </dgm:prSet>
      <dgm:spPr/>
    </dgm:pt>
    <dgm:pt modelId="{AF149B8F-23A2-48DF-9DB4-21319099B718}" type="pres">
      <dgm:prSet presAssocID="{C1D130BE-4BC5-481C-BADA-14A869727C0B}" presName="level3hierChild" presStyleCnt="0"/>
      <dgm:spPr/>
    </dgm:pt>
    <dgm:pt modelId="{60A0F5E7-D1D3-49F8-A254-CFFCBE54AAF0}" type="pres">
      <dgm:prSet presAssocID="{503510FB-9E52-432E-98AC-FEF28CA55F0D}" presName="conn2-1" presStyleLbl="parChTrans1D3" presStyleIdx="7" presStyleCnt="10"/>
      <dgm:spPr/>
    </dgm:pt>
    <dgm:pt modelId="{3325D373-008A-41E8-9EA1-B4B0FC90FCD2}" type="pres">
      <dgm:prSet presAssocID="{503510FB-9E52-432E-98AC-FEF28CA55F0D}" presName="connTx" presStyleLbl="parChTrans1D3" presStyleIdx="7" presStyleCnt="10"/>
      <dgm:spPr/>
    </dgm:pt>
    <dgm:pt modelId="{533688EB-FEF2-4244-B371-7A31A6275F9E}" type="pres">
      <dgm:prSet presAssocID="{CD6C8CAB-2DB8-4BEB-8794-D14E24B56239}" presName="root2" presStyleCnt="0"/>
      <dgm:spPr/>
    </dgm:pt>
    <dgm:pt modelId="{9E81B654-57F3-4178-8807-AB7AAC7BE08E}" type="pres">
      <dgm:prSet presAssocID="{CD6C8CAB-2DB8-4BEB-8794-D14E24B56239}" presName="LevelTwoTextNode" presStyleLbl="node3" presStyleIdx="7" presStyleCnt="10">
        <dgm:presLayoutVars>
          <dgm:chPref val="3"/>
        </dgm:presLayoutVars>
      </dgm:prSet>
      <dgm:spPr/>
    </dgm:pt>
    <dgm:pt modelId="{9EA1B074-9688-4BF6-BD3E-8C3B349784E8}" type="pres">
      <dgm:prSet presAssocID="{CD6C8CAB-2DB8-4BEB-8794-D14E24B56239}" presName="level3hierChild" presStyleCnt="0"/>
      <dgm:spPr/>
    </dgm:pt>
    <dgm:pt modelId="{1CD57466-73E5-43BB-AF51-980153E8039A}" type="pres">
      <dgm:prSet presAssocID="{B3C6A11E-10F5-433C-A0FB-1B185A7D12E0}" presName="conn2-1" presStyleLbl="parChTrans1D3" presStyleIdx="8" presStyleCnt="10"/>
      <dgm:spPr/>
    </dgm:pt>
    <dgm:pt modelId="{739E7D1A-06FA-43F4-82B6-C5B799BDD12A}" type="pres">
      <dgm:prSet presAssocID="{B3C6A11E-10F5-433C-A0FB-1B185A7D12E0}" presName="connTx" presStyleLbl="parChTrans1D3" presStyleIdx="8" presStyleCnt="10"/>
      <dgm:spPr/>
    </dgm:pt>
    <dgm:pt modelId="{08A18F09-5415-4D9A-A62E-8AA11F9AF3C4}" type="pres">
      <dgm:prSet presAssocID="{16945C89-930D-4764-8730-4F183F8B4C87}" presName="root2" presStyleCnt="0"/>
      <dgm:spPr/>
    </dgm:pt>
    <dgm:pt modelId="{0CCC40AA-D80B-4B90-9188-E5CA017E63B0}" type="pres">
      <dgm:prSet presAssocID="{16945C89-930D-4764-8730-4F183F8B4C87}" presName="LevelTwoTextNode" presStyleLbl="node3" presStyleIdx="8" presStyleCnt="10">
        <dgm:presLayoutVars>
          <dgm:chPref val="3"/>
        </dgm:presLayoutVars>
      </dgm:prSet>
      <dgm:spPr/>
    </dgm:pt>
    <dgm:pt modelId="{E40DD794-4E3C-4009-B357-94D69536E6F4}" type="pres">
      <dgm:prSet presAssocID="{16945C89-930D-4764-8730-4F183F8B4C87}" presName="level3hierChild" presStyleCnt="0"/>
      <dgm:spPr/>
    </dgm:pt>
    <dgm:pt modelId="{F9C34007-6CA8-4ABF-890A-47AA50B267EA}" type="pres">
      <dgm:prSet presAssocID="{858DE0EA-690E-49F0-9AFD-401C85E7FBB4}" presName="conn2-1" presStyleLbl="parChTrans1D3" presStyleIdx="9" presStyleCnt="10"/>
      <dgm:spPr/>
    </dgm:pt>
    <dgm:pt modelId="{D3331827-B92C-4419-96E8-793E8D653308}" type="pres">
      <dgm:prSet presAssocID="{858DE0EA-690E-49F0-9AFD-401C85E7FBB4}" presName="connTx" presStyleLbl="parChTrans1D3" presStyleIdx="9" presStyleCnt="10"/>
      <dgm:spPr/>
    </dgm:pt>
    <dgm:pt modelId="{9FBA0EDF-DFF1-4228-BD6C-29FFD841B413}" type="pres">
      <dgm:prSet presAssocID="{CA25E3C2-D53A-4DAC-A356-274163CFD791}" presName="root2" presStyleCnt="0"/>
      <dgm:spPr/>
    </dgm:pt>
    <dgm:pt modelId="{E51A201A-58C4-4839-BBF3-03A3D4BA1DE9}" type="pres">
      <dgm:prSet presAssocID="{CA25E3C2-D53A-4DAC-A356-274163CFD791}" presName="LevelTwoTextNode" presStyleLbl="node3" presStyleIdx="9" presStyleCnt="10">
        <dgm:presLayoutVars>
          <dgm:chPref val="3"/>
        </dgm:presLayoutVars>
      </dgm:prSet>
      <dgm:spPr/>
    </dgm:pt>
    <dgm:pt modelId="{E4E1A461-B02B-4354-8D34-5DF04939C4AC}" type="pres">
      <dgm:prSet presAssocID="{CA25E3C2-D53A-4DAC-A356-274163CFD791}" presName="level3hierChild" presStyleCnt="0"/>
      <dgm:spPr/>
    </dgm:pt>
  </dgm:ptLst>
  <dgm:cxnLst>
    <dgm:cxn modelId="{6A42BC00-DDC6-47EB-A1CB-E461CD9820FD}" type="presOf" srcId="{B3C6A11E-10F5-433C-A0FB-1B185A7D12E0}" destId="{739E7D1A-06FA-43F4-82B6-C5B799BDD12A}" srcOrd="1" destOrd="0" presId="urn:microsoft.com/office/officeart/2008/layout/HorizontalMultiLevelHierarchy"/>
    <dgm:cxn modelId="{2ED6F702-CE72-434F-A1BB-6BCE9E2DA2BA}" srcId="{434F1058-EF12-4590-BD43-496B2D33656A}" destId="{CF5B8EE4-D285-4E9D-BBB6-5F2F77DD4689}" srcOrd="1" destOrd="0" parTransId="{D937D902-C50B-4BEC-9C1F-D9880BCC701B}" sibTransId="{CADCD7D6-E889-4A66-B79B-3ACEEF43F075}"/>
    <dgm:cxn modelId="{35C72205-75AD-4836-A353-1A0A05F601B7}" type="presOf" srcId="{48CAF46E-7318-4269-B88D-4072C010818D}" destId="{571B8373-7DFF-4282-8AA6-80F7CC7EA7C8}" srcOrd="0" destOrd="0" presId="urn:microsoft.com/office/officeart/2008/layout/HorizontalMultiLevelHierarchy"/>
    <dgm:cxn modelId="{B8419706-D293-44F8-A5BF-071DA501D1C3}" type="presOf" srcId="{8ACEFE3D-DAAE-46D2-BF29-AF7B5FBB783D}" destId="{FCADF10C-D51C-403A-B095-E884F4771DA4}" srcOrd="1" destOrd="0" presId="urn:microsoft.com/office/officeart/2008/layout/HorizontalMultiLevelHierarchy"/>
    <dgm:cxn modelId="{A112C106-B21E-4F95-89F7-0D3BEDCA1632}" type="presOf" srcId="{0F1B911F-6353-4AE6-9EEF-D49625DE905E}" destId="{9458E52A-38CE-4EE6-A620-F703970B8164}" srcOrd="0" destOrd="0" presId="urn:microsoft.com/office/officeart/2008/layout/HorizontalMultiLevelHierarchy"/>
    <dgm:cxn modelId="{8446A509-270F-4D3B-89EF-435B1D412BDB}" type="presOf" srcId="{D937D902-C50B-4BEC-9C1F-D9880BCC701B}" destId="{313DC26C-06DB-4098-B605-33485EFC9B29}" srcOrd="0" destOrd="0" presId="urn:microsoft.com/office/officeart/2008/layout/HorizontalMultiLevelHierarchy"/>
    <dgm:cxn modelId="{F0DA410D-39AE-4CDE-A96D-4DBCFC233C7C}" type="presOf" srcId="{87CDD4F3-E71F-44A9-B515-E47672A849B6}" destId="{27874C32-AAAE-43E2-B803-B20B1E2D7450}" srcOrd="1" destOrd="0" presId="urn:microsoft.com/office/officeart/2008/layout/HorizontalMultiLevelHierarchy"/>
    <dgm:cxn modelId="{49027C13-60C7-4577-8E0D-34D35F65F784}" type="presOf" srcId="{16945C89-930D-4764-8730-4F183F8B4C87}" destId="{0CCC40AA-D80B-4B90-9188-E5CA017E63B0}" srcOrd="0" destOrd="0" presId="urn:microsoft.com/office/officeart/2008/layout/HorizontalMultiLevelHierarchy"/>
    <dgm:cxn modelId="{CDA45815-1784-47A7-87EB-A18294F174A6}" type="presOf" srcId="{CD6C8CAB-2DB8-4BEB-8794-D14E24B56239}" destId="{9E81B654-57F3-4178-8807-AB7AAC7BE08E}" srcOrd="0" destOrd="0" presId="urn:microsoft.com/office/officeart/2008/layout/HorizontalMultiLevelHierarchy"/>
    <dgm:cxn modelId="{FEC8D416-8216-4562-8549-24473B803C80}" srcId="{49A0BB83-CEA0-46AB-9D0B-B65F612AEE4A}" destId="{E0EC0A27-9EDB-47A4-8DED-CBD1A61B9BC9}" srcOrd="0" destOrd="0" parTransId="{42F96A8F-BB1E-4B89-AB8E-11A0F37EB1DB}" sibTransId="{C6050D19-3AE0-4870-8460-7297D5C8A50F}"/>
    <dgm:cxn modelId="{5782D41D-ECEA-499F-9D26-91E863B791BE}" type="presOf" srcId="{DA62F256-25CF-4854-BFCD-F90F70E5F8D4}" destId="{48D9A2E1-2598-4B00-AD73-86E6047DFB3F}" srcOrd="1" destOrd="0" presId="urn:microsoft.com/office/officeart/2008/layout/HorizontalMultiLevelHierarchy"/>
    <dgm:cxn modelId="{2F95D722-3985-45E4-9E5F-0F15FC8C1680}" type="presOf" srcId="{CF5B8EE4-D285-4E9D-BBB6-5F2F77DD4689}" destId="{49B6876F-A108-4FF0-9A81-E34DBB9D0BD7}" srcOrd="0" destOrd="0" presId="urn:microsoft.com/office/officeart/2008/layout/HorizontalMultiLevelHierarchy"/>
    <dgm:cxn modelId="{64FF5A2C-981D-4E3B-9D13-47B3852BF3E9}" type="presOf" srcId="{BB72E3E4-7E20-4FF3-87BE-AD24CB2F12EE}" destId="{6DCFD290-34D5-45FC-84C5-03B4A3AFAD52}" srcOrd="1" destOrd="0" presId="urn:microsoft.com/office/officeart/2008/layout/HorizontalMultiLevelHierarchy"/>
    <dgm:cxn modelId="{75353E2D-D5F4-4C4B-8BFF-3A25A17EC9FB}" srcId="{BF1B7062-91AB-4F1D-BD08-8D3EC4B33C1F}" destId="{48CAF46E-7318-4269-B88D-4072C010818D}" srcOrd="1" destOrd="0" parTransId="{81CB6F6D-48DA-416D-9426-0B6E4B5AD737}" sibTransId="{D0BFACD0-8F45-4F8C-9779-0AF1AE559907}"/>
    <dgm:cxn modelId="{0E885231-05A1-4118-83D8-9F076DDBEA1A}" type="presOf" srcId="{C7C06085-9DF0-469C-90B3-434C5E418A6D}" destId="{6D05A90F-5A8D-42F9-A2CB-82F28C0FF2BC}" srcOrd="0" destOrd="0" presId="urn:microsoft.com/office/officeart/2008/layout/HorizontalMultiLevelHierarchy"/>
    <dgm:cxn modelId="{5B99DD31-B3E6-465C-A8DB-0DF740AA5D7A}" srcId="{C1D130BE-4BC5-481C-BADA-14A869727C0B}" destId="{CA25E3C2-D53A-4DAC-A356-274163CFD791}" srcOrd="2" destOrd="0" parTransId="{858DE0EA-690E-49F0-9AFD-401C85E7FBB4}" sibTransId="{2D56470D-3197-4A03-90FE-5A65A52F7EFB}"/>
    <dgm:cxn modelId="{9486E231-E761-415A-A46A-B222DD3C9A89}" srcId="{96C9D5F4-FF4F-420D-8420-A926E166D7A2}" destId="{D0997319-AE2C-4C46-ADCB-BA43BE3F3F54}" srcOrd="0" destOrd="0" parTransId="{EDD69CBB-FC0D-413C-A203-D32C53DEA1CA}" sibTransId="{E975384C-827E-414A-AEB5-7C3391463B49}"/>
    <dgm:cxn modelId="{1222A638-0CF4-4D66-8E42-7794D8449649}" type="presOf" srcId="{3EC8FF9E-3113-473A-A5E5-ABD9C5F94794}" destId="{84D7F889-3498-48D8-ADC3-14251347C81B}" srcOrd="0" destOrd="0" presId="urn:microsoft.com/office/officeart/2008/layout/HorizontalMultiLevelHierarchy"/>
    <dgm:cxn modelId="{23DAEE42-3C32-4C83-A2A3-106A8D737507}" type="presOf" srcId="{AE65C2BF-225F-4643-AE59-9457E6820B24}" destId="{0C497864-2349-44C5-8D11-5F89748F0519}" srcOrd="1" destOrd="0" presId="urn:microsoft.com/office/officeart/2008/layout/HorizontalMultiLevelHierarchy"/>
    <dgm:cxn modelId="{0BE45343-E5ED-46E6-9E17-DA36296E3029}" srcId="{8E70AA8F-7583-4AFE-9EDE-87363894E1F8}" destId="{86A07196-5E8B-49B8-84A4-6DF135FCBFFC}" srcOrd="4" destOrd="0" parTransId="{D0F076D3-591F-4547-A436-4947EC5EA385}" sibTransId="{4B4DC438-D558-40CF-9151-49154A83FB16}"/>
    <dgm:cxn modelId="{3CE2794B-F419-4F40-BA80-F7E4E9B8CF58}" type="presOf" srcId="{0F1B911F-6353-4AE6-9EEF-D49625DE905E}" destId="{32DEAE14-947F-44E2-8D61-C101875AB07D}" srcOrd="1" destOrd="0" presId="urn:microsoft.com/office/officeart/2008/layout/HorizontalMultiLevelHierarchy"/>
    <dgm:cxn modelId="{41B7B24E-5BA1-4B2B-AC96-EBF5A4A1F03B}" type="presOf" srcId="{2C61C4AB-FC34-4364-9323-4A9D6350BA1C}" destId="{460E764F-BDF5-4D22-9B4D-16DC71F64CAC}" srcOrd="0" destOrd="0" presId="urn:microsoft.com/office/officeart/2008/layout/HorizontalMultiLevelHierarchy"/>
    <dgm:cxn modelId="{AA3E744F-10BA-4479-AF01-972C59BF3BCF}" type="presOf" srcId="{B164CB56-71EE-412E-A3A2-1509A3B08E05}" destId="{BE328E0A-C287-4B1A-BD90-C0F3098FFCD9}" srcOrd="0" destOrd="0" presId="urn:microsoft.com/office/officeart/2008/layout/HorizontalMultiLevelHierarchy"/>
    <dgm:cxn modelId="{464F8353-3A6D-43D6-B358-7ECC4F51C0BF}" type="presOf" srcId="{D0997319-AE2C-4C46-ADCB-BA43BE3F3F54}" destId="{DCF5B4EF-DE4F-4292-A3B2-724C163A44AB}" srcOrd="0" destOrd="0" presId="urn:microsoft.com/office/officeart/2008/layout/HorizontalMultiLevelHierarchy"/>
    <dgm:cxn modelId="{1A99FB53-EFA6-4851-937B-0604F7806F2F}" type="presOf" srcId="{434F1058-EF12-4590-BD43-496B2D33656A}" destId="{E077FA3E-A654-4D27-8616-5CDDA43F8AF6}" srcOrd="0" destOrd="0" presId="urn:microsoft.com/office/officeart/2008/layout/HorizontalMultiLevelHierarchy"/>
    <dgm:cxn modelId="{70378754-45CA-4C66-B5D5-B9C9C4EF8226}" type="presOf" srcId="{81CB6F6D-48DA-416D-9426-0B6E4B5AD737}" destId="{FD15021D-62B7-4A46-932A-654E778DB44B}" srcOrd="1" destOrd="0" presId="urn:microsoft.com/office/officeart/2008/layout/HorizontalMultiLevelHierarchy"/>
    <dgm:cxn modelId="{288CF456-3237-4FF7-BD86-048D8CA5EABD}" type="presOf" srcId="{17815460-B569-463A-BACE-734F709F874A}" destId="{CD37291B-5548-4F1B-8F2F-200AE5B0DCAE}" srcOrd="0" destOrd="0" presId="urn:microsoft.com/office/officeart/2008/layout/HorizontalMultiLevelHierarchy"/>
    <dgm:cxn modelId="{707B8E58-ABA5-4C9A-AFCF-298CB05D08DA}" srcId="{D0997319-AE2C-4C46-ADCB-BA43BE3F3F54}" destId="{8E70AA8F-7583-4AFE-9EDE-87363894E1F8}" srcOrd="0" destOrd="0" parTransId="{B164CB56-71EE-412E-A3A2-1509A3B08E05}" sibTransId="{50009256-33DA-4FAC-A050-2DE70DDCC26C}"/>
    <dgm:cxn modelId="{79AF8559-F7CD-44EF-8C13-1146412076CF}" type="presOf" srcId="{2C61C4AB-FC34-4364-9323-4A9D6350BA1C}" destId="{D2085E56-A00C-4E27-A4A7-A2743FEDF1B5}" srcOrd="1" destOrd="0" presId="urn:microsoft.com/office/officeart/2008/layout/HorizontalMultiLevelHierarchy"/>
    <dgm:cxn modelId="{BFB4B55A-7A59-4107-BBB3-3FFB27350CDD}" type="presOf" srcId="{8A26916C-03BF-4B0E-92AF-656A56CF8513}" destId="{C4365B06-B9DB-4064-B93F-1043BD4B58B2}" srcOrd="0" destOrd="0" presId="urn:microsoft.com/office/officeart/2008/layout/HorizontalMultiLevelHierarchy"/>
    <dgm:cxn modelId="{4C6F195C-0214-4CDA-A612-7D5235F062E8}" type="presOf" srcId="{DAFF3CB8-4780-4F42-8F5A-A2879CF5C5A6}" destId="{485D5E8B-1295-4B72-BF14-74B2BE7008EE}" srcOrd="0" destOrd="0" presId="urn:microsoft.com/office/officeart/2008/layout/HorizontalMultiLevelHierarchy"/>
    <dgm:cxn modelId="{3868705D-EADE-4179-913C-220656615F3B}" type="presOf" srcId="{CA25E3C2-D53A-4DAC-A356-274163CFD791}" destId="{E51A201A-58C4-4839-BBF3-03A3D4BA1DE9}" srcOrd="0" destOrd="0" presId="urn:microsoft.com/office/officeart/2008/layout/HorizontalMultiLevelHierarchy"/>
    <dgm:cxn modelId="{D6FED260-3C13-4D81-9786-0CA49E676F94}" type="presOf" srcId="{524ED0C4-9CC2-4C2A-B51C-974FA37A7FE7}" destId="{D9EA4352-69AB-4BEF-A3B8-25557C0E3D3D}" srcOrd="1" destOrd="0" presId="urn:microsoft.com/office/officeart/2008/layout/HorizontalMultiLevelHierarchy"/>
    <dgm:cxn modelId="{3679B762-699A-4AEB-956B-62A58B7F1948}" type="presOf" srcId="{23EDCDD5-F170-402F-A11E-15FD466C3CE5}" destId="{79D3B186-92E5-40C6-A995-4173A00C788D}" srcOrd="1" destOrd="0" presId="urn:microsoft.com/office/officeart/2008/layout/HorizontalMultiLevelHierarchy"/>
    <dgm:cxn modelId="{65A1D062-D707-4E05-848F-D1FC7D22343D}" type="presOf" srcId="{C1D130BE-4BC5-481C-BADA-14A869727C0B}" destId="{B3E59FB2-885F-4B71-9DC5-B6F45C8017DE}" srcOrd="0" destOrd="0" presId="urn:microsoft.com/office/officeart/2008/layout/HorizontalMultiLevelHierarchy"/>
    <dgm:cxn modelId="{218D7769-246E-4C78-8637-1FABBE9AA235}" type="presOf" srcId="{B164CB56-71EE-412E-A3A2-1509A3B08E05}" destId="{1EB559E9-DB95-4028-B960-01A592B99E92}" srcOrd="1" destOrd="0" presId="urn:microsoft.com/office/officeart/2008/layout/HorizontalMultiLevelHierarchy"/>
    <dgm:cxn modelId="{725FF76C-97C7-4E96-9DF4-060D491C229B}" type="presOf" srcId="{2FAED816-5ABD-44B8-9175-AD4921C3FE98}" destId="{43996E1E-6F52-4F8E-9F4B-77A56824C63C}" srcOrd="0" destOrd="0" presId="urn:microsoft.com/office/officeart/2008/layout/HorizontalMultiLevelHierarchy"/>
    <dgm:cxn modelId="{08C6FF6E-ED40-443D-B75C-6827A78AAE2F}" srcId="{C1D130BE-4BC5-481C-BADA-14A869727C0B}" destId="{CD6C8CAB-2DB8-4BEB-8794-D14E24B56239}" srcOrd="0" destOrd="0" parTransId="{503510FB-9E52-432E-98AC-FEF28CA55F0D}" sibTransId="{F6688289-1E3B-4C81-B097-4BC4F02DEEB1}"/>
    <dgm:cxn modelId="{59E12470-60E7-402D-AB70-780B62F88FFE}" type="presOf" srcId="{49A0BB83-CEA0-46AB-9D0B-B65F612AEE4A}" destId="{DC0B28EB-699E-45BB-87EC-30E574E72821}" srcOrd="0" destOrd="0" presId="urn:microsoft.com/office/officeart/2008/layout/HorizontalMultiLevelHierarchy"/>
    <dgm:cxn modelId="{4DFC2371-3525-4748-BBE7-8447590D404A}" type="presOf" srcId="{D0F076D3-591F-4547-A436-4947EC5EA385}" destId="{690E36EE-5895-4B91-A347-3380A5FE5255}" srcOrd="0" destOrd="0" presId="urn:microsoft.com/office/officeart/2008/layout/HorizontalMultiLevelHierarchy"/>
    <dgm:cxn modelId="{C6747171-AE68-4AE9-8919-6A36E0ACE2B0}" type="presOf" srcId="{81CB6F6D-48DA-416D-9426-0B6E4B5AD737}" destId="{8F0AA0AA-EF8D-43DE-82C5-2D7BFD08315F}" srcOrd="0" destOrd="0" presId="urn:microsoft.com/office/officeart/2008/layout/HorizontalMultiLevelHierarchy"/>
    <dgm:cxn modelId="{91124872-9F74-41C7-8C6A-D035370CD04A}" type="presOf" srcId="{858DE0EA-690E-49F0-9AFD-401C85E7FBB4}" destId="{F9C34007-6CA8-4ABF-890A-47AA50B267EA}" srcOrd="0" destOrd="0" presId="urn:microsoft.com/office/officeart/2008/layout/HorizontalMultiLevelHierarchy"/>
    <dgm:cxn modelId="{63723176-B8DC-4E93-B229-28FB65F16FAA}" type="presOf" srcId="{AE65C2BF-225F-4643-AE59-9457E6820B24}" destId="{5BC2DE1D-C4D7-4BFC-A0C1-3D282DC024CD}" srcOrd="0" destOrd="0" presId="urn:microsoft.com/office/officeart/2008/layout/HorizontalMultiLevelHierarchy"/>
    <dgm:cxn modelId="{AD49A77D-FFEC-46F9-AE75-9324F1652A36}" type="presOf" srcId="{4D897679-FA7C-48A2-A57F-5D0431886FF7}" destId="{F8A94DA1-2081-4A8B-816C-A9F98C2853F5}" srcOrd="0" destOrd="0" presId="urn:microsoft.com/office/officeart/2008/layout/HorizontalMultiLevelHierarchy"/>
    <dgm:cxn modelId="{21D8E081-3F51-4864-8D5D-F1BA8CEC852F}" srcId="{434F1058-EF12-4590-BD43-496B2D33656A}" destId="{4098A15D-6BE4-4258-B7C8-EC2A1354A4D6}" srcOrd="0" destOrd="0" parTransId="{DA62F256-25CF-4854-BFCD-F90F70E5F8D4}" sibTransId="{E1090322-3287-4D3C-A158-E43939F1FA7E}"/>
    <dgm:cxn modelId="{13B4BA82-E7EF-4FB5-98C9-D814F66B4BEF}" type="presOf" srcId="{ADED253C-6A2E-4631-B1D4-F5E1FE2B5B55}" destId="{9E59A063-5821-4E2B-8FD8-3EBA8922B98E}" srcOrd="0" destOrd="0" presId="urn:microsoft.com/office/officeart/2008/layout/HorizontalMultiLevelHierarchy"/>
    <dgm:cxn modelId="{93C58A86-3E38-4D08-BAE0-11418B22C1DB}" type="presOf" srcId="{8ACEFE3D-DAAE-46D2-BF29-AF7B5FBB783D}" destId="{A00DE1AA-92DF-4607-98DB-1C3BB048DCF5}" srcOrd="0" destOrd="0" presId="urn:microsoft.com/office/officeart/2008/layout/HorizontalMultiLevelHierarchy"/>
    <dgm:cxn modelId="{0B448A87-44AF-4367-8785-F0AC108ED2DD}" type="presOf" srcId="{4098A15D-6BE4-4258-B7C8-EC2A1354A4D6}" destId="{768C7647-12EF-40E9-94EB-C1868C4AFE59}" srcOrd="0" destOrd="0" presId="urn:microsoft.com/office/officeart/2008/layout/HorizontalMultiLevelHierarchy"/>
    <dgm:cxn modelId="{605CDB89-2698-4157-8E1F-4D6677C6D46F}" type="presOf" srcId="{4DA8AE24-A75C-40AE-A6A1-13FE57AE449D}" destId="{A732D3F1-1291-409E-9A7C-778CAE167F89}" srcOrd="0" destOrd="0" presId="urn:microsoft.com/office/officeart/2008/layout/HorizontalMultiLevelHierarchy"/>
    <dgm:cxn modelId="{82D60E8A-40D3-49BC-895D-3DAB17D8AD62}" type="presOf" srcId="{96C9D5F4-FF4F-420D-8420-A926E166D7A2}" destId="{50C4D88C-9CB0-4513-8456-755395491158}" srcOrd="0" destOrd="0" presId="urn:microsoft.com/office/officeart/2008/layout/HorizontalMultiLevelHierarchy"/>
    <dgm:cxn modelId="{EB6A4F8B-0076-4AA0-A81D-3E41E4C53187}" type="presOf" srcId="{8A26916C-03BF-4B0E-92AF-656A56CF8513}" destId="{0336C92A-933C-4B9A-8AAD-80A8DB51CB00}" srcOrd="1" destOrd="0" presId="urn:microsoft.com/office/officeart/2008/layout/HorizontalMultiLevelHierarchy"/>
    <dgm:cxn modelId="{4BDF838B-A489-4DE6-9003-7CF5CCBF8353}" srcId="{8E70AA8F-7583-4AFE-9EDE-87363894E1F8}" destId="{2FAED816-5ABD-44B8-9175-AD4921C3FE98}" srcOrd="3" destOrd="0" parTransId="{2C61C4AB-FC34-4364-9323-4A9D6350BA1C}" sibTransId="{4827AEAC-F6B1-4792-BB11-A609080D91CA}"/>
    <dgm:cxn modelId="{C77F5C8D-F4DE-4573-9FDE-EBB2F5F469F1}" type="presOf" srcId="{D0F076D3-591F-4547-A436-4947EC5EA385}" destId="{ADBE13F2-10FA-4B06-99C7-09C6712A7646}" srcOrd="1" destOrd="0" presId="urn:microsoft.com/office/officeart/2008/layout/HorizontalMultiLevelHierarchy"/>
    <dgm:cxn modelId="{C3BFF295-2D54-481B-947E-4480284A189F}" type="presOf" srcId="{31BDA904-A9EF-437C-9DAF-E5BDF8C1106E}" destId="{FAF45787-F807-4BB6-923D-0C0E2CD8C149}" srcOrd="0" destOrd="0" presId="urn:microsoft.com/office/officeart/2008/layout/HorizontalMultiLevelHierarchy"/>
    <dgm:cxn modelId="{99BBE096-3DF3-4255-89AC-24F727FF2F6A}" type="presOf" srcId="{42F96A8F-BB1E-4B89-AB8E-11A0F37EB1DB}" destId="{7F2C676C-E906-4B26-892E-C728B9239429}" srcOrd="0" destOrd="0" presId="urn:microsoft.com/office/officeart/2008/layout/HorizontalMultiLevelHierarchy"/>
    <dgm:cxn modelId="{3661A398-6699-493C-A604-957A73E01291}" type="presOf" srcId="{17815460-B569-463A-BACE-734F709F874A}" destId="{D4121B60-61D6-41A4-AAB9-DE9671C8ED2F}" srcOrd="1" destOrd="0" presId="urn:microsoft.com/office/officeart/2008/layout/HorizontalMultiLevelHierarchy"/>
    <dgm:cxn modelId="{3334C099-BCC2-4024-88CF-D77B492D91C8}" type="presOf" srcId="{BB72E3E4-7E20-4FF3-87BE-AD24CB2F12EE}" destId="{A4E05C94-2209-4BF4-B627-606397BBC1C5}" srcOrd="0" destOrd="0" presId="urn:microsoft.com/office/officeart/2008/layout/HorizontalMultiLevelHierarchy"/>
    <dgm:cxn modelId="{FA7F7B9B-BCD6-48E4-84B7-A00266E14053}" type="presOf" srcId="{B3C6A11E-10F5-433C-A0FB-1B185A7D12E0}" destId="{1CD57466-73E5-43BB-AF51-980153E8039A}" srcOrd="0" destOrd="0" presId="urn:microsoft.com/office/officeart/2008/layout/HorizontalMultiLevelHierarchy"/>
    <dgm:cxn modelId="{E07BE79E-7865-47DB-84AF-7F7057F85761}" type="presOf" srcId="{8E70AA8F-7583-4AFE-9EDE-87363894E1F8}" destId="{49ADAAAB-354D-4968-9DE9-378E6595E5BB}" srcOrd="0" destOrd="0" presId="urn:microsoft.com/office/officeart/2008/layout/HorizontalMultiLevelHierarchy"/>
    <dgm:cxn modelId="{9E137BA1-2E21-43A2-A338-650B162A3662}" srcId="{D0997319-AE2C-4C46-ADCB-BA43BE3F3F54}" destId="{434F1058-EF12-4590-BD43-496B2D33656A}" srcOrd="1" destOrd="0" parTransId="{17815460-B569-463A-BACE-734F709F874A}" sibTransId="{BC8F1DC2-66B6-4B6F-BD02-84C41DB8AF5C}"/>
    <dgm:cxn modelId="{C996C3A8-B8F4-411F-B641-37F469185B57}" type="presOf" srcId="{524ED0C4-9CC2-4C2A-B51C-974FA37A7FE7}" destId="{C5F46441-018D-4AD0-9984-278FB6B3653F}" srcOrd="0" destOrd="0" presId="urn:microsoft.com/office/officeart/2008/layout/HorizontalMultiLevelHierarchy"/>
    <dgm:cxn modelId="{449FB1AA-FE60-423F-AD7C-959A05592410}" type="presOf" srcId="{858DE0EA-690E-49F0-9AFD-401C85E7FBB4}" destId="{D3331827-B92C-4419-96E8-793E8D653308}" srcOrd="1" destOrd="0" presId="urn:microsoft.com/office/officeart/2008/layout/HorizontalMultiLevelHierarchy"/>
    <dgm:cxn modelId="{00DC05AB-0E87-4D69-9934-9D14BE1C2731}" type="presOf" srcId="{503510FB-9E52-432E-98AC-FEF28CA55F0D}" destId="{60A0F5E7-D1D3-49F8-A254-CFFCBE54AAF0}" srcOrd="0" destOrd="0" presId="urn:microsoft.com/office/officeart/2008/layout/HorizontalMultiLevelHierarchy"/>
    <dgm:cxn modelId="{540F67B5-7CE8-4325-88C3-2ECA7ED151B5}" type="presOf" srcId="{E0EC0A27-9EDB-47A4-8DED-CBD1A61B9BC9}" destId="{81473451-3FF3-474B-98FB-6869E5682468}" srcOrd="0" destOrd="0" presId="urn:microsoft.com/office/officeart/2008/layout/HorizontalMultiLevelHierarchy"/>
    <dgm:cxn modelId="{7DC022B6-EC7E-4248-8376-A4A4C0054F1A}" type="presOf" srcId="{503510FB-9E52-432E-98AC-FEF28CA55F0D}" destId="{3325D373-008A-41E8-9EA1-B4B0FC90FCD2}" srcOrd="1" destOrd="0" presId="urn:microsoft.com/office/officeart/2008/layout/HorizontalMultiLevelHierarchy"/>
    <dgm:cxn modelId="{5EE5F9B8-E535-490A-81D6-FE6068C5F94F}" type="presOf" srcId="{86A07196-5E8B-49B8-84A4-6DF135FCBFFC}" destId="{6E154881-954A-429F-9BBE-E92EEB4B1011}" srcOrd="0" destOrd="0" presId="urn:microsoft.com/office/officeart/2008/layout/HorizontalMultiLevelHierarchy"/>
    <dgm:cxn modelId="{21BC0ABF-D33B-4704-99A0-AC6C60960517}" type="presOf" srcId="{87CDD4F3-E71F-44A9-B515-E47672A849B6}" destId="{329CD9E0-9945-40C9-89A5-5929AA1A3A82}" srcOrd="0" destOrd="0" presId="urn:microsoft.com/office/officeart/2008/layout/HorizontalMultiLevelHierarchy"/>
    <dgm:cxn modelId="{626342BF-3559-4137-A851-ACB1710B13E3}" srcId="{8E70AA8F-7583-4AFE-9EDE-87363894E1F8}" destId="{BF1B7062-91AB-4F1D-BD08-8D3EC4B33C1F}" srcOrd="0" destOrd="0" parTransId="{8ACEFE3D-DAAE-46D2-BF29-AF7B5FBB783D}" sibTransId="{0FF6A2D2-189B-4085-A91C-E4641E47ACCE}"/>
    <dgm:cxn modelId="{221AD8BF-6539-43E4-9EB1-23AF138D0EE2}" srcId="{D0997319-AE2C-4C46-ADCB-BA43BE3F3F54}" destId="{C1D130BE-4BC5-481C-BADA-14A869727C0B}" srcOrd="2" destOrd="0" parTransId="{8A26916C-03BF-4B0E-92AF-656A56CF8513}" sibTransId="{4F4BE6FE-AE34-4934-8B0D-8FDF04C5765F}"/>
    <dgm:cxn modelId="{25BD37C3-2196-49F3-AD2A-B163574CADC5}" type="presOf" srcId="{42F96A8F-BB1E-4B89-AB8E-11A0F37EB1DB}" destId="{F614A676-E312-4A6F-BE9F-B6E2993177B6}" srcOrd="1" destOrd="0" presId="urn:microsoft.com/office/officeart/2008/layout/HorizontalMultiLevelHierarchy"/>
    <dgm:cxn modelId="{06533EC6-3B33-4FE2-B092-DBD1E23AB973}" type="presOf" srcId="{2DCC687C-BE9B-4DD8-8A80-E970635437CA}" destId="{2B4072C3-2623-4EA4-94B7-025A9DCD72E9}" srcOrd="0" destOrd="0" presId="urn:microsoft.com/office/officeart/2008/layout/HorizontalMultiLevelHierarchy"/>
    <dgm:cxn modelId="{0419F4C6-C72F-44E5-856A-7A5E20A609B0}" srcId="{8E70AA8F-7583-4AFE-9EDE-87363894E1F8}" destId="{49A0BB83-CEA0-46AB-9D0B-B65F612AEE4A}" srcOrd="1" destOrd="0" parTransId="{AE65C2BF-225F-4643-AE59-9457E6820B24}" sibTransId="{2328B74F-4929-49C4-A401-C9585D838753}"/>
    <dgm:cxn modelId="{FA31A5C7-F378-42C8-A9AD-F864553E6C8E}" type="presOf" srcId="{23EDCDD5-F170-402F-A11E-15FD466C3CE5}" destId="{709C936E-7E65-4B5A-AC40-4548A25152AC}" srcOrd="0" destOrd="0" presId="urn:microsoft.com/office/officeart/2008/layout/HorizontalMultiLevelHierarchy"/>
    <dgm:cxn modelId="{19B9B5C9-B669-4991-9912-383473355532}" type="presOf" srcId="{33587DE4-8F92-4CA4-A011-892138D47DA7}" destId="{8F47A465-73D6-48E5-83FD-F149301C3BBD}" srcOrd="0" destOrd="0" presId="urn:microsoft.com/office/officeart/2008/layout/HorizontalMultiLevelHierarchy"/>
    <dgm:cxn modelId="{587DEAC9-60C3-45DB-9C9F-C26256D35C0F}" srcId="{C1D130BE-4BC5-481C-BADA-14A869727C0B}" destId="{16945C89-930D-4764-8730-4F183F8B4C87}" srcOrd="1" destOrd="0" parTransId="{B3C6A11E-10F5-433C-A0FB-1B185A7D12E0}" sibTransId="{5C8BCF49-4277-47C2-9543-A10467E88E20}"/>
    <dgm:cxn modelId="{EDD069CE-E724-4C0A-92C6-2204B289CF24}" type="presOf" srcId="{DA62F256-25CF-4854-BFCD-F90F70E5F8D4}" destId="{037062E2-BE96-4A8B-9D2F-1FA0857207C1}" srcOrd="0" destOrd="0" presId="urn:microsoft.com/office/officeart/2008/layout/HorizontalMultiLevelHierarchy"/>
    <dgm:cxn modelId="{46C105CF-449F-4F1C-B399-CE70EC74C4C8}" srcId="{BF1B7062-91AB-4F1D-BD08-8D3EC4B33C1F}" destId="{D11BAA21-3D0E-4BFE-97F1-F349F96BB7F2}" srcOrd="3" destOrd="0" parTransId="{524ED0C4-9CC2-4C2A-B51C-974FA37A7FE7}" sibTransId="{632B7E11-8BCB-44BB-80A1-C58DA59BDECF}"/>
    <dgm:cxn modelId="{4A7380CF-8162-4F2E-9F90-B51642631E94}" srcId="{49A0BB83-CEA0-46AB-9D0B-B65F612AEE4A}" destId="{C1F68F19-94EA-4970-A79B-863E823848E5}" srcOrd="2" destOrd="0" parTransId="{0F1B911F-6353-4AE6-9EEF-D49625DE905E}" sibTransId="{60DB14D8-838D-4A63-A334-C12EB1C7625D}"/>
    <dgm:cxn modelId="{983AD7DE-4E8D-496F-BCB8-C95CB034A01D}" type="presOf" srcId="{C7C06085-9DF0-469C-90B3-434C5E418A6D}" destId="{799FD5E4-5D76-4338-BDA8-9F7F790A3A29}" srcOrd="1" destOrd="0" presId="urn:microsoft.com/office/officeart/2008/layout/HorizontalMultiLevelHierarchy"/>
    <dgm:cxn modelId="{C5BE0DE1-3793-4C23-A900-78112F2919D4}" srcId="{8E70AA8F-7583-4AFE-9EDE-87363894E1F8}" destId="{DAFF3CB8-4780-4F42-8F5A-A2879CF5C5A6}" srcOrd="2" destOrd="0" parTransId="{BB72E3E4-7E20-4FF3-87BE-AD24CB2F12EE}" sibTransId="{1E1C3655-4299-4282-B808-C53E3FABF68D}"/>
    <dgm:cxn modelId="{32BA70E3-2B88-4E2B-9094-EE86858857DA}" srcId="{BF1B7062-91AB-4F1D-BD08-8D3EC4B33C1F}" destId="{33587DE4-8F92-4CA4-A011-892138D47DA7}" srcOrd="4" destOrd="0" parTransId="{31BDA904-A9EF-437C-9DAF-E5BDF8C1106E}" sibTransId="{359CEDC3-C134-4529-AEBB-BBDE1EA7D255}"/>
    <dgm:cxn modelId="{870D94E8-9751-454A-BABA-EA45EF84CC1C}" type="presOf" srcId="{C1F68F19-94EA-4970-A79B-863E823848E5}" destId="{42C465EB-33D9-4AD2-A33B-930C8E39ED41}" srcOrd="0" destOrd="0" presId="urn:microsoft.com/office/officeart/2008/layout/HorizontalMultiLevelHierarchy"/>
    <dgm:cxn modelId="{B7674FEE-4F81-43E5-A853-47CF1B66D2AD}" type="presOf" srcId="{BF1B7062-91AB-4F1D-BD08-8D3EC4B33C1F}" destId="{F9F18759-F577-4686-9C34-EB964D732C77}" srcOrd="0" destOrd="0" presId="urn:microsoft.com/office/officeart/2008/layout/HorizontalMultiLevelHierarchy"/>
    <dgm:cxn modelId="{8D6DF9EE-A2D8-412C-887B-0C054D51DFA0}" type="presOf" srcId="{2DCC687C-BE9B-4DD8-8A80-E970635437CA}" destId="{7260B369-A7E2-44EA-98FE-B408D79B13A6}" srcOrd="1" destOrd="0" presId="urn:microsoft.com/office/officeart/2008/layout/HorizontalMultiLevelHierarchy"/>
    <dgm:cxn modelId="{7CDA6FEF-3872-4337-84FA-0DD423E0FBC5}" srcId="{BF1B7062-91AB-4F1D-BD08-8D3EC4B33C1F}" destId="{ADED253C-6A2E-4631-B1D4-F5E1FE2B5B55}" srcOrd="2" destOrd="0" parTransId="{23EDCDD5-F170-402F-A11E-15FD466C3CE5}" sibTransId="{074D77D4-B07D-447C-B97C-356C65F95759}"/>
    <dgm:cxn modelId="{F4D4E3EF-4C7A-4DD4-B693-2A68087757F8}" srcId="{49A0BB83-CEA0-46AB-9D0B-B65F612AEE4A}" destId="{4DA8AE24-A75C-40AE-A6A1-13FE57AE449D}" srcOrd="1" destOrd="0" parTransId="{2DCC687C-BE9B-4DD8-8A80-E970635437CA}" sibTransId="{DF4C3ABC-A688-4048-91A3-DFE9CE606182}"/>
    <dgm:cxn modelId="{0A8FCBF8-AD1F-4CF4-8568-2F5CBABA5157}" srcId="{49A0BB83-CEA0-46AB-9D0B-B65F612AEE4A}" destId="{3EC8FF9E-3113-473A-A5E5-ABD9C5F94794}" srcOrd="3" destOrd="0" parTransId="{87CDD4F3-E71F-44A9-B515-E47672A849B6}" sibTransId="{25369813-4686-4B37-9746-915D5E2ABB1B}"/>
    <dgm:cxn modelId="{2279FAFA-FB88-4C2D-B0C1-6B2ACC4BBF39}" type="presOf" srcId="{D937D902-C50B-4BEC-9C1F-D9880BCC701B}" destId="{30A455D9-9D31-498C-B006-B59A4D0FAC39}" srcOrd="1" destOrd="0" presId="urn:microsoft.com/office/officeart/2008/layout/HorizontalMultiLevelHierarchy"/>
    <dgm:cxn modelId="{A3A0BCFB-D8D9-4632-B5AB-CF4EFA2E3C41}" srcId="{BF1B7062-91AB-4F1D-BD08-8D3EC4B33C1F}" destId="{4D897679-FA7C-48A2-A57F-5D0431886FF7}" srcOrd="0" destOrd="0" parTransId="{C7C06085-9DF0-469C-90B3-434C5E418A6D}" sibTransId="{D55B2488-3E22-41F8-99B8-F1276460587D}"/>
    <dgm:cxn modelId="{6B84BBFC-A091-4525-A53A-310AE57146D4}" type="presOf" srcId="{D11BAA21-3D0E-4BFE-97F1-F349F96BB7F2}" destId="{E35C2840-DB93-493D-B275-166B0E0C4A9D}" srcOrd="0" destOrd="0" presId="urn:microsoft.com/office/officeart/2008/layout/HorizontalMultiLevelHierarchy"/>
    <dgm:cxn modelId="{BC1D60FE-A17A-4459-A412-7BD781EE41A1}" type="presOf" srcId="{31BDA904-A9EF-437C-9DAF-E5BDF8C1106E}" destId="{8B0AB1CA-7D19-4139-820F-FBEA5B4373F8}" srcOrd="1" destOrd="0" presId="urn:microsoft.com/office/officeart/2008/layout/HorizontalMultiLevelHierarchy"/>
    <dgm:cxn modelId="{3E8C5480-73D9-4EE3-932D-82721BB1E7B2}" type="presParOf" srcId="{50C4D88C-9CB0-4513-8456-755395491158}" destId="{506FBA0B-6598-4404-B87A-56869B8718E3}" srcOrd="0" destOrd="0" presId="urn:microsoft.com/office/officeart/2008/layout/HorizontalMultiLevelHierarchy"/>
    <dgm:cxn modelId="{AD087DA0-5EB4-49EE-82D3-F6C47200DD79}" type="presParOf" srcId="{506FBA0B-6598-4404-B87A-56869B8718E3}" destId="{DCF5B4EF-DE4F-4292-A3B2-724C163A44AB}" srcOrd="0" destOrd="0" presId="urn:microsoft.com/office/officeart/2008/layout/HorizontalMultiLevelHierarchy"/>
    <dgm:cxn modelId="{AD864577-5B7E-4328-AC26-287C80C6BEA3}" type="presParOf" srcId="{506FBA0B-6598-4404-B87A-56869B8718E3}" destId="{7E8A6FC8-F240-4C27-8F75-0549E9D1CE4E}" srcOrd="1" destOrd="0" presId="urn:microsoft.com/office/officeart/2008/layout/HorizontalMultiLevelHierarchy"/>
    <dgm:cxn modelId="{0D5824EC-96D2-4284-930C-3DC3234577D3}" type="presParOf" srcId="{7E8A6FC8-F240-4C27-8F75-0549E9D1CE4E}" destId="{BE328E0A-C287-4B1A-BD90-C0F3098FFCD9}" srcOrd="0" destOrd="0" presId="urn:microsoft.com/office/officeart/2008/layout/HorizontalMultiLevelHierarchy"/>
    <dgm:cxn modelId="{FF3EDB3F-3E5D-484F-B7EB-2D9D119CC084}" type="presParOf" srcId="{BE328E0A-C287-4B1A-BD90-C0F3098FFCD9}" destId="{1EB559E9-DB95-4028-B960-01A592B99E92}" srcOrd="0" destOrd="0" presId="urn:microsoft.com/office/officeart/2008/layout/HorizontalMultiLevelHierarchy"/>
    <dgm:cxn modelId="{6E796F25-24CC-4F5D-8AB9-96C968A94D86}" type="presParOf" srcId="{7E8A6FC8-F240-4C27-8F75-0549E9D1CE4E}" destId="{9893F228-CFAA-415F-97D9-8C8EA9FB1BC5}" srcOrd="1" destOrd="0" presId="urn:microsoft.com/office/officeart/2008/layout/HorizontalMultiLevelHierarchy"/>
    <dgm:cxn modelId="{F5FE272E-5A1A-4232-A41E-5E8F96E754E7}" type="presParOf" srcId="{9893F228-CFAA-415F-97D9-8C8EA9FB1BC5}" destId="{49ADAAAB-354D-4968-9DE9-378E6595E5BB}" srcOrd="0" destOrd="0" presId="urn:microsoft.com/office/officeart/2008/layout/HorizontalMultiLevelHierarchy"/>
    <dgm:cxn modelId="{480D07D8-1F1B-4569-80CC-321A6295D639}" type="presParOf" srcId="{9893F228-CFAA-415F-97D9-8C8EA9FB1BC5}" destId="{46E2FE2A-A747-4DEE-AAF5-53A8EE84B06B}" srcOrd="1" destOrd="0" presId="urn:microsoft.com/office/officeart/2008/layout/HorizontalMultiLevelHierarchy"/>
    <dgm:cxn modelId="{50D16AF4-5755-49CA-8CD2-80B55C410D0F}" type="presParOf" srcId="{46E2FE2A-A747-4DEE-AAF5-53A8EE84B06B}" destId="{A00DE1AA-92DF-4607-98DB-1C3BB048DCF5}" srcOrd="0" destOrd="0" presId="urn:microsoft.com/office/officeart/2008/layout/HorizontalMultiLevelHierarchy"/>
    <dgm:cxn modelId="{431D5585-68BC-402E-A1E8-6AA95F6C7608}" type="presParOf" srcId="{A00DE1AA-92DF-4607-98DB-1C3BB048DCF5}" destId="{FCADF10C-D51C-403A-B095-E884F4771DA4}" srcOrd="0" destOrd="0" presId="urn:microsoft.com/office/officeart/2008/layout/HorizontalMultiLevelHierarchy"/>
    <dgm:cxn modelId="{15D334E0-0A38-4F4E-ADC1-2877693952AA}" type="presParOf" srcId="{46E2FE2A-A747-4DEE-AAF5-53A8EE84B06B}" destId="{82114EE1-887C-431E-AFFD-6C4277E5953D}" srcOrd="1" destOrd="0" presId="urn:microsoft.com/office/officeart/2008/layout/HorizontalMultiLevelHierarchy"/>
    <dgm:cxn modelId="{8C9D2DBB-76FF-4B29-A8BF-76E1595D5F7B}" type="presParOf" srcId="{82114EE1-887C-431E-AFFD-6C4277E5953D}" destId="{F9F18759-F577-4686-9C34-EB964D732C77}" srcOrd="0" destOrd="0" presId="urn:microsoft.com/office/officeart/2008/layout/HorizontalMultiLevelHierarchy"/>
    <dgm:cxn modelId="{24FAD8B7-4C36-4713-89C8-0B0C5F8DE428}" type="presParOf" srcId="{82114EE1-887C-431E-AFFD-6C4277E5953D}" destId="{54BDE115-2A0C-4217-89B4-E7E8586234DB}" srcOrd="1" destOrd="0" presId="urn:microsoft.com/office/officeart/2008/layout/HorizontalMultiLevelHierarchy"/>
    <dgm:cxn modelId="{3D372E14-A8FD-44D7-8131-FA6D9CF22B67}" type="presParOf" srcId="{54BDE115-2A0C-4217-89B4-E7E8586234DB}" destId="{6D05A90F-5A8D-42F9-A2CB-82F28C0FF2BC}" srcOrd="0" destOrd="0" presId="urn:microsoft.com/office/officeart/2008/layout/HorizontalMultiLevelHierarchy"/>
    <dgm:cxn modelId="{F40CABF1-22E9-41F5-8B23-F27E5206AE95}" type="presParOf" srcId="{6D05A90F-5A8D-42F9-A2CB-82F28C0FF2BC}" destId="{799FD5E4-5D76-4338-BDA8-9F7F790A3A29}" srcOrd="0" destOrd="0" presId="urn:microsoft.com/office/officeart/2008/layout/HorizontalMultiLevelHierarchy"/>
    <dgm:cxn modelId="{DFBDF78B-1D23-455B-94D1-7FEC00C888AD}" type="presParOf" srcId="{54BDE115-2A0C-4217-89B4-E7E8586234DB}" destId="{1C875D8C-6779-45C7-9DF1-E38374A18533}" srcOrd="1" destOrd="0" presId="urn:microsoft.com/office/officeart/2008/layout/HorizontalMultiLevelHierarchy"/>
    <dgm:cxn modelId="{00ED9729-0AF6-4E65-A263-4A217F294ED2}" type="presParOf" srcId="{1C875D8C-6779-45C7-9DF1-E38374A18533}" destId="{F8A94DA1-2081-4A8B-816C-A9F98C2853F5}" srcOrd="0" destOrd="0" presId="urn:microsoft.com/office/officeart/2008/layout/HorizontalMultiLevelHierarchy"/>
    <dgm:cxn modelId="{44FDD24A-6CFB-46B1-BEB2-69DCD38B52E4}" type="presParOf" srcId="{1C875D8C-6779-45C7-9DF1-E38374A18533}" destId="{BE78AA36-14CC-406D-9CAF-F23AD3DFDFED}" srcOrd="1" destOrd="0" presId="urn:microsoft.com/office/officeart/2008/layout/HorizontalMultiLevelHierarchy"/>
    <dgm:cxn modelId="{944A07B4-171F-46FD-9A9A-D9F32623A61F}" type="presParOf" srcId="{54BDE115-2A0C-4217-89B4-E7E8586234DB}" destId="{8F0AA0AA-EF8D-43DE-82C5-2D7BFD08315F}" srcOrd="2" destOrd="0" presId="urn:microsoft.com/office/officeart/2008/layout/HorizontalMultiLevelHierarchy"/>
    <dgm:cxn modelId="{8E6E216A-B20D-4FF2-9976-6A4AD97AA5AD}" type="presParOf" srcId="{8F0AA0AA-EF8D-43DE-82C5-2D7BFD08315F}" destId="{FD15021D-62B7-4A46-932A-654E778DB44B}" srcOrd="0" destOrd="0" presId="urn:microsoft.com/office/officeart/2008/layout/HorizontalMultiLevelHierarchy"/>
    <dgm:cxn modelId="{35774EDF-2194-4938-91A1-C2CF1298126D}" type="presParOf" srcId="{54BDE115-2A0C-4217-89B4-E7E8586234DB}" destId="{92C6DF90-94C7-417B-A0B7-472D3330DFC6}" srcOrd="3" destOrd="0" presId="urn:microsoft.com/office/officeart/2008/layout/HorizontalMultiLevelHierarchy"/>
    <dgm:cxn modelId="{62003EF5-E134-419F-A088-B5DDC40A2688}" type="presParOf" srcId="{92C6DF90-94C7-417B-A0B7-472D3330DFC6}" destId="{571B8373-7DFF-4282-8AA6-80F7CC7EA7C8}" srcOrd="0" destOrd="0" presId="urn:microsoft.com/office/officeart/2008/layout/HorizontalMultiLevelHierarchy"/>
    <dgm:cxn modelId="{E322A04F-806C-4932-A9A0-D0423C9769E7}" type="presParOf" srcId="{92C6DF90-94C7-417B-A0B7-472D3330DFC6}" destId="{2E395B4D-D351-4809-A97B-BD1545D151D6}" srcOrd="1" destOrd="0" presId="urn:microsoft.com/office/officeart/2008/layout/HorizontalMultiLevelHierarchy"/>
    <dgm:cxn modelId="{F777DE2D-E80D-4EA4-B833-A3841CA97B4B}" type="presParOf" srcId="{54BDE115-2A0C-4217-89B4-E7E8586234DB}" destId="{709C936E-7E65-4B5A-AC40-4548A25152AC}" srcOrd="4" destOrd="0" presId="urn:microsoft.com/office/officeart/2008/layout/HorizontalMultiLevelHierarchy"/>
    <dgm:cxn modelId="{32E88D2B-0DC3-47DF-8E3C-D73500CC12ED}" type="presParOf" srcId="{709C936E-7E65-4B5A-AC40-4548A25152AC}" destId="{79D3B186-92E5-40C6-A995-4173A00C788D}" srcOrd="0" destOrd="0" presId="urn:microsoft.com/office/officeart/2008/layout/HorizontalMultiLevelHierarchy"/>
    <dgm:cxn modelId="{3F754718-EE57-49C1-BB11-DB71B1789707}" type="presParOf" srcId="{54BDE115-2A0C-4217-89B4-E7E8586234DB}" destId="{288D4D72-A885-421E-B53B-89BEC0A8E191}" srcOrd="5" destOrd="0" presId="urn:microsoft.com/office/officeart/2008/layout/HorizontalMultiLevelHierarchy"/>
    <dgm:cxn modelId="{7057AA4D-B137-41ED-BB23-97CC6A463ECC}" type="presParOf" srcId="{288D4D72-A885-421E-B53B-89BEC0A8E191}" destId="{9E59A063-5821-4E2B-8FD8-3EBA8922B98E}" srcOrd="0" destOrd="0" presId="urn:microsoft.com/office/officeart/2008/layout/HorizontalMultiLevelHierarchy"/>
    <dgm:cxn modelId="{B1430112-47C7-421A-A831-AD9432EA9447}" type="presParOf" srcId="{288D4D72-A885-421E-B53B-89BEC0A8E191}" destId="{A60165E3-8C06-4086-B11F-0E702421E440}" srcOrd="1" destOrd="0" presId="urn:microsoft.com/office/officeart/2008/layout/HorizontalMultiLevelHierarchy"/>
    <dgm:cxn modelId="{4606825E-DF7B-4A4B-970B-90A4366FCD75}" type="presParOf" srcId="{54BDE115-2A0C-4217-89B4-E7E8586234DB}" destId="{C5F46441-018D-4AD0-9984-278FB6B3653F}" srcOrd="6" destOrd="0" presId="urn:microsoft.com/office/officeart/2008/layout/HorizontalMultiLevelHierarchy"/>
    <dgm:cxn modelId="{2195A6B6-C0E7-4925-B522-ECD20392777B}" type="presParOf" srcId="{C5F46441-018D-4AD0-9984-278FB6B3653F}" destId="{D9EA4352-69AB-4BEF-A3B8-25557C0E3D3D}" srcOrd="0" destOrd="0" presId="urn:microsoft.com/office/officeart/2008/layout/HorizontalMultiLevelHierarchy"/>
    <dgm:cxn modelId="{76A9F908-999F-4A91-9814-EDE65165187B}" type="presParOf" srcId="{54BDE115-2A0C-4217-89B4-E7E8586234DB}" destId="{0E92266F-6127-4D65-BB11-33FD467F105D}" srcOrd="7" destOrd="0" presId="urn:microsoft.com/office/officeart/2008/layout/HorizontalMultiLevelHierarchy"/>
    <dgm:cxn modelId="{F306A3C1-7973-4F7A-943B-6ADCD306A7F6}" type="presParOf" srcId="{0E92266F-6127-4D65-BB11-33FD467F105D}" destId="{E35C2840-DB93-493D-B275-166B0E0C4A9D}" srcOrd="0" destOrd="0" presId="urn:microsoft.com/office/officeart/2008/layout/HorizontalMultiLevelHierarchy"/>
    <dgm:cxn modelId="{A835B48E-3A8E-4008-A8CE-A71601018F84}" type="presParOf" srcId="{0E92266F-6127-4D65-BB11-33FD467F105D}" destId="{D8A053A6-8CD3-465F-9ECC-7C0D113893EE}" srcOrd="1" destOrd="0" presId="urn:microsoft.com/office/officeart/2008/layout/HorizontalMultiLevelHierarchy"/>
    <dgm:cxn modelId="{8D24C396-9E55-4005-8D86-DB4BF7EBCB4D}" type="presParOf" srcId="{54BDE115-2A0C-4217-89B4-E7E8586234DB}" destId="{FAF45787-F807-4BB6-923D-0C0E2CD8C149}" srcOrd="8" destOrd="0" presId="urn:microsoft.com/office/officeart/2008/layout/HorizontalMultiLevelHierarchy"/>
    <dgm:cxn modelId="{B8C3ED00-AC23-46BD-B1D0-119DB40B33C6}" type="presParOf" srcId="{FAF45787-F807-4BB6-923D-0C0E2CD8C149}" destId="{8B0AB1CA-7D19-4139-820F-FBEA5B4373F8}" srcOrd="0" destOrd="0" presId="urn:microsoft.com/office/officeart/2008/layout/HorizontalMultiLevelHierarchy"/>
    <dgm:cxn modelId="{CEE7DFA3-513B-4D24-A57B-0052FB3C207F}" type="presParOf" srcId="{54BDE115-2A0C-4217-89B4-E7E8586234DB}" destId="{C3306D52-2437-4385-ACA3-7D8CE9EB0569}" srcOrd="9" destOrd="0" presId="urn:microsoft.com/office/officeart/2008/layout/HorizontalMultiLevelHierarchy"/>
    <dgm:cxn modelId="{08DF73F5-ABF4-4C8B-834F-6A47AAB5E318}" type="presParOf" srcId="{C3306D52-2437-4385-ACA3-7D8CE9EB0569}" destId="{8F47A465-73D6-48E5-83FD-F149301C3BBD}" srcOrd="0" destOrd="0" presId="urn:microsoft.com/office/officeart/2008/layout/HorizontalMultiLevelHierarchy"/>
    <dgm:cxn modelId="{1CF8F74E-E989-4A3F-908A-DCDB6D590139}" type="presParOf" srcId="{C3306D52-2437-4385-ACA3-7D8CE9EB0569}" destId="{E32E857A-F3CD-4263-AB35-D59E97F83B1D}" srcOrd="1" destOrd="0" presId="urn:microsoft.com/office/officeart/2008/layout/HorizontalMultiLevelHierarchy"/>
    <dgm:cxn modelId="{88639E4F-31C1-497A-AD08-8F53C1B0472D}" type="presParOf" srcId="{46E2FE2A-A747-4DEE-AAF5-53A8EE84B06B}" destId="{5BC2DE1D-C4D7-4BFC-A0C1-3D282DC024CD}" srcOrd="2" destOrd="0" presId="urn:microsoft.com/office/officeart/2008/layout/HorizontalMultiLevelHierarchy"/>
    <dgm:cxn modelId="{BC66EAF4-D03A-4B97-B08C-7F76CC2F9B24}" type="presParOf" srcId="{5BC2DE1D-C4D7-4BFC-A0C1-3D282DC024CD}" destId="{0C497864-2349-44C5-8D11-5F89748F0519}" srcOrd="0" destOrd="0" presId="urn:microsoft.com/office/officeart/2008/layout/HorizontalMultiLevelHierarchy"/>
    <dgm:cxn modelId="{40D40725-FA7B-4511-B16E-C1EFB81A0750}" type="presParOf" srcId="{46E2FE2A-A747-4DEE-AAF5-53A8EE84B06B}" destId="{9DEE4079-5D60-4753-AEAE-EF1343D66E8F}" srcOrd="3" destOrd="0" presId="urn:microsoft.com/office/officeart/2008/layout/HorizontalMultiLevelHierarchy"/>
    <dgm:cxn modelId="{6042F3FD-F18F-4D46-8EC2-9066A06C2B78}" type="presParOf" srcId="{9DEE4079-5D60-4753-AEAE-EF1343D66E8F}" destId="{DC0B28EB-699E-45BB-87EC-30E574E72821}" srcOrd="0" destOrd="0" presId="urn:microsoft.com/office/officeart/2008/layout/HorizontalMultiLevelHierarchy"/>
    <dgm:cxn modelId="{608302F7-1EC7-4ADD-8AE7-438FDE7034DF}" type="presParOf" srcId="{9DEE4079-5D60-4753-AEAE-EF1343D66E8F}" destId="{F96545F6-99BC-46B9-929F-A49863AE73CF}" srcOrd="1" destOrd="0" presId="urn:microsoft.com/office/officeart/2008/layout/HorizontalMultiLevelHierarchy"/>
    <dgm:cxn modelId="{A053F520-2BFF-4D78-ABA3-085B38E9BB46}" type="presParOf" srcId="{F96545F6-99BC-46B9-929F-A49863AE73CF}" destId="{7F2C676C-E906-4B26-892E-C728B9239429}" srcOrd="0" destOrd="0" presId="urn:microsoft.com/office/officeart/2008/layout/HorizontalMultiLevelHierarchy"/>
    <dgm:cxn modelId="{DC63E4DA-2911-48A2-B45E-2A3F7F320F95}" type="presParOf" srcId="{7F2C676C-E906-4B26-892E-C728B9239429}" destId="{F614A676-E312-4A6F-BE9F-B6E2993177B6}" srcOrd="0" destOrd="0" presId="urn:microsoft.com/office/officeart/2008/layout/HorizontalMultiLevelHierarchy"/>
    <dgm:cxn modelId="{98791E69-7D35-4CF1-9761-6C24C2696866}" type="presParOf" srcId="{F96545F6-99BC-46B9-929F-A49863AE73CF}" destId="{BDC558D4-E8FE-4402-98B6-954B2DED52D1}" srcOrd="1" destOrd="0" presId="urn:microsoft.com/office/officeart/2008/layout/HorizontalMultiLevelHierarchy"/>
    <dgm:cxn modelId="{FDBEFCAE-1435-4A02-93C8-6822FB954273}" type="presParOf" srcId="{BDC558D4-E8FE-4402-98B6-954B2DED52D1}" destId="{81473451-3FF3-474B-98FB-6869E5682468}" srcOrd="0" destOrd="0" presId="urn:microsoft.com/office/officeart/2008/layout/HorizontalMultiLevelHierarchy"/>
    <dgm:cxn modelId="{B5D9CD1B-6DBD-4706-A7AF-2E52473396EC}" type="presParOf" srcId="{BDC558D4-E8FE-4402-98B6-954B2DED52D1}" destId="{FA9000AC-D9F7-467D-A35D-DAD03D5FE186}" srcOrd="1" destOrd="0" presId="urn:microsoft.com/office/officeart/2008/layout/HorizontalMultiLevelHierarchy"/>
    <dgm:cxn modelId="{796470D6-7D1B-4420-B116-3CDECA6C4332}" type="presParOf" srcId="{F96545F6-99BC-46B9-929F-A49863AE73CF}" destId="{2B4072C3-2623-4EA4-94B7-025A9DCD72E9}" srcOrd="2" destOrd="0" presId="urn:microsoft.com/office/officeart/2008/layout/HorizontalMultiLevelHierarchy"/>
    <dgm:cxn modelId="{26C198F0-9097-4B40-A099-0CF7BB5FE30B}" type="presParOf" srcId="{2B4072C3-2623-4EA4-94B7-025A9DCD72E9}" destId="{7260B369-A7E2-44EA-98FE-B408D79B13A6}" srcOrd="0" destOrd="0" presId="urn:microsoft.com/office/officeart/2008/layout/HorizontalMultiLevelHierarchy"/>
    <dgm:cxn modelId="{561417E8-7976-4A1C-A015-08E3E4F64664}" type="presParOf" srcId="{F96545F6-99BC-46B9-929F-A49863AE73CF}" destId="{1FAAD552-F495-4DB6-9E8B-FAAEB560B2F6}" srcOrd="3" destOrd="0" presId="urn:microsoft.com/office/officeart/2008/layout/HorizontalMultiLevelHierarchy"/>
    <dgm:cxn modelId="{EA019D1A-3F95-4D56-9997-0C9D24A997C5}" type="presParOf" srcId="{1FAAD552-F495-4DB6-9E8B-FAAEB560B2F6}" destId="{A732D3F1-1291-409E-9A7C-778CAE167F89}" srcOrd="0" destOrd="0" presId="urn:microsoft.com/office/officeart/2008/layout/HorizontalMultiLevelHierarchy"/>
    <dgm:cxn modelId="{166A27F3-4442-45CA-8BA6-9A502B1E32B0}" type="presParOf" srcId="{1FAAD552-F495-4DB6-9E8B-FAAEB560B2F6}" destId="{AB597740-6E08-435C-B03D-74A3C28F6C7A}" srcOrd="1" destOrd="0" presId="urn:microsoft.com/office/officeart/2008/layout/HorizontalMultiLevelHierarchy"/>
    <dgm:cxn modelId="{B13D283A-3BF4-4186-8B35-E30A1BFCB7DD}" type="presParOf" srcId="{F96545F6-99BC-46B9-929F-A49863AE73CF}" destId="{9458E52A-38CE-4EE6-A620-F703970B8164}" srcOrd="4" destOrd="0" presId="urn:microsoft.com/office/officeart/2008/layout/HorizontalMultiLevelHierarchy"/>
    <dgm:cxn modelId="{CBEB0CDE-7383-4B68-B06E-63692D94162C}" type="presParOf" srcId="{9458E52A-38CE-4EE6-A620-F703970B8164}" destId="{32DEAE14-947F-44E2-8D61-C101875AB07D}" srcOrd="0" destOrd="0" presId="urn:microsoft.com/office/officeart/2008/layout/HorizontalMultiLevelHierarchy"/>
    <dgm:cxn modelId="{268498D5-D929-4DAB-AC0F-7C00397892F8}" type="presParOf" srcId="{F96545F6-99BC-46B9-929F-A49863AE73CF}" destId="{69E10A20-FCE4-4D83-88A1-14D71635473C}" srcOrd="5" destOrd="0" presId="urn:microsoft.com/office/officeart/2008/layout/HorizontalMultiLevelHierarchy"/>
    <dgm:cxn modelId="{C53C4149-E278-4B46-8FC3-6C96C874D326}" type="presParOf" srcId="{69E10A20-FCE4-4D83-88A1-14D71635473C}" destId="{42C465EB-33D9-4AD2-A33B-930C8E39ED41}" srcOrd="0" destOrd="0" presId="urn:microsoft.com/office/officeart/2008/layout/HorizontalMultiLevelHierarchy"/>
    <dgm:cxn modelId="{148DD049-D5F2-44AA-9110-DDD80E88C1F7}" type="presParOf" srcId="{69E10A20-FCE4-4D83-88A1-14D71635473C}" destId="{2EF723DA-603B-48F9-A950-71099D97A93D}" srcOrd="1" destOrd="0" presId="urn:microsoft.com/office/officeart/2008/layout/HorizontalMultiLevelHierarchy"/>
    <dgm:cxn modelId="{E6A09153-7C65-4D54-AF4C-8F005668B195}" type="presParOf" srcId="{F96545F6-99BC-46B9-929F-A49863AE73CF}" destId="{329CD9E0-9945-40C9-89A5-5929AA1A3A82}" srcOrd="6" destOrd="0" presId="urn:microsoft.com/office/officeart/2008/layout/HorizontalMultiLevelHierarchy"/>
    <dgm:cxn modelId="{6218AF02-8BFB-41EC-94F2-A7B83BEFA856}" type="presParOf" srcId="{329CD9E0-9945-40C9-89A5-5929AA1A3A82}" destId="{27874C32-AAAE-43E2-B803-B20B1E2D7450}" srcOrd="0" destOrd="0" presId="urn:microsoft.com/office/officeart/2008/layout/HorizontalMultiLevelHierarchy"/>
    <dgm:cxn modelId="{5191E024-DDD0-405C-A806-A32820FD8CC5}" type="presParOf" srcId="{F96545F6-99BC-46B9-929F-A49863AE73CF}" destId="{413EDB34-EEB8-4846-8BF9-D4944F61EBD3}" srcOrd="7" destOrd="0" presId="urn:microsoft.com/office/officeart/2008/layout/HorizontalMultiLevelHierarchy"/>
    <dgm:cxn modelId="{A545499C-31A8-4879-8B70-422B8B7E16E8}" type="presParOf" srcId="{413EDB34-EEB8-4846-8BF9-D4944F61EBD3}" destId="{84D7F889-3498-48D8-ADC3-14251347C81B}" srcOrd="0" destOrd="0" presId="urn:microsoft.com/office/officeart/2008/layout/HorizontalMultiLevelHierarchy"/>
    <dgm:cxn modelId="{A0A19357-EB8B-4612-A7DA-0BAC1172C650}" type="presParOf" srcId="{413EDB34-EEB8-4846-8BF9-D4944F61EBD3}" destId="{E91235D0-FC5C-4DA2-AB29-EC075B3DCA81}" srcOrd="1" destOrd="0" presId="urn:microsoft.com/office/officeart/2008/layout/HorizontalMultiLevelHierarchy"/>
    <dgm:cxn modelId="{726D319B-7F9C-410A-923E-E7D70D1E9BE5}" type="presParOf" srcId="{46E2FE2A-A747-4DEE-AAF5-53A8EE84B06B}" destId="{A4E05C94-2209-4BF4-B627-606397BBC1C5}" srcOrd="4" destOrd="0" presId="urn:microsoft.com/office/officeart/2008/layout/HorizontalMultiLevelHierarchy"/>
    <dgm:cxn modelId="{BC8E1C1E-4F81-4EDB-B206-0F9F561D1BE3}" type="presParOf" srcId="{A4E05C94-2209-4BF4-B627-606397BBC1C5}" destId="{6DCFD290-34D5-45FC-84C5-03B4A3AFAD52}" srcOrd="0" destOrd="0" presId="urn:microsoft.com/office/officeart/2008/layout/HorizontalMultiLevelHierarchy"/>
    <dgm:cxn modelId="{C24C0CF1-8773-4C67-935E-616A1C69F1B6}" type="presParOf" srcId="{46E2FE2A-A747-4DEE-AAF5-53A8EE84B06B}" destId="{D6C31984-0B65-416F-A6B1-E0A22FFF6163}" srcOrd="5" destOrd="0" presId="urn:microsoft.com/office/officeart/2008/layout/HorizontalMultiLevelHierarchy"/>
    <dgm:cxn modelId="{BF5C4A11-F9CD-408A-9CA8-15A0D2A36E35}" type="presParOf" srcId="{D6C31984-0B65-416F-A6B1-E0A22FFF6163}" destId="{485D5E8B-1295-4B72-BF14-74B2BE7008EE}" srcOrd="0" destOrd="0" presId="urn:microsoft.com/office/officeart/2008/layout/HorizontalMultiLevelHierarchy"/>
    <dgm:cxn modelId="{F6BDEA0C-9395-46B8-B4A0-F02379190F75}" type="presParOf" srcId="{D6C31984-0B65-416F-A6B1-E0A22FFF6163}" destId="{49EAA066-0495-427D-9425-BE1889EED5E1}" srcOrd="1" destOrd="0" presId="urn:microsoft.com/office/officeart/2008/layout/HorizontalMultiLevelHierarchy"/>
    <dgm:cxn modelId="{D41C7959-272E-4EBA-8328-6A420A7753D6}" type="presParOf" srcId="{46E2FE2A-A747-4DEE-AAF5-53A8EE84B06B}" destId="{460E764F-BDF5-4D22-9B4D-16DC71F64CAC}" srcOrd="6" destOrd="0" presId="urn:microsoft.com/office/officeart/2008/layout/HorizontalMultiLevelHierarchy"/>
    <dgm:cxn modelId="{9E3C5359-D3AF-471A-A4EB-632E9E1FFFED}" type="presParOf" srcId="{460E764F-BDF5-4D22-9B4D-16DC71F64CAC}" destId="{D2085E56-A00C-4E27-A4A7-A2743FEDF1B5}" srcOrd="0" destOrd="0" presId="urn:microsoft.com/office/officeart/2008/layout/HorizontalMultiLevelHierarchy"/>
    <dgm:cxn modelId="{E9C36CB9-A5C3-4B2E-8690-8C27F406F889}" type="presParOf" srcId="{46E2FE2A-A747-4DEE-AAF5-53A8EE84B06B}" destId="{73186733-5E43-4E6A-80AF-948A00AAA9B5}" srcOrd="7" destOrd="0" presId="urn:microsoft.com/office/officeart/2008/layout/HorizontalMultiLevelHierarchy"/>
    <dgm:cxn modelId="{3DE4C77A-92C4-499B-A96E-6812CB8CF9E7}" type="presParOf" srcId="{73186733-5E43-4E6A-80AF-948A00AAA9B5}" destId="{43996E1E-6F52-4F8E-9F4B-77A56824C63C}" srcOrd="0" destOrd="0" presId="urn:microsoft.com/office/officeart/2008/layout/HorizontalMultiLevelHierarchy"/>
    <dgm:cxn modelId="{0F21ABEF-B7AA-44AC-A89A-91EB275FF44F}" type="presParOf" srcId="{73186733-5E43-4E6A-80AF-948A00AAA9B5}" destId="{41502682-1FC1-4B2B-BBB5-9A5540E7D736}" srcOrd="1" destOrd="0" presId="urn:microsoft.com/office/officeart/2008/layout/HorizontalMultiLevelHierarchy"/>
    <dgm:cxn modelId="{D6EB78A0-A34D-4723-9332-CDC12F78869A}" type="presParOf" srcId="{46E2FE2A-A747-4DEE-AAF5-53A8EE84B06B}" destId="{690E36EE-5895-4B91-A347-3380A5FE5255}" srcOrd="8" destOrd="0" presId="urn:microsoft.com/office/officeart/2008/layout/HorizontalMultiLevelHierarchy"/>
    <dgm:cxn modelId="{E55A1800-8DD6-4853-A0D4-E4B94395683D}" type="presParOf" srcId="{690E36EE-5895-4B91-A347-3380A5FE5255}" destId="{ADBE13F2-10FA-4B06-99C7-09C6712A7646}" srcOrd="0" destOrd="0" presId="urn:microsoft.com/office/officeart/2008/layout/HorizontalMultiLevelHierarchy"/>
    <dgm:cxn modelId="{0DEBCA27-CE2E-409D-8652-B03064A5A0BD}" type="presParOf" srcId="{46E2FE2A-A747-4DEE-AAF5-53A8EE84B06B}" destId="{B6754EFB-425D-471A-9BC5-9299A6414551}" srcOrd="9" destOrd="0" presId="urn:microsoft.com/office/officeart/2008/layout/HorizontalMultiLevelHierarchy"/>
    <dgm:cxn modelId="{827B1068-D035-4351-8FA7-E96A12C46B8D}" type="presParOf" srcId="{B6754EFB-425D-471A-9BC5-9299A6414551}" destId="{6E154881-954A-429F-9BBE-E92EEB4B1011}" srcOrd="0" destOrd="0" presId="urn:microsoft.com/office/officeart/2008/layout/HorizontalMultiLevelHierarchy"/>
    <dgm:cxn modelId="{CF5796C7-4017-4D28-84C5-F23B50B601E5}" type="presParOf" srcId="{B6754EFB-425D-471A-9BC5-9299A6414551}" destId="{5D1CB6D5-4D16-456C-80C8-8FB25291517B}" srcOrd="1" destOrd="0" presId="urn:microsoft.com/office/officeart/2008/layout/HorizontalMultiLevelHierarchy"/>
    <dgm:cxn modelId="{8C48EBB2-861E-4B2B-84F8-7FD8866630A9}" type="presParOf" srcId="{7E8A6FC8-F240-4C27-8F75-0549E9D1CE4E}" destId="{CD37291B-5548-4F1B-8F2F-200AE5B0DCAE}" srcOrd="2" destOrd="0" presId="urn:microsoft.com/office/officeart/2008/layout/HorizontalMultiLevelHierarchy"/>
    <dgm:cxn modelId="{1EAA7291-3D7E-4E1D-BFA5-466FBB9231BE}" type="presParOf" srcId="{CD37291B-5548-4F1B-8F2F-200AE5B0DCAE}" destId="{D4121B60-61D6-41A4-AAB9-DE9671C8ED2F}" srcOrd="0" destOrd="0" presId="urn:microsoft.com/office/officeart/2008/layout/HorizontalMultiLevelHierarchy"/>
    <dgm:cxn modelId="{30BF0797-9DFC-4143-9934-65A925553B04}" type="presParOf" srcId="{7E8A6FC8-F240-4C27-8F75-0549E9D1CE4E}" destId="{50975EFF-52F3-48CE-A104-6890DF2CCC15}" srcOrd="3" destOrd="0" presId="urn:microsoft.com/office/officeart/2008/layout/HorizontalMultiLevelHierarchy"/>
    <dgm:cxn modelId="{B1E72420-C269-47B9-8826-4F40BF90D27F}" type="presParOf" srcId="{50975EFF-52F3-48CE-A104-6890DF2CCC15}" destId="{E077FA3E-A654-4D27-8616-5CDDA43F8AF6}" srcOrd="0" destOrd="0" presId="urn:microsoft.com/office/officeart/2008/layout/HorizontalMultiLevelHierarchy"/>
    <dgm:cxn modelId="{2984DC2A-8109-4C03-B00F-93C41BC46DCB}" type="presParOf" srcId="{50975EFF-52F3-48CE-A104-6890DF2CCC15}" destId="{738BD333-0CAC-4970-A8E6-FA82D1202675}" srcOrd="1" destOrd="0" presId="urn:microsoft.com/office/officeart/2008/layout/HorizontalMultiLevelHierarchy"/>
    <dgm:cxn modelId="{701C9470-548A-4BE2-BFE5-EA05C36188CF}" type="presParOf" srcId="{738BD333-0CAC-4970-A8E6-FA82D1202675}" destId="{037062E2-BE96-4A8B-9D2F-1FA0857207C1}" srcOrd="0" destOrd="0" presId="urn:microsoft.com/office/officeart/2008/layout/HorizontalMultiLevelHierarchy"/>
    <dgm:cxn modelId="{A85CA7AE-0B05-415C-879A-E60AE08B5C38}" type="presParOf" srcId="{037062E2-BE96-4A8B-9D2F-1FA0857207C1}" destId="{48D9A2E1-2598-4B00-AD73-86E6047DFB3F}" srcOrd="0" destOrd="0" presId="urn:microsoft.com/office/officeart/2008/layout/HorizontalMultiLevelHierarchy"/>
    <dgm:cxn modelId="{C4A41739-1868-4E6C-8999-7C6171F40DDB}" type="presParOf" srcId="{738BD333-0CAC-4970-A8E6-FA82D1202675}" destId="{B8CF9832-64BD-484C-B421-A0ECF20998B1}" srcOrd="1" destOrd="0" presId="urn:microsoft.com/office/officeart/2008/layout/HorizontalMultiLevelHierarchy"/>
    <dgm:cxn modelId="{48303E24-0767-49ED-9ED9-ABE66A3F8EB4}" type="presParOf" srcId="{B8CF9832-64BD-484C-B421-A0ECF20998B1}" destId="{768C7647-12EF-40E9-94EB-C1868C4AFE59}" srcOrd="0" destOrd="0" presId="urn:microsoft.com/office/officeart/2008/layout/HorizontalMultiLevelHierarchy"/>
    <dgm:cxn modelId="{5A3DA604-9904-4F44-9882-A2E63AE76B38}" type="presParOf" srcId="{B8CF9832-64BD-484C-B421-A0ECF20998B1}" destId="{66E40938-6C34-47FD-B792-4BEC9D41A30A}" srcOrd="1" destOrd="0" presId="urn:microsoft.com/office/officeart/2008/layout/HorizontalMultiLevelHierarchy"/>
    <dgm:cxn modelId="{55446B2F-4034-42F1-8435-46B9BE44613A}" type="presParOf" srcId="{738BD333-0CAC-4970-A8E6-FA82D1202675}" destId="{313DC26C-06DB-4098-B605-33485EFC9B29}" srcOrd="2" destOrd="0" presId="urn:microsoft.com/office/officeart/2008/layout/HorizontalMultiLevelHierarchy"/>
    <dgm:cxn modelId="{4A033A29-C601-4F84-BFD7-622B89FB96DB}" type="presParOf" srcId="{313DC26C-06DB-4098-B605-33485EFC9B29}" destId="{30A455D9-9D31-498C-B006-B59A4D0FAC39}" srcOrd="0" destOrd="0" presId="urn:microsoft.com/office/officeart/2008/layout/HorizontalMultiLevelHierarchy"/>
    <dgm:cxn modelId="{B93B707E-B961-4BA7-B3CF-63ACD0FF66B1}" type="presParOf" srcId="{738BD333-0CAC-4970-A8E6-FA82D1202675}" destId="{EB09E2DB-DC0B-4A48-BC00-788EB4BF2155}" srcOrd="3" destOrd="0" presId="urn:microsoft.com/office/officeart/2008/layout/HorizontalMultiLevelHierarchy"/>
    <dgm:cxn modelId="{6CBDF43C-70BD-4409-9DF9-9CA7F57EB17C}" type="presParOf" srcId="{EB09E2DB-DC0B-4A48-BC00-788EB4BF2155}" destId="{49B6876F-A108-4FF0-9A81-E34DBB9D0BD7}" srcOrd="0" destOrd="0" presId="urn:microsoft.com/office/officeart/2008/layout/HorizontalMultiLevelHierarchy"/>
    <dgm:cxn modelId="{2686E0A6-F092-4AAA-926C-60D6DAFD0249}" type="presParOf" srcId="{EB09E2DB-DC0B-4A48-BC00-788EB4BF2155}" destId="{840A5199-0A8A-47C7-8B9A-920BC241225E}" srcOrd="1" destOrd="0" presId="urn:microsoft.com/office/officeart/2008/layout/HorizontalMultiLevelHierarchy"/>
    <dgm:cxn modelId="{25D58353-0D81-4A8A-94ED-93CDC7E7186B}" type="presParOf" srcId="{7E8A6FC8-F240-4C27-8F75-0549E9D1CE4E}" destId="{C4365B06-B9DB-4064-B93F-1043BD4B58B2}" srcOrd="4" destOrd="0" presId="urn:microsoft.com/office/officeart/2008/layout/HorizontalMultiLevelHierarchy"/>
    <dgm:cxn modelId="{7A9066B8-6414-422E-BFD9-738E8455C555}" type="presParOf" srcId="{C4365B06-B9DB-4064-B93F-1043BD4B58B2}" destId="{0336C92A-933C-4B9A-8AAD-80A8DB51CB00}" srcOrd="0" destOrd="0" presId="urn:microsoft.com/office/officeart/2008/layout/HorizontalMultiLevelHierarchy"/>
    <dgm:cxn modelId="{8B26E937-4058-4513-8A0F-CFE594B0876E}" type="presParOf" srcId="{7E8A6FC8-F240-4C27-8F75-0549E9D1CE4E}" destId="{1FB1112C-2171-4ECC-8EA0-911ADD3964A5}" srcOrd="5" destOrd="0" presId="urn:microsoft.com/office/officeart/2008/layout/HorizontalMultiLevelHierarchy"/>
    <dgm:cxn modelId="{C26F454F-9AD3-4024-89FF-46146E45546E}" type="presParOf" srcId="{1FB1112C-2171-4ECC-8EA0-911ADD3964A5}" destId="{B3E59FB2-885F-4B71-9DC5-B6F45C8017DE}" srcOrd="0" destOrd="0" presId="urn:microsoft.com/office/officeart/2008/layout/HorizontalMultiLevelHierarchy"/>
    <dgm:cxn modelId="{D088637E-3313-42FD-BF6C-2731986EDBD5}" type="presParOf" srcId="{1FB1112C-2171-4ECC-8EA0-911ADD3964A5}" destId="{AF149B8F-23A2-48DF-9DB4-21319099B718}" srcOrd="1" destOrd="0" presId="urn:microsoft.com/office/officeart/2008/layout/HorizontalMultiLevelHierarchy"/>
    <dgm:cxn modelId="{BE9866F0-9F68-43A1-A842-DB93EF04DC1F}" type="presParOf" srcId="{AF149B8F-23A2-48DF-9DB4-21319099B718}" destId="{60A0F5E7-D1D3-49F8-A254-CFFCBE54AAF0}" srcOrd="0" destOrd="0" presId="urn:microsoft.com/office/officeart/2008/layout/HorizontalMultiLevelHierarchy"/>
    <dgm:cxn modelId="{C0E974FA-E049-45C2-93A2-BDBEC3178337}" type="presParOf" srcId="{60A0F5E7-D1D3-49F8-A254-CFFCBE54AAF0}" destId="{3325D373-008A-41E8-9EA1-B4B0FC90FCD2}" srcOrd="0" destOrd="0" presId="urn:microsoft.com/office/officeart/2008/layout/HorizontalMultiLevelHierarchy"/>
    <dgm:cxn modelId="{9EFC154F-E0C3-4C05-B0CB-69653AF0C3B6}" type="presParOf" srcId="{AF149B8F-23A2-48DF-9DB4-21319099B718}" destId="{533688EB-FEF2-4244-B371-7A31A6275F9E}" srcOrd="1" destOrd="0" presId="urn:microsoft.com/office/officeart/2008/layout/HorizontalMultiLevelHierarchy"/>
    <dgm:cxn modelId="{E257AAD2-4B95-4624-89C1-BE814C0D3710}" type="presParOf" srcId="{533688EB-FEF2-4244-B371-7A31A6275F9E}" destId="{9E81B654-57F3-4178-8807-AB7AAC7BE08E}" srcOrd="0" destOrd="0" presId="urn:microsoft.com/office/officeart/2008/layout/HorizontalMultiLevelHierarchy"/>
    <dgm:cxn modelId="{89945E56-01F6-4A3F-9837-20D5AC4310BC}" type="presParOf" srcId="{533688EB-FEF2-4244-B371-7A31A6275F9E}" destId="{9EA1B074-9688-4BF6-BD3E-8C3B349784E8}" srcOrd="1" destOrd="0" presId="urn:microsoft.com/office/officeart/2008/layout/HorizontalMultiLevelHierarchy"/>
    <dgm:cxn modelId="{81CF8646-6190-4B20-9C2D-153F30112CA2}" type="presParOf" srcId="{AF149B8F-23A2-48DF-9DB4-21319099B718}" destId="{1CD57466-73E5-43BB-AF51-980153E8039A}" srcOrd="2" destOrd="0" presId="urn:microsoft.com/office/officeart/2008/layout/HorizontalMultiLevelHierarchy"/>
    <dgm:cxn modelId="{79F3A2F2-77F4-4E34-9449-6B5826AE4D1A}" type="presParOf" srcId="{1CD57466-73E5-43BB-AF51-980153E8039A}" destId="{739E7D1A-06FA-43F4-82B6-C5B799BDD12A}" srcOrd="0" destOrd="0" presId="urn:microsoft.com/office/officeart/2008/layout/HorizontalMultiLevelHierarchy"/>
    <dgm:cxn modelId="{27C613A4-BB0F-4597-B8FD-A17EEF5F9CA1}" type="presParOf" srcId="{AF149B8F-23A2-48DF-9DB4-21319099B718}" destId="{08A18F09-5415-4D9A-A62E-8AA11F9AF3C4}" srcOrd="3" destOrd="0" presId="urn:microsoft.com/office/officeart/2008/layout/HorizontalMultiLevelHierarchy"/>
    <dgm:cxn modelId="{6A9B847B-CAF0-4938-B455-CC25A2C7546A}" type="presParOf" srcId="{08A18F09-5415-4D9A-A62E-8AA11F9AF3C4}" destId="{0CCC40AA-D80B-4B90-9188-E5CA017E63B0}" srcOrd="0" destOrd="0" presId="urn:microsoft.com/office/officeart/2008/layout/HorizontalMultiLevelHierarchy"/>
    <dgm:cxn modelId="{6C3BEF47-B999-4C4E-82B1-8E7A48264A7C}" type="presParOf" srcId="{08A18F09-5415-4D9A-A62E-8AA11F9AF3C4}" destId="{E40DD794-4E3C-4009-B357-94D69536E6F4}" srcOrd="1" destOrd="0" presId="urn:microsoft.com/office/officeart/2008/layout/HorizontalMultiLevelHierarchy"/>
    <dgm:cxn modelId="{9786B997-D56E-4BF4-AC74-4CAA5AB104E8}" type="presParOf" srcId="{AF149B8F-23A2-48DF-9DB4-21319099B718}" destId="{F9C34007-6CA8-4ABF-890A-47AA50B267EA}" srcOrd="4" destOrd="0" presId="urn:microsoft.com/office/officeart/2008/layout/HorizontalMultiLevelHierarchy"/>
    <dgm:cxn modelId="{41C2E213-C4DA-4CDB-B4FB-76B4C3D388D6}" type="presParOf" srcId="{F9C34007-6CA8-4ABF-890A-47AA50B267EA}" destId="{D3331827-B92C-4419-96E8-793E8D653308}" srcOrd="0" destOrd="0" presId="urn:microsoft.com/office/officeart/2008/layout/HorizontalMultiLevelHierarchy"/>
    <dgm:cxn modelId="{1738D637-F2D5-42C9-AD21-243F1342B2AC}" type="presParOf" srcId="{AF149B8F-23A2-48DF-9DB4-21319099B718}" destId="{9FBA0EDF-DFF1-4228-BD6C-29FFD841B413}" srcOrd="5" destOrd="0" presId="urn:microsoft.com/office/officeart/2008/layout/HorizontalMultiLevelHierarchy"/>
    <dgm:cxn modelId="{B0363929-8710-42A8-B169-AB09A28B29CB}" type="presParOf" srcId="{9FBA0EDF-DFF1-4228-BD6C-29FFD841B413}" destId="{E51A201A-58C4-4839-BBF3-03A3D4BA1DE9}" srcOrd="0" destOrd="0" presId="urn:microsoft.com/office/officeart/2008/layout/HorizontalMultiLevelHierarchy"/>
    <dgm:cxn modelId="{ABA51267-B8A0-43BC-B1DC-3B671101344E}" type="presParOf" srcId="{9FBA0EDF-DFF1-4228-BD6C-29FFD841B413}" destId="{E4E1A461-B02B-4354-8D34-5DF04939C4AC}" srcOrd="1" destOrd="0" presId="urn:microsoft.com/office/officeart/2008/layout/HorizontalMultiLevelHierarchy"/>
  </dgm:cxnLst>
  <dgm:bg/>
  <dgm:whole/>
  <dgm:extLst>
    <a:ext uri="http://schemas.microsoft.com/office/drawing/2008/diagram">
      <dsp:dataModelExt xmlns:dsp="http://schemas.microsoft.com/office/drawing/2008/diagram" relId="rId12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96C9D5F4-FF4F-420D-8420-A926E166D7A2}" type="doc">
      <dgm:prSet loTypeId="urn:microsoft.com/office/officeart/2008/layout/HorizontalMultiLevelHierarchy" loCatId="hierarchy" qsTypeId="urn:microsoft.com/office/officeart/2005/8/quickstyle/simple1" qsCatId="simple" csTypeId="urn:microsoft.com/office/officeart/2005/8/colors/colorful3" csCatId="colorful" phldr="1"/>
      <dgm:spPr/>
      <dgm:t>
        <a:bodyPr/>
        <a:lstStyle/>
        <a:p>
          <a:endParaRPr lang="en-US"/>
        </a:p>
      </dgm:t>
    </dgm:pt>
    <dgm:pt modelId="{D0997319-AE2C-4C46-ADCB-BA43BE3F3F54}">
      <dgm:prSet phldrT="[Text]" custT="1"/>
      <dgm:spPr/>
      <dgm:t>
        <a:bodyPr/>
        <a:lstStyle/>
        <a:p>
          <a:r>
            <a:rPr lang="de-DE" sz="1400" b="0" i="0" dirty="0">
              <a:latin typeface="Myriad Pro" panose="020B0503030403020204" pitchFamily="34" charset="0"/>
            </a:rPr>
            <a:t>Eingabebild </a:t>
          </a:r>
        </a:p>
      </dgm:t>
    </dgm:pt>
    <dgm:pt modelId="{EDD69CBB-FC0D-413C-A203-D32C53DEA1CA}" type="parTrans" cxnId="{9486E231-E761-415A-A46A-B222DD3C9A89}">
      <dgm:prSet/>
      <dgm:spPr/>
      <dgm:t>
        <a:bodyPr/>
        <a:lstStyle/>
        <a:p>
          <a:endParaRPr lang="en-US" sz="1600"/>
        </a:p>
      </dgm:t>
    </dgm:pt>
    <dgm:pt modelId="{E975384C-827E-414A-AEB5-7C3391463B49}" type="sibTrans" cxnId="{9486E231-E761-415A-A46A-B222DD3C9A89}">
      <dgm:prSet/>
      <dgm:spPr/>
      <dgm:t>
        <a:bodyPr/>
        <a:lstStyle/>
        <a:p>
          <a:endParaRPr lang="en-US" sz="1600"/>
        </a:p>
      </dgm:t>
    </dgm:pt>
    <dgm:pt modelId="{8E70AA8F-7583-4AFE-9EDE-87363894E1F8}">
      <dgm:prSet phldrT="[Text]" custT="1"/>
      <dgm:spPr/>
      <dgm:t>
        <a:bodyPr/>
        <a:lstStyle/>
        <a:p>
          <a:r>
            <a:rPr lang="de-DE" sz="1000" b="0" i="0" cap="none" baseline="0" dirty="0" err="1">
              <a:latin typeface="Myriad Pro" panose="020B0503030403020204" pitchFamily="34" charset="0"/>
            </a:rPr>
            <a:t>Supervised</a:t>
          </a:r>
          <a:endParaRPr lang="de-DE" sz="1000" b="0" i="0" cap="none" baseline="0" dirty="0">
            <a:latin typeface="Myriad Pro" panose="020B0503030403020204" pitchFamily="34" charset="0"/>
          </a:endParaRPr>
        </a:p>
      </dgm:t>
    </dgm:pt>
    <dgm:pt modelId="{B164CB56-71EE-412E-A3A2-1509A3B08E05}" type="parTrans" cxnId="{707B8E58-ABA5-4C9A-AFCF-298CB05D08DA}">
      <dgm:prSet/>
      <dgm:spPr/>
      <dgm:t>
        <a:bodyPr/>
        <a:lstStyle/>
        <a:p>
          <a:endParaRPr lang="en-US" sz="1600"/>
        </a:p>
      </dgm:t>
    </dgm:pt>
    <dgm:pt modelId="{50009256-33DA-4FAC-A050-2DE70DDCC26C}" type="sibTrans" cxnId="{707B8E58-ABA5-4C9A-AFCF-298CB05D08DA}">
      <dgm:prSet/>
      <dgm:spPr/>
      <dgm:t>
        <a:bodyPr/>
        <a:lstStyle/>
        <a:p>
          <a:endParaRPr lang="en-US" sz="1600"/>
        </a:p>
      </dgm:t>
    </dgm:pt>
    <dgm:pt modelId="{434F1058-EF12-4590-BD43-496B2D33656A}">
      <dgm:prSet phldrT="[Text]" custT="1"/>
      <dgm:spPr/>
      <dgm:t>
        <a:bodyPr/>
        <a:lstStyle/>
        <a:p>
          <a:r>
            <a:rPr lang="de-DE" sz="1000" b="0" i="0" dirty="0" err="1">
              <a:latin typeface="Myriad Pro" panose="020B0503030403020204" pitchFamily="34" charset="0"/>
            </a:rPr>
            <a:t>Unsupervised</a:t>
          </a:r>
          <a:endParaRPr lang="de-DE" sz="1000" b="0" i="0" dirty="0">
            <a:latin typeface="Myriad Pro" panose="020B0503030403020204" pitchFamily="34" charset="0"/>
          </a:endParaRPr>
        </a:p>
      </dgm:t>
    </dgm:pt>
    <dgm:pt modelId="{17815460-B569-463A-BACE-734F709F874A}" type="parTrans" cxnId="{9E137BA1-2E21-43A2-A338-650B162A3662}">
      <dgm:prSet/>
      <dgm:spPr/>
      <dgm:t>
        <a:bodyPr/>
        <a:lstStyle/>
        <a:p>
          <a:endParaRPr lang="en-US" sz="1600"/>
        </a:p>
      </dgm:t>
    </dgm:pt>
    <dgm:pt modelId="{BC8F1DC2-66B6-4B6F-BD02-84C41DB8AF5C}" type="sibTrans" cxnId="{9E137BA1-2E21-43A2-A338-650B162A3662}">
      <dgm:prSet/>
      <dgm:spPr/>
      <dgm:t>
        <a:bodyPr/>
        <a:lstStyle/>
        <a:p>
          <a:endParaRPr lang="en-US" sz="1600"/>
        </a:p>
      </dgm:t>
    </dgm:pt>
    <dgm:pt modelId="{50C4D88C-9CB0-4513-8456-755395491158}" type="pres">
      <dgm:prSet presAssocID="{96C9D5F4-FF4F-420D-8420-A926E166D7A2}" presName="Name0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</dgm:pt>
    <dgm:pt modelId="{506FBA0B-6598-4404-B87A-56869B8718E3}" type="pres">
      <dgm:prSet presAssocID="{D0997319-AE2C-4C46-ADCB-BA43BE3F3F54}" presName="root1" presStyleCnt="0"/>
      <dgm:spPr/>
    </dgm:pt>
    <dgm:pt modelId="{DCF5B4EF-DE4F-4292-A3B2-724C163A44AB}" type="pres">
      <dgm:prSet presAssocID="{D0997319-AE2C-4C46-ADCB-BA43BE3F3F54}" presName="LevelOneTextNode" presStyleLbl="node0" presStyleIdx="0" presStyleCnt="1">
        <dgm:presLayoutVars>
          <dgm:chPref val="3"/>
        </dgm:presLayoutVars>
      </dgm:prSet>
      <dgm:spPr/>
    </dgm:pt>
    <dgm:pt modelId="{7E8A6FC8-F240-4C27-8F75-0549E9D1CE4E}" type="pres">
      <dgm:prSet presAssocID="{D0997319-AE2C-4C46-ADCB-BA43BE3F3F54}" presName="level2hierChild" presStyleCnt="0"/>
      <dgm:spPr/>
    </dgm:pt>
    <dgm:pt modelId="{BE328E0A-C287-4B1A-BD90-C0F3098FFCD9}" type="pres">
      <dgm:prSet presAssocID="{B164CB56-71EE-412E-A3A2-1509A3B08E05}" presName="conn2-1" presStyleLbl="parChTrans1D2" presStyleIdx="0" presStyleCnt="2"/>
      <dgm:spPr/>
    </dgm:pt>
    <dgm:pt modelId="{1EB559E9-DB95-4028-B960-01A592B99E92}" type="pres">
      <dgm:prSet presAssocID="{B164CB56-71EE-412E-A3A2-1509A3B08E05}" presName="connTx" presStyleLbl="parChTrans1D2" presStyleIdx="0" presStyleCnt="2"/>
      <dgm:spPr/>
    </dgm:pt>
    <dgm:pt modelId="{9893F228-CFAA-415F-97D9-8C8EA9FB1BC5}" type="pres">
      <dgm:prSet presAssocID="{8E70AA8F-7583-4AFE-9EDE-87363894E1F8}" presName="root2" presStyleCnt="0"/>
      <dgm:spPr/>
    </dgm:pt>
    <dgm:pt modelId="{49ADAAAB-354D-4968-9DE9-378E6595E5BB}" type="pres">
      <dgm:prSet presAssocID="{8E70AA8F-7583-4AFE-9EDE-87363894E1F8}" presName="LevelTwoTextNode" presStyleLbl="node2" presStyleIdx="0" presStyleCnt="2" custLinFactY="-46619" custLinFactNeighborX="-825" custLinFactNeighborY="-100000">
        <dgm:presLayoutVars>
          <dgm:chPref val="3"/>
        </dgm:presLayoutVars>
      </dgm:prSet>
      <dgm:spPr/>
    </dgm:pt>
    <dgm:pt modelId="{46E2FE2A-A747-4DEE-AAF5-53A8EE84B06B}" type="pres">
      <dgm:prSet presAssocID="{8E70AA8F-7583-4AFE-9EDE-87363894E1F8}" presName="level3hierChild" presStyleCnt="0"/>
      <dgm:spPr/>
    </dgm:pt>
    <dgm:pt modelId="{CD37291B-5548-4F1B-8F2F-200AE5B0DCAE}" type="pres">
      <dgm:prSet presAssocID="{17815460-B569-463A-BACE-734F709F874A}" presName="conn2-1" presStyleLbl="parChTrans1D2" presStyleIdx="1" presStyleCnt="2"/>
      <dgm:spPr/>
    </dgm:pt>
    <dgm:pt modelId="{D4121B60-61D6-41A4-AAB9-DE9671C8ED2F}" type="pres">
      <dgm:prSet presAssocID="{17815460-B569-463A-BACE-734F709F874A}" presName="connTx" presStyleLbl="parChTrans1D2" presStyleIdx="1" presStyleCnt="2"/>
      <dgm:spPr/>
    </dgm:pt>
    <dgm:pt modelId="{50975EFF-52F3-48CE-A104-6890DF2CCC15}" type="pres">
      <dgm:prSet presAssocID="{434F1058-EF12-4590-BD43-496B2D33656A}" presName="root2" presStyleCnt="0"/>
      <dgm:spPr/>
    </dgm:pt>
    <dgm:pt modelId="{E077FA3E-A654-4D27-8616-5CDDA43F8AF6}" type="pres">
      <dgm:prSet presAssocID="{434F1058-EF12-4590-BD43-496B2D33656A}" presName="LevelTwoTextNode" presStyleLbl="node2" presStyleIdx="1" presStyleCnt="2" custLinFactY="43061" custLinFactNeighborX="-1050" custLinFactNeighborY="100000">
        <dgm:presLayoutVars>
          <dgm:chPref val="3"/>
        </dgm:presLayoutVars>
      </dgm:prSet>
      <dgm:spPr/>
    </dgm:pt>
    <dgm:pt modelId="{738BD333-0CAC-4970-A8E6-FA82D1202675}" type="pres">
      <dgm:prSet presAssocID="{434F1058-EF12-4590-BD43-496B2D33656A}" presName="level3hierChild" presStyleCnt="0"/>
      <dgm:spPr/>
    </dgm:pt>
  </dgm:ptLst>
  <dgm:cxnLst>
    <dgm:cxn modelId="{9486E231-E761-415A-A46A-B222DD3C9A89}" srcId="{96C9D5F4-FF4F-420D-8420-A926E166D7A2}" destId="{D0997319-AE2C-4C46-ADCB-BA43BE3F3F54}" srcOrd="0" destOrd="0" parTransId="{EDD69CBB-FC0D-413C-A203-D32C53DEA1CA}" sibTransId="{E975384C-827E-414A-AEB5-7C3391463B49}"/>
    <dgm:cxn modelId="{AA3E744F-10BA-4479-AF01-972C59BF3BCF}" type="presOf" srcId="{B164CB56-71EE-412E-A3A2-1509A3B08E05}" destId="{BE328E0A-C287-4B1A-BD90-C0F3098FFCD9}" srcOrd="0" destOrd="0" presId="urn:microsoft.com/office/officeart/2008/layout/HorizontalMultiLevelHierarchy"/>
    <dgm:cxn modelId="{464F8353-3A6D-43D6-B358-7ECC4F51C0BF}" type="presOf" srcId="{D0997319-AE2C-4C46-ADCB-BA43BE3F3F54}" destId="{DCF5B4EF-DE4F-4292-A3B2-724C163A44AB}" srcOrd="0" destOrd="0" presId="urn:microsoft.com/office/officeart/2008/layout/HorizontalMultiLevelHierarchy"/>
    <dgm:cxn modelId="{707B8E58-ABA5-4C9A-AFCF-298CB05D08DA}" srcId="{D0997319-AE2C-4C46-ADCB-BA43BE3F3F54}" destId="{8E70AA8F-7583-4AFE-9EDE-87363894E1F8}" srcOrd="0" destOrd="0" parTransId="{B164CB56-71EE-412E-A3A2-1509A3B08E05}" sibTransId="{50009256-33DA-4FAC-A050-2DE70DDCC26C}"/>
    <dgm:cxn modelId="{218D7769-246E-4C78-8637-1FABBE9AA235}" type="presOf" srcId="{B164CB56-71EE-412E-A3A2-1509A3B08E05}" destId="{1EB559E9-DB95-4028-B960-01A592B99E92}" srcOrd="1" destOrd="0" presId="urn:microsoft.com/office/officeart/2008/layout/HorizontalMultiLevelHierarchy"/>
    <dgm:cxn modelId="{82D60E8A-40D3-49BC-895D-3DAB17D8AD62}" type="presOf" srcId="{96C9D5F4-FF4F-420D-8420-A926E166D7A2}" destId="{50C4D88C-9CB0-4513-8456-755395491158}" srcOrd="0" destOrd="0" presId="urn:microsoft.com/office/officeart/2008/layout/HorizontalMultiLevelHierarchy"/>
    <dgm:cxn modelId="{E07BE79E-7865-47DB-84AF-7F7057F85761}" type="presOf" srcId="{8E70AA8F-7583-4AFE-9EDE-87363894E1F8}" destId="{49ADAAAB-354D-4968-9DE9-378E6595E5BB}" srcOrd="0" destOrd="0" presId="urn:microsoft.com/office/officeart/2008/layout/HorizontalMultiLevelHierarchy"/>
    <dgm:cxn modelId="{9E137BA1-2E21-43A2-A338-650B162A3662}" srcId="{D0997319-AE2C-4C46-ADCB-BA43BE3F3F54}" destId="{434F1058-EF12-4590-BD43-496B2D33656A}" srcOrd="1" destOrd="0" parTransId="{17815460-B569-463A-BACE-734F709F874A}" sibTransId="{BC8F1DC2-66B6-4B6F-BD02-84C41DB8AF5C}"/>
    <dgm:cxn modelId="{99E7BEA2-9C9E-4C52-ABF3-613AE796E93C}" type="presOf" srcId="{17815460-B569-463A-BACE-734F709F874A}" destId="{D4121B60-61D6-41A4-AAB9-DE9671C8ED2F}" srcOrd="1" destOrd="0" presId="urn:microsoft.com/office/officeart/2008/layout/HorizontalMultiLevelHierarchy"/>
    <dgm:cxn modelId="{BAACB6A7-B0F8-46C4-B719-34EE449D4921}" type="presOf" srcId="{434F1058-EF12-4590-BD43-496B2D33656A}" destId="{E077FA3E-A654-4D27-8616-5CDDA43F8AF6}" srcOrd="0" destOrd="0" presId="urn:microsoft.com/office/officeart/2008/layout/HorizontalMultiLevelHierarchy"/>
    <dgm:cxn modelId="{54CC19B8-2159-4474-B71E-58B32A9BAD74}" type="presOf" srcId="{17815460-B569-463A-BACE-734F709F874A}" destId="{CD37291B-5548-4F1B-8F2F-200AE5B0DCAE}" srcOrd="0" destOrd="0" presId="urn:microsoft.com/office/officeart/2008/layout/HorizontalMultiLevelHierarchy"/>
    <dgm:cxn modelId="{3E8C5480-73D9-4EE3-932D-82721BB1E7B2}" type="presParOf" srcId="{50C4D88C-9CB0-4513-8456-755395491158}" destId="{506FBA0B-6598-4404-B87A-56869B8718E3}" srcOrd="0" destOrd="0" presId="urn:microsoft.com/office/officeart/2008/layout/HorizontalMultiLevelHierarchy"/>
    <dgm:cxn modelId="{AD087DA0-5EB4-49EE-82D3-F6C47200DD79}" type="presParOf" srcId="{506FBA0B-6598-4404-B87A-56869B8718E3}" destId="{DCF5B4EF-DE4F-4292-A3B2-724C163A44AB}" srcOrd="0" destOrd="0" presId="urn:microsoft.com/office/officeart/2008/layout/HorizontalMultiLevelHierarchy"/>
    <dgm:cxn modelId="{AD864577-5B7E-4328-AC26-287C80C6BEA3}" type="presParOf" srcId="{506FBA0B-6598-4404-B87A-56869B8718E3}" destId="{7E8A6FC8-F240-4C27-8F75-0549E9D1CE4E}" srcOrd="1" destOrd="0" presId="urn:microsoft.com/office/officeart/2008/layout/HorizontalMultiLevelHierarchy"/>
    <dgm:cxn modelId="{0D5824EC-96D2-4284-930C-3DC3234577D3}" type="presParOf" srcId="{7E8A6FC8-F240-4C27-8F75-0549E9D1CE4E}" destId="{BE328E0A-C287-4B1A-BD90-C0F3098FFCD9}" srcOrd="0" destOrd="0" presId="urn:microsoft.com/office/officeart/2008/layout/HorizontalMultiLevelHierarchy"/>
    <dgm:cxn modelId="{FF3EDB3F-3E5D-484F-B7EB-2D9D119CC084}" type="presParOf" srcId="{BE328E0A-C287-4B1A-BD90-C0F3098FFCD9}" destId="{1EB559E9-DB95-4028-B960-01A592B99E92}" srcOrd="0" destOrd="0" presId="urn:microsoft.com/office/officeart/2008/layout/HorizontalMultiLevelHierarchy"/>
    <dgm:cxn modelId="{6E796F25-24CC-4F5D-8AB9-96C968A94D86}" type="presParOf" srcId="{7E8A6FC8-F240-4C27-8F75-0549E9D1CE4E}" destId="{9893F228-CFAA-415F-97D9-8C8EA9FB1BC5}" srcOrd="1" destOrd="0" presId="urn:microsoft.com/office/officeart/2008/layout/HorizontalMultiLevelHierarchy"/>
    <dgm:cxn modelId="{F5FE272E-5A1A-4232-A41E-5E8F96E754E7}" type="presParOf" srcId="{9893F228-CFAA-415F-97D9-8C8EA9FB1BC5}" destId="{49ADAAAB-354D-4968-9DE9-378E6595E5BB}" srcOrd="0" destOrd="0" presId="urn:microsoft.com/office/officeart/2008/layout/HorizontalMultiLevelHierarchy"/>
    <dgm:cxn modelId="{480D07D8-1F1B-4569-80CC-321A6295D639}" type="presParOf" srcId="{9893F228-CFAA-415F-97D9-8C8EA9FB1BC5}" destId="{46E2FE2A-A747-4DEE-AAF5-53A8EE84B06B}" srcOrd="1" destOrd="0" presId="urn:microsoft.com/office/officeart/2008/layout/HorizontalMultiLevelHierarchy"/>
    <dgm:cxn modelId="{5C580CC4-3C81-446F-9295-70B119E1F4D6}" type="presParOf" srcId="{7E8A6FC8-F240-4C27-8F75-0549E9D1CE4E}" destId="{CD37291B-5548-4F1B-8F2F-200AE5B0DCAE}" srcOrd="2" destOrd="0" presId="urn:microsoft.com/office/officeart/2008/layout/HorizontalMultiLevelHierarchy"/>
    <dgm:cxn modelId="{3FF4D288-216B-4CA1-A646-865AA9CAB482}" type="presParOf" srcId="{CD37291B-5548-4F1B-8F2F-200AE5B0DCAE}" destId="{D4121B60-61D6-41A4-AAB9-DE9671C8ED2F}" srcOrd="0" destOrd="0" presId="urn:microsoft.com/office/officeart/2008/layout/HorizontalMultiLevelHierarchy"/>
    <dgm:cxn modelId="{D011A705-277B-4D74-85CE-4360C9A9B047}" type="presParOf" srcId="{7E8A6FC8-F240-4C27-8F75-0549E9D1CE4E}" destId="{50975EFF-52F3-48CE-A104-6890DF2CCC15}" srcOrd="3" destOrd="0" presId="urn:microsoft.com/office/officeart/2008/layout/HorizontalMultiLevelHierarchy"/>
    <dgm:cxn modelId="{2465617A-D0D5-439C-AECA-3D0DD03F2CB2}" type="presParOf" srcId="{50975EFF-52F3-48CE-A104-6890DF2CCC15}" destId="{E077FA3E-A654-4D27-8616-5CDDA43F8AF6}" srcOrd="0" destOrd="0" presId="urn:microsoft.com/office/officeart/2008/layout/HorizontalMultiLevelHierarchy"/>
    <dgm:cxn modelId="{13FC7BEC-0977-47F7-8C84-FE5819A8C215}" type="presParOf" srcId="{50975EFF-52F3-48CE-A104-6890DF2CCC15}" destId="{738BD333-0CAC-4970-A8E6-FA82D1202675}" srcOrd="1" destOrd="0" presId="urn:microsoft.com/office/officeart/2008/layout/HorizontalMultiLevelHierarchy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96C9D5F4-FF4F-420D-8420-A926E166D7A2}" type="doc">
      <dgm:prSet loTypeId="urn:microsoft.com/office/officeart/2008/layout/HorizontalMultiLevelHierarchy" loCatId="hierarchy" qsTypeId="urn:microsoft.com/office/officeart/2005/8/quickstyle/simple1" qsCatId="simple" csTypeId="urn:microsoft.com/office/officeart/2005/8/colors/colorful3" csCatId="colorful" phldr="1"/>
      <dgm:spPr/>
      <dgm:t>
        <a:bodyPr/>
        <a:lstStyle/>
        <a:p>
          <a:endParaRPr lang="en-US"/>
        </a:p>
      </dgm:t>
    </dgm:pt>
    <dgm:pt modelId="{D0997319-AE2C-4C46-ADCB-BA43BE3F3F54}">
      <dgm:prSet phldrT="[Text]" custT="1"/>
      <dgm:spPr/>
      <dgm:t>
        <a:bodyPr/>
        <a:lstStyle/>
        <a:p>
          <a:r>
            <a:rPr lang="de-DE" sz="1400" b="0" i="0" dirty="0">
              <a:latin typeface="Myriad Pro" panose="020B0503030403020204" pitchFamily="34" charset="0"/>
            </a:rPr>
            <a:t>Eingabebild </a:t>
          </a:r>
        </a:p>
      </dgm:t>
    </dgm:pt>
    <dgm:pt modelId="{EDD69CBB-FC0D-413C-A203-D32C53DEA1CA}" type="parTrans" cxnId="{9486E231-E761-415A-A46A-B222DD3C9A89}">
      <dgm:prSet/>
      <dgm:spPr/>
      <dgm:t>
        <a:bodyPr/>
        <a:lstStyle/>
        <a:p>
          <a:endParaRPr lang="en-US" sz="1600"/>
        </a:p>
      </dgm:t>
    </dgm:pt>
    <dgm:pt modelId="{E975384C-827E-414A-AEB5-7C3391463B49}" type="sibTrans" cxnId="{9486E231-E761-415A-A46A-B222DD3C9A89}">
      <dgm:prSet/>
      <dgm:spPr/>
      <dgm:t>
        <a:bodyPr/>
        <a:lstStyle/>
        <a:p>
          <a:endParaRPr lang="en-US" sz="1600"/>
        </a:p>
      </dgm:t>
    </dgm:pt>
    <dgm:pt modelId="{8E70AA8F-7583-4AFE-9EDE-87363894E1F8}">
      <dgm:prSet phldrT="[Text]" custT="1"/>
      <dgm:spPr/>
      <dgm:t>
        <a:bodyPr/>
        <a:lstStyle/>
        <a:p>
          <a:r>
            <a:rPr lang="de-DE" sz="1000" b="1" i="0" cap="none" baseline="0" dirty="0">
              <a:latin typeface="Myriad Pro" panose="020B0503030403020204" pitchFamily="34" charset="0"/>
            </a:rPr>
            <a:t>Einzel Netzwerk</a:t>
          </a:r>
          <a:endParaRPr lang="de-DE" sz="1000" b="0" i="0" cap="none" baseline="0" dirty="0">
            <a:latin typeface="Myriad Pro" panose="020B0503030403020204" pitchFamily="34" charset="0"/>
          </a:endParaRPr>
        </a:p>
      </dgm:t>
    </dgm:pt>
    <dgm:pt modelId="{B164CB56-71EE-412E-A3A2-1509A3B08E05}" type="parTrans" cxnId="{707B8E58-ABA5-4C9A-AFCF-298CB05D08DA}">
      <dgm:prSet/>
      <dgm:spPr/>
      <dgm:t>
        <a:bodyPr/>
        <a:lstStyle/>
        <a:p>
          <a:endParaRPr lang="en-US" sz="1600"/>
        </a:p>
      </dgm:t>
    </dgm:pt>
    <dgm:pt modelId="{50009256-33DA-4FAC-A050-2DE70DDCC26C}" type="sibTrans" cxnId="{707B8E58-ABA5-4C9A-AFCF-298CB05D08DA}">
      <dgm:prSet/>
      <dgm:spPr/>
      <dgm:t>
        <a:bodyPr/>
        <a:lstStyle/>
        <a:p>
          <a:endParaRPr lang="en-US" sz="1600"/>
        </a:p>
      </dgm:t>
    </dgm:pt>
    <dgm:pt modelId="{434F1058-EF12-4590-BD43-496B2D33656A}">
      <dgm:prSet phldrT="[Text]" custT="1"/>
      <dgm:spPr/>
      <dgm:t>
        <a:bodyPr/>
        <a:lstStyle/>
        <a:p>
          <a:r>
            <a:rPr lang="de-DE" sz="1000" b="1" i="0" cap="none" baseline="0" dirty="0">
              <a:latin typeface="Myriad Pro" panose="020B0503030403020204" pitchFamily="34" charset="0"/>
            </a:rPr>
            <a:t>Multi-Netzwerk </a:t>
          </a:r>
          <a:endParaRPr lang="de-DE" sz="1000" b="0" i="0" dirty="0">
            <a:latin typeface="Myriad Pro" panose="020B0503030403020204" pitchFamily="34" charset="0"/>
          </a:endParaRPr>
        </a:p>
      </dgm:t>
    </dgm:pt>
    <dgm:pt modelId="{17815460-B569-463A-BACE-734F709F874A}" type="parTrans" cxnId="{9E137BA1-2E21-43A2-A338-650B162A3662}">
      <dgm:prSet/>
      <dgm:spPr/>
      <dgm:t>
        <a:bodyPr/>
        <a:lstStyle/>
        <a:p>
          <a:endParaRPr lang="en-US" sz="1600"/>
        </a:p>
      </dgm:t>
    </dgm:pt>
    <dgm:pt modelId="{BC8F1DC2-66B6-4B6F-BD02-84C41DB8AF5C}" type="sibTrans" cxnId="{9E137BA1-2E21-43A2-A338-650B162A3662}">
      <dgm:prSet/>
      <dgm:spPr/>
      <dgm:t>
        <a:bodyPr/>
        <a:lstStyle/>
        <a:p>
          <a:endParaRPr lang="en-US" sz="1600"/>
        </a:p>
      </dgm:t>
    </dgm:pt>
    <dgm:pt modelId="{4098A15D-6BE4-4258-B7C8-EC2A1354A4D6}">
      <dgm:prSet phldrT="[Text]" custT="1"/>
      <dgm:spPr/>
      <dgm:t>
        <a:bodyPr/>
        <a:lstStyle/>
        <a:p>
          <a:r>
            <a:rPr lang="de-DE" sz="1000" b="0" i="0" dirty="0">
              <a:latin typeface="Myriad Pro" panose="020B0503030403020204" pitchFamily="34" charset="0"/>
            </a:rPr>
            <a:t>U-Net</a:t>
          </a:r>
        </a:p>
      </dgm:t>
    </dgm:pt>
    <dgm:pt modelId="{DA62F256-25CF-4854-BFCD-F90F70E5F8D4}" type="parTrans" cxnId="{21D8E081-3F51-4864-8D5D-F1BA8CEC852F}">
      <dgm:prSet/>
      <dgm:spPr/>
      <dgm:t>
        <a:bodyPr/>
        <a:lstStyle/>
        <a:p>
          <a:endParaRPr lang="en-US" sz="1600"/>
        </a:p>
      </dgm:t>
    </dgm:pt>
    <dgm:pt modelId="{E1090322-3287-4D3C-A158-E43939F1FA7E}" type="sibTrans" cxnId="{21D8E081-3F51-4864-8D5D-F1BA8CEC852F}">
      <dgm:prSet/>
      <dgm:spPr/>
      <dgm:t>
        <a:bodyPr/>
        <a:lstStyle/>
        <a:p>
          <a:endParaRPr lang="en-US" sz="1600"/>
        </a:p>
      </dgm:t>
    </dgm:pt>
    <dgm:pt modelId="{C1D130BE-4BC5-481C-BADA-14A869727C0B}">
      <dgm:prSet phldrT="[Text]" custT="1"/>
      <dgm:spPr/>
      <dgm:t>
        <a:bodyPr/>
        <a:lstStyle/>
        <a:p>
          <a:r>
            <a:rPr lang="de-DE" sz="1000" b="1" i="0" cap="none" baseline="0" dirty="0">
              <a:latin typeface="Myriad Pro" panose="020B0503030403020204" pitchFamily="34" charset="0"/>
            </a:rPr>
            <a:t>Ensembles </a:t>
          </a:r>
          <a:endParaRPr lang="de-DE" sz="1000" b="0" i="0" cap="none" baseline="0" dirty="0">
            <a:latin typeface="Myriad Pro" panose="020B0503030403020204" pitchFamily="34" charset="0"/>
          </a:endParaRPr>
        </a:p>
      </dgm:t>
    </dgm:pt>
    <dgm:pt modelId="{8A26916C-03BF-4B0E-92AF-656A56CF8513}" type="parTrans" cxnId="{221AD8BF-6539-43E4-9EB1-23AF138D0EE2}">
      <dgm:prSet/>
      <dgm:spPr/>
      <dgm:t>
        <a:bodyPr/>
        <a:lstStyle/>
        <a:p>
          <a:endParaRPr lang="en-US" sz="1600"/>
        </a:p>
      </dgm:t>
    </dgm:pt>
    <dgm:pt modelId="{4F4BE6FE-AE34-4934-8B0D-8FDF04C5765F}" type="sibTrans" cxnId="{221AD8BF-6539-43E4-9EB1-23AF138D0EE2}">
      <dgm:prSet/>
      <dgm:spPr/>
      <dgm:t>
        <a:bodyPr/>
        <a:lstStyle/>
        <a:p>
          <a:endParaRPr lang="en-US" sz="1600"/>
        </a:p>
      </dgm:t>
    </dgm:pt>
    <dgm:pt modelId="{CD6C8CAB-2DB8-4BEB-8794-D14E24B56239}">
      <dgm:prSet phldrT="[Text]" custT="1"/>
      <dgm:spPr/>
      <dgm:t>
        <a:bodyPr/>
        <a:lstStyle/>
        <a:p>
          <a:r>
            <a:rPr lang="de-DE" sz="1000" b="0" i="0" dirty="0">
              <a:latin typeface="Myriad Pro" panose="020B0503030403020204" pitchFamily="34" charset="0"/>
            </a:rPr>
            <a:t>Homogen</a:t>
          </a:r>
        </a:p>
      </dgm:t>
    </dgm:pt>
    <dgm:pt modelId="{503510FB-9E52-432E-98AC-FEF28CA55F0D}" type="parTrans" cxnId="{08C6FF6E-ED40-443D-B75C-6827A78AAE2F}">
      <dgm:prSet/>
      <dgm:spPr/>
      <dgm:t>
        <a:bodyPr/>
        <a:lstStyle/>
        <a:p>
          <a:endParaRPr lang="en-US" sz="1600"/>
        </a:p>
      </dgm:t>
    </dgm:pt>
    <dgm:pt modelId="{F6688289-1E3B-4C81-B097-4BC4F02DEEB1}" type="sibTrans" cxnId="{08C6FF6E-ED40-443D-B75C-6827A78AAE2F}">
      <dgm:prSet/>
      <dgm:spPr/>
      <dgm:t>
        <a:bodyPr/>
        <a:lstStyle/>
        <a:p>
          <a:endParaRPr lang="en-US" sz="1600"/>
        </a:p>
      </dgm:t>
    </dgm:pt>
    <dgm:pt modelId="{16945C89-930D-4764-8730-4F183F8B4C87}">
      <dgm:prSet phldrT="[Text]" custT="1"/>
      <dgm:spPr/>
      <dgm:t>
        <a:bodyPr/>
        <a:lstStyle/>
        <a:p>
          <a:r>
            <a:rPr lang="de-DE" sz="1000" b="0" i="0" dirty="0">
              <a:latin typeface="Myriad Pro" panose="020B0503030403020204" pitchFamily="34" charset="0"/>
            </a:rPr>
            <a:t>Heterogen</a:t>
          </a:r>
        </a:p>
      </dgm:t>
    </dgm:pt>
    <dgm:pt modelId="{B3C6A11E-10F5-433C-A0FB-1B185A7D12E0}" type="parTrans" cxnId="{587DEAC9-60C3-45DB-9C9F-C26256D35C0F}">
      <dgm:prSet/>
      <dgm:spPr/>
      <dgm:t>
        <a:bodyPr/>
        <a:lstStyle/>
        <a:p>
          <a:endParaRPr lang="en-US" sz="1600"/>
        </a:p>
      </dgm:t>
    </dgm:pt>
    <dgm:pt modelId="{5C8BCF49-4277-47C2-9543-A10467E88E20}" type="sibTrans" cxnId="{587DEAC9-60C3-45DB-9C9F-C26256D35C0F}">
      <dgm:prSet/>
      <dgm:spPr/>
      <dgm:t>
        <a:bodyPr/>
        <a:lstStyle/>
        <a:p>
          <a:endParaRPr lang="en-US" sz="1600"/>
        </a:p>
      </dgm:t>
    </dgm:pt>
    <dgm:pt modelId="{CF5B8EE4-D285-4E9D-BBB6-5F2F77DD4689}">
      <dgm:prSet phldrT="[Text]" custT="1"/>
      <dgm:spPr/>
      <dgm:t>
        <a:bodyPr/>
        <a:lstStyle/>
        <a:p>
          <a:r>
            <a:rPr lang="de-DE" sz="1000" b="0" i="0" dirty="0">
              <a:latin typeface="Myriad Pro" panose="020B0503030403020204" pitchFamily="34" charset="0"/>
            </a:rPr>
            <a:t>YOLO</a:t>
          </a:r>
        </a:p>
      </dgm:t>
    </dgm:pt>
    <dgm:pt modelId="{D937D902-C50B-4BEC-9C1F-D9880BCC701B}" type="parTrans" cxnId="{2ED6F702-CE72-434F-A1BB-6BCE9E2DA2BA}">
      <dgm:prSet/>
      <dgm:spPr/>
      <dgm:t>
        <a:bodyPr/>
        <a:lstStyle/>
        <a:p>
          <a:endParaRPr lang="en-US" sz="1600"/>
        </a:p>
      </dgm:t>
    </dgm:pt>
    <dgm:pt modelId="{CADCD7D6-E889-4A66-B79B-3ACEEF43F075}" type="sibTrans" cxnId="{2ED6F702-CE72-434F-A1BB-6BCE9E2DA2BA}">
      <dgm:prSet/>
      <dgm:spPr/>
      <dgm:t>
        <a:bodyPr/>
        <a:lstStyle/>
        <a:p>
          <a:endParaRPr lang="en-US" sz="1600"/>
        </a:p>
      </dgm:t>
    </dgm:pt>
    <dgm:pt modelId="{CA25E3C2-D53A-4DAC-A356-274163CFD791}">
      <dgm:prSet phldrT="[Text]" custT="1"/>
      <dgm:spPr/>
      <dgm:t>
        <a:bodyPr/>
        <a:lstStyle/>
        <a:p>
          <a:r>
            <a:rPr lang="de-DE" sz="1000" b="0" i="0" dirty="0" err="1">
              <a:latin typeface="Myriad Pro" panose="020B0503030403020204" pitchFamily="34" charset="0"/>
            </a:rPr>
            <a:t>Expizit</a:t>
          </a:r>
          <a:r>
            <a:rPr lang="de-DE" sz="1000" b="0" i="0" dirty="0">
              <a:latin typeface="Myriad Pro" panose="020B0503030403020204" pitchFamily="34" charset="0"/>
            </a:rPr>
            <a:t> </a:t>
          </a:r>
        </a:p>
      </dgm:t>
    </dgm:pt>
    <dgm:pt modelId="{858DE0EA-690E-49F0-9AFD-401C85E7FBB4}" type="parTrans" cxnId="{5B99DD31-B3E6-465C-A8DB-0DF740AA5D7A}">
      <dgm:prSet/>
      <dgm:spPr/>
      <dgm:t>
        <a:bodyPr/>
        <a:lstStyle/>
        <a:p>
          <a:endParaRPr lang="de-DE"/>
        </a:p>
      </dgm:t>
    </dgm:pt>
    <dgm:pt modelId="{2D56470D-3197-4A03-90FE-5A65A52F7EFB}" type="sibTrans" cxnId="{5B99DD31-B3E6-465C-A8DB-0DF740AA5D7A}">
      <dgm:prSet/>
      <dgm:spPr/>
      <dgm:t>
        <a:bodyPr/>
        <a:lstStyle/>
        <a:p>
          <a:endParaRPr lang="de-DE"/>
        </a:p>
      </dgm:t>
    </dgm:pt>
    <dgm:pt modelId="{2FAED816-5ABD-44B8-9175-AD4921C3FE98}">
      <dgm:prSet phldrT="[Text]" custT="1"/>
      <dgm:spPr/>
      <dgm:t>
        <a:bodyPr/>
        <a:lstStyle/>
        <a:p>
          <a:r>
            <a:rPr lang="de-DE" sz="1000" b="0" i="0" dirty="0" err="1">
              <a:latin typeface="Myriad Pro" panose="020B0503030403020204" pitchFamily="34" charset="0"/>
            </a:rPr>
            <a:t>Augmentierung</a:t>
          </a:r>
          <a:endParaRPr lang="de-DE" sz="1000" b="0" i="0" dirty="0">
            <a:latin typeface="Myriad Pro" panose="020B0503030403020204" pitchFamily="34" charset="0"/>
          </a:endParaRPr>
        </a:p>
      </dgm:t>
    </dgm:pt>
    <dgm:pt modelId="{4827AEAC-F6B1-4792-BB11-A609080D91CA}" type="sibTrans" cxnId="{4BDF838B-A489-4DE6-9003-7CF5CCBF8353}">
      <dgm:prSet/>
      <dgm:spPr/>
      <dgm:t>
        <a:bodyPr/>
        <a:lstStyle/>
        <a:p>
          <a:endParaRPr lang="de-DE"/>
        </a:p>
      </dgm:t>
    </dgm:pt>
    <dgm:pt modelId="{2C61C4AB-FC34-4364-9323-4A9D6350BA1C}" type="parTrans" cxnId="{4BDF838B-A489-4DE6-9003-7CF5CCBF8353}">
      <dgm:prSet/>
      <dgm:spPr/>
      <dgm:t>
        <a:bodyPr/>
        <a:lstStyle/>
        <a:p>
          <a:endParaRPr lang="de-DE"/>
        </a:p>
      </dgm:t>
    </dgm:pt>
    <dgm:pt modelId="{86A07196-5E8B-49B8-84A4-6DF135FCBFFC}">
      <dgm:prSet phldrT="[Text]" custT="1"/>
      <dgm:spPr/>
      <dgm:t>
        <a:bodyPr/>
        <a:lstStyle/>
        <a:p>
          <a:r>
            <a:rPr lang="de-DE" sz="1000" b="0" i="0" dirty="0">
              <a:latin typeface="Myriad Pro" panose="020B0503030403020204" pitchFamily="34" charset="0"/>
            </a:rPr>
            <a:t>Loss-Funktion </a:t>
          </a:r>
        </a:p>
      </dgm:t>
    </dgm:pt>
    <dgm:pt modelId="{4B4DC438-D558-40CF-9151-49154A83FB16}" type="sibTrans" cxnId="{0BE45343-E5ED-46E6-9E17-DA36296E3029}">
      <dgm:prSet/>
      <dgm:spPr/>
      <dgm:t>
        <a:bodyPr/>
        <a:lstStyle/>
        <a:p>
          <a:endParaRPr lang="de-DE"/>
        </a:p>
      </dgm:t>
    </dgm:pt>
    <dgm:pt modelId="{D0F076D3-591F-4547-A436-4947EC5EA385}" type="parTrans" cxnId="{0BE45343-E5ED-46E6-9E17-DA36296E3029}">
      <dgm:prSet/>
      <dgm:spPr/>
      <dgm:t>
        <a:bodyPr/>
        <a:lstStyle/>
        <a:p>
          <a:endParaRPr lang="de-DE"/>
        </a:p>
      </dgm:t>
    </dgm:pt>
    <dgm:pt modelId="{BF1B7062-91AB-4F1D-BD08-8D3EC4B33C1F}">
      <dgm:prSet phldrT="[Text]" custT="1"/>
      <dgm:spPr/>
      <dgm:t>
        <a:bodyPr/>
        <a:lstStyle/>
        <a:p>
          <a:r>
            <a:rPr lang="de-DE" sz="1000" b="0" i="0" dirty="0">
              <a:latin typeface="Myriad Pro" panose="020B0503030403020204" pitchFamily="34" charset="0"/>
            </a:rPr>
            <a:t>Architektur</a:t>
          </a:r>
        </a:p>
      </dgm:t>
    </dgm:pt>
    <dgm:pt modelId="{8ACEFE3D-DAAE-46D2-BF29-AF7B5FBB783D}" type="parTrans" cxnId="{626342BF-3559-4137-A851-ACB1710B13E3}">
      <dgm:prSet/>
      <dgm:spPr/>
      <dgm:t>
        <a:bodyPr/>
        <a:lstStyle/>
        <a:p>
          <a:endParaRPr lang="de-DE"/>
        </a:p>
      </dgm:t>
    </dgm:pt>
    <dgm:pt modelId="{0FF6A2D2-189B-4085-A91C-E4641E47ACCE}" type="sibTrans" cxnId="{626342BF-3559-4137-A851-ACB1710B13E3}">
      <dgm:prSet/>
      <dgm:spPr/>
      <dgm:t>
        <a:bodyPr/>
        <a:lstStyle/>
        <a:p>
          <a:endParaRPr lang="de-DE"/>
        </a:p>
      </dgm:t>
    </dgm:pt>
    <dgm:pt modelId="{4D897679-FA7C-48A2-A57F-5D0431886FF7}">
      <dgm:prSet phldrT="[Text]" custT="1"/>
      <dgm:spPr/>
      <dgm:t>
        <a:bodyPr/>
        <a:lstStyle/>
        <a:p>
          <a:r>
            <a:rPr lang="de-DE" sz="800" b="0" i="0" dirty="0">
              <a:latin typeface="Myriad Pro" panose="020B0503030403020204" pitchFamily="34" charset="0"/>
            </a:rPr>
            <a:t>U-Net</a:t>
          </a:r>
        </a:p>
      </dgm:t>
    </dgm:pt>
    <dgm:pt modelId="{C7C06085-9DF0-469C-90B3-434C5E418A6D}" type="parTrans" cxnId="{A3A0BCFB-D8D9-4632-B5AB-CF4EFA2E3C41}">
      <dgm:prSet/>
      <dgm:spPr/>
      <dgm:t>
        <a:bodyPr/>
        <a:lstStyle/>
        <a:p>
          <a:endParaRPr lang="de-DE"/>
        </a:p>
      </dgm:t>
    </dgm:pt>
    <dgm:pt modelId="{D55B2488-3E22-41F8-99B8-F1276460587D}" type="sibTrans" cxnId="{A3A0BCFB-D8D9-4632-B5AB-CF4EFA2E3C41}">
      <dgm:prSet/>
      <dgm:spPr/>
      <dgm:t>
        <a:bodyPr/>
        <a:lstStyle/>
        <a:p>
          <a:endParaRPr lang="de-DE"/>
        </a:p>
      </dgm:t>
    </dgm:pt>
    <dgm:pt modelId="{48CAF46E-7318-4269-B88D-4072C010818D}">
      <dgm:prSet phldrT="[Text]" custT="1"/>
      <dgm:spPr/>
      <dgm:t>
        <a:bodyPr/>
        <a:lstStyle/>
        <a:p>
          <a:r>
            <a:rPr lang="de-DE" sz="800" b="0" i="0" dirty="0">
              <a:latin typeface="Myriad Pro" panose="020B0503030403020204" pitchFamily="34" charset="0"/>
            </a:rPr>
            <a:t>U-Net++</a:t>
          </a:r>
        </a:p>
      </dgm:t>
    </dgm:pt>
    <dgm:pt modelId="{81CB6F6D-48DA-416D-9426-0B6E4B5AD737}" type="parTrans" cxnId="{75353E2D-D5F4-4C4B-8BFF-3A25A17EC9FB}">
      <dgm:prSet/>
      <dgm:spPr/>
      <dgm:t>
        <a:bodyPr/>
        <a:lstStyle/>
        <a:p>
          <a:endParaRPr lang="de-DE"/>
        </a:p>
      </dgm:t>
    </dgm:pt>
    <dgm:pt modelId="{D0BFACD0-8F45-4F8C-9779-0AF1AE559907}" type="sibTrans" cxnId="{75353E2D-D5F4-4C4B-8BFF-3A25A17EC9FB}">
      <dgm:prSet/>
      <dgm:spPr/>
      <dgm:t>
        <a:bodyPr/>
        <a:lstStyle/>
        <a:p>
          <a:endParaRPr lang="de-DE"/>
        </a:p>
      </dgm:t>
    </dgm:pt>
    <dgm:pt modelId="{ADED253C-6A2E-4631-B1D4-F5E1FE2B5B55}">
      <dgm:prSet phldrT="[Text]" custT="1"/>
      <dgm:spPr/>
      <dgm:t>
        <a:bodyPr/>
        <a:lstStyle/>
        <a:p>
          <a:r>
            <a:rPr lang="de-DE" sz="800" b="0" i="0" dirty="0">
              <a:latin typeface="Myriad Pro" panose="020B0503030403020204" pitchFamily="34" charset="0"/>
            </a:rPr>
            <a:t>FPN</a:t>
          </a:r>
        </a:p>
      </dgm:t>
    </dgm:pt>
    <dgm:pt modelId="{23EDCDD5-F170-402F-A11E-15FD466C3CE5}" type="parTrans" cxnId="{7CDA6FEF-3872-4337-84FA-0DD423E0FBC5}">
      <dgm:prSet/>
      <dgm:spPr/>
      <dgm:t>
        <a:bodyPr/>
        <a:lstStyle/>
        <a:p>
          <a:endParaRPr lang="de-DE"/>
        </a:p>
      </dgm:t>
    </dgm:pt>
    <dgm:pt modelId="{074D77D4-B07D-447C-B97C-356C65F95759}" type="sibTrans" cxnId="{7CDA6FEF-3872-4337-84FA-0DD423E0FBC5}">
      <dgm:prSet/>
      <dgm:spPr/>
      <dgm:t>
        <a:bodyPr/>
        <a:lstStyle/>
        <a:p>
          <a:endParaRPr lang="de-DE"/>
        </a:p>
      </dgm:t>
    </dgm:pt>
    <dgm:pt modelId="{D11BAA21-3D0E-4BFE-97F1-F349F96BB7F2}">
      <dgm:prSet phldrT="[Text]" custT="1"/>
      <dgm:spPr/>
      <dgm:t>
        <a:bodyPr/>
        <a:lstStyle/>
        <a:p>
          <a:r>
            <a:rPr lang="de-DE" sz="800" b="0" i="0" dirty="0">
              <a:latin typeface="Myriad Pro" panose="020B0503030403020204" pitchFamily="34" charset="0"/>
            </a:rPr>
            <a:t>PSPN</a:t>
          </a:r>
        </a:p>
      </dgm:t>
    </dgm:pt>
    <dgm:pt modelId="{524ED0C4-9CC2-4C2A-B51C-974FA37A7FE7}" type="parTrans" cxnId="{46C105CF-449F-4F1C-B399-CE70EC74C4C8}">
      <dgm:prSet/>
      <dgm:spPr/>
      <dgm:t>
        <a:bodyPr/>
        <a:lstStyle/>
        <a:p>
          <a:endParaRPr lang="de-DE"/>
        </a:p>
      </dgm:t>
    </dgm:pt>
    <dgm:pt modelId="{632B7E11-8BCB-44BB-80A1-C58DA59BDECF}" type="sibTrans" cxnId="{46C105CF-449F-4F1C-B399-CE70EC74C4C8}">
      <dgm:prSet/>
      <dgm:spPr/>
      <dgm:t>
        <a:bodyPr/>
        <a:lstStyle/>
        <a:p>
          <a:endParaRPr lang="de-DE"/>
        </a:p>
      </dgm:t>
    </dgm:pt>
    <dgm:pt modelId="{33587DE4-8F92-4CA4-A011-892138D47DA7}">
      <dgm:prSet phldrT="[Text]" custT="1"/>
      <dgm:spPr/>
      <dgm:t>
        <a:bodyPr/>
        <a:lstStyle/>
        <a:p>
          <a:r>
            <a:rPr lang="de-DE" sz="800" b="0" i="0" dirty="0">
              <a:latin typeface="Myriad Pro" panose="020B0503030403020204" pitchFamily="34" charset="0"/>
            </a:rPr>
            <a:t>PAN</a:t>
          </a:r>
        </a:p>
      </dgm:t>
    </dgm:pt>
    <dgm:pt modelId="{31BDA904-A9EF-437C-9DAF-E5BDF8C1106E}" type="parTrans" cxnId="{32BA70E3-2B88-4E2B-9094-EE86858857DA}">
      <dgm:prSet/>
      <dgm:spPr/>
      <dgm:t>
        <a:bodyPr/>
        <a:lstStyle/>
        <a:p>
          <a:endParaRPr lang="de-DE"/>
        </a:p>
      </dgm:t>
    </dgm:pt>
    <dgm:pt modelId="{359CEDC3-C134-4529-AEBB-BBDE1EA7D255}" type="sibTrans" cxnId="{32BA70E3-2B88-4E2B-9094-EE86858857DA}">
      <dgm:prSet/>
      <dgm:spPr/>
      <dgm:t>
        <a:bodyPr/>
        <a:lstStyle/>
        <a:p>
          <a:endParaRPr lang="de-DE"/>
        </a:p>
      </dgm:t>
    </dgm:pt>
    <dgm:pt modelId="{DAFF3CB8-4780-4F42-8F5A-A2879CF5C5A6}">
      <dgm:prSet phldrT="[Text]" custT="1"/>
      <dgm:spPr/>
      <dgm:t>
        <a:bodyPr/>
        <a:lstStyle/>
        <a:p>
          <a:r>
            <a:rPr lang="de-DE" sz="1000" b="0" i="0" dirty="0" err="1">
              <a:latin typeface="Myriad Pro" panose="020B0503030403020204" pitchFamily="34" charset="0"/>
            </a:rPr>
            <a:t>Lernrate</a:t>
          </a:r>
          <a:endParaRPr lang="de-DE" sz="1000" b="0" i="0" dirty="0">
            <a:latin typeface="Myriad Pro" panose="020B0503030403020204" pitchFamily="34" charset="0"/>
          </a:endParaRPr>
        </a:p>
      </dgm:t>
    </dgm:pt>
    <dgm:pt modelId="{BB72E3E4-7E20-4FF3-87BE-AD24CB2F12EE}" type="parTrans" cxnId="{C5BE0DE1-3793-4C23-A900-78112F2919D4}">
      <dgm:prSet/>
      <dgm:spPr/>
      <dgm:t>
        <a:bodyPr/>
        <a:lstStyle/>
        <a:p>
          <a:endParaRPr lang="de-DE"/>
        </a:p>
      </dgm:t>
    </dgm:pt>
    <dgm:pt modelId="{1E1C3655-4299-4282-B808-C53E3FABF68D}" type="sibTrans" cxnId="{C5BE0DE1-3793-4C23-A900-78112F2919D4}">
      <dgm:prSet/>
      <dgm:spPr/>
      <dgm:t>
        <a:bodyPr/>
        <a:lstStyle/>
        <a:p>
          <a:endParaRPr lang="de-DE"/>
        </a:p>
      </dgm:t>
    </dgm:pt>
    <dgm:pt modelId="{49A0BB83-CEA0-46AB-9D0B-B65F612AEE4A}">
      <dgm:prSet phldrT="[Text]" custT="1"/>
      <dgm:spPr/>
      <dgm:t>
        <a:bodyPr/>
        <a:lstStyle/>
        <a:p>
          <a:r>
            <a:rPr lang="de-DE" sz="1000" b="0" i="0" dirty="0">
              <a:latin typeface="Myriad Pro" panose="020B0503030403020204" pitchFamily="34" charset="0"/>
            </a:rPr>
            <a:t>Encoder</a:t>
          </a:r>
        </a:p>
      </dgm:t>
    </dgm:pt>
    <dgm:pt modelId="{AE65C2BF-225F-4643-AE59-9457E6820B24}" type="parTrans" cxnId="{0419F4C6-C72F-44E5-856A-7A5E20A609B0}">
      <dgm:prSet/>
      <dgm:spPr/>
      <dgm:t>
        <a:bodyPr/>
        <a:lstStyle/>
        <a:p>
          <a:endParaRPr lang="de-DE"/>
        </a:p>
      </dgm:t>
    </dgm:pt>
    <dgm:pt modelId="{2328B74F-4929-49C4-A401-C9585D838753}" type="sibTrans" cxnId="{0419F4C6-C72F-44E5-856A-7A5E20A609B0}">
      <dgm:prSet/>
      <dgm:spPr/>
      <dgm:t>
        <a:bodyPr/>
        <a:lstStyle/>
        <a:p>
          <a:endParaRPr lang="de-DE"/>
        </a:p>
      </dgm:t>
    </dgm:pt>
    <dgm:pt modelId="{C1F68F19-94EA-4970-A79B-863E823848E5}">
      <dgm:prSet phldrT="[Text]" custT="1"/>
      <dgm:spPr/>
      <dgm:t>
        <a:bodyPr/>
        <a:lstStyle/>
        <a:p>
          <a:r>
            <a:rPr lang="de-DE" sz="800" b="0" i="0" dirty="0" err="1">
              <a:latin typeface="Myriad Pro" panose="020B0503030403020204" pitchFamily="34" charset="0"/>
            </a:rPr>
            <a:t>ResNet</a:t>
          </a:r>
          <a:endParaRPr lang="de-DE" sz="800" b="0" i="0" dirty="0">
            <a:latin typeface="Myriad Pro" panose="020B0503030403020204" pitchFamily="34" charset="0"/>
          </a:endParaRPr>
        </a:p>
      </dgm:t>
    </dgm:pt>
    <dgm:pt modelId="{0F1B911F-6353-4AE6-9EEF-D49625DE905E}" type="parTrans" cxnId="{4A7380CF-8162-4F2E-9F90-B51642631E94}">
      <dgm:prSet/>
      <dgm:spPr/>
      <dgm:t>
        <a:bodyPr/>
        <a:lstStyle/>
        <a:p>
          <a:endParaRPr lang="de-DE"/>
        </a:p>
      </dgm:t>
    </dgm:pt>
    <dgm:pt modelId="{60DB14D8-838D-4A63-A334-C12EB1C7625D}" type="sibTrans" cxnId="{4A7380CF-8162-4F2E-9F90-B51642631E94}">
      <dgm:prSet/>
      <dgm:spPr/>
      <dgm:t>
        <a:bodyPr/>
        <a:lstStyle/>
        <a:p>
          <a:endParaRPr lang="de-DE"/>
        </a:p>
      </dgm:t>
    </dgm:pt>
    <dgm:pt modelId="{3EC8FF9E-3113-473A-A5E5-ABD9C5F94794}">
      <dgm:prSet phldrT="[Text]" custT="1"/>
      <dgm:spPr/>
      <dgm:t>
        <a:bodyPr/>
        <a:lstStyle/>
        <a:p>
          <a:r>
            <a:rPr lang="de-DE" sz="800" b="0" i="0" dirty="0" err="1">
              <a:latin typeface="Myriad Pro" panose="020B0503030403020204" pitchFamily="34" charset="0"/>
            </a:rPr>
            <a:t>ResNext</a:t>
          </a:r>
          <a:endParaRPr lang="de-DE" sz="800" b="0" i="0" dirty="0">
            <a:latin typeface="Myriad Pro" panose="020B0503030403020204" pitchFamily="34" charset="0"/>
          </a:endParaRPr>
        </a:p>
      </dgm:t>
    </dgm:pt>
    <dgm:pt modelId="{87CDD4F3-E71F-44A9-B515-E47672A849B6}" type="parTrans" cxnId="{0A8FCBF8-AD1F-4CF4-8568-2F5CBABA5157}">
      <dgm:prSet/>
      <dgm:spPr/>
      <dgm:t>
        <a:bodyPr/>
        <a:lstStyle/>
        <a:p>
          <a:endParaRPr lang="de-DE"/>
        </a:p>
      </dgm:t>
    </dgm:pt>
    <dgm:pt modelId="{25369813-4686-4B37-9746-915D5E2ABB1B}" type="sibTrans" cxnId="{0A8FCBF8-AD1F-4CF4-8568-2F5CBABA5157}">
      <dgm:prSet/>
      <dgm:spPr/>
      <dgm:t>
        <a:bodyPr/>
        <a:lstStyle/>
        <a:p>
          <a:endParaRPr lang="de-DE"/>
        </a:p>
      </dgm:t>
    </dgm:pt>
    <dgm:pt modelId="{E0EC0A27-9EDB-47A4-8DED-CBD1A61B9BC9}">
      <dgm:prSet phldrT="[Text]" custT="1"/>
      <dgm:spPr/>
      <dgm:t>
        <a:bodyPr/>
        <a:lstStyle/>
        <a:p>
          <a:r>
            <a:rPr lang="de-DE" sz="800" b="0" i="0" dirty="0">
              <a:latin typeface="Myriad Pro" panose="020B0503030403020204" pitchFamily="34" charset="0"/>
            </a:rPr>
            <a:t>Inception-V4</a:t>
          </a:r>
        </a:p>
      </dgm:t>
    </dgm:pt>
    <dgm:pt modelId="{C6050D19-3AE0-4870-8460-7297D5C8A50F}" type="sibTrans" cxnId="{FEC8D416-8216-4562-8549-24473B803C80}">
      <dgm:prSet/>
      <dgm:spPr/>
      <dgm:t>
        <a:bodyPr/>
        <a:lstStyle/>
        <a:p>
          <a:endParaRPr lang="de-DE"/>
        </a:p>
      </dgm:t>
    </dgm:pt>
    <dgm:pt modelId="{42F96A8F-BB1E-4B89-AB8E-11A0F37EB1DB}" type="parTrans" cxnId="{FEC8D416-8216-4562-8549-24473B803C80}">
      <dgm:prSet/>
      <dgm:spPr/>
      <dgm:t>
        <a:bodyPr/>
        <a:lstStyle/>
        <a:p>
          <a:endParaRPr lang="de-DE"/>
        </a:p>
      </dgm:t>
    </dgm:pt>
    <dgm:pt modelId="{4DA8AE24-A75C-40AE-A6A1-13FE57AE449D}">
      <dgm:prSet phldrT="[Text]" custT="1"/>
      <dgm:spPr/>
      <dgm:t>
        <a:bodyPr/>
        <a:lstStyle/>
        <a:p>
          <a:r>
            <a:rPr lang="de-DE" sz="800" b="0" i="0" dirty="0">
              <a:latin typeface="Myriad Pro" panose="020B0503030403020204" pitchFamily="34" charset="0"/>
            </a:rPr>
            <a:t>Inception-</a:t>
          </a:r>
          <a:r>
            <a:rPr lang="de-DE" sz="800" b="0" i="0" dirty="0" err="1">
              <a:latin typeface="Myriad Pro" panose="020B0503030403020204" pitchFamily="34" charset="0"/>
            </a:rPr>
            <a:t>ResNet</a:t>
          </a:r>
          <a:endParaRPr lang="de-DE" sz="800" b="0" i="0" dirty="0">
            <a:latin typeface="Myriad Pro" panose="020B0503030403020204" pitchFamily="34" charset="0"/>
          </a:endParaRPr>
        </a:p>
      </dgm:t>
    </dgm:pt>
    <dgm:pt modelId="{DF4C3ABC-A688-4048-91A3-DFE9CE606182}" type="sibTrans" cxnId="{F4D4E3EF-4C7A-4DD4-B693-2A68087757F8}">
      <dgm:prSet/>
      <dgm:spPr/>
      <dgm:t>
        <a:bodyPr/>
        <a:lstStyle/>
        <a:p>
          <a:endParaRPr lang="de-DE"/>
        </a:p>
      </dgm:t>
    </dgm:pt>
    <dgm:pt modelId="{2DCC687C-BE9B-4DD8-8A80-E970635437CA}" type="parTrans" cxnId="{F4D4E3EF-4C7A-4DD4-B693-2A68087757F8}">
      <dgm:prSet/>
      <dgm:spPr/>
      <dgm:t>
        <a:bodyPr/>
        <a:lstStyle/>
        <a:p>
          <a:endParaRPr lang="de-DE"/>
        </a:p>
      </dgm:t>
    </dgm:pt>
    <dgm:pt modelId="{50C4D88C-9CB0-4513-8456-755395491158}" type="pres">
      <dgm:prSet presAssocID="{96C9D5F4-FF4F-420D-8420-A926E166D7A2}" presName="Name0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</dgm:pt>
    <dgm:pt modelId="{506FBA0B-6598-4404-B87A-56869B8718E3}" type="pres">
      <dgm:prSet presAssocID="{D0997319-AE2C-4C46-ADCB-BA43BE3F3F54}" presName="root1" presStyleCnt="0"/>
      <dgm:spPr/>
    </dgm:pt>
    <dgm:pt modelId="{DCF5B4EF-DE4F-4292-A3B2-724C163A44AB}" type="pres">
      <dgm:prSet presAssocID="{D0997319-AE2C-4C46-ADCB-BA43BE3F3F54}" presName="LevelOneTextNode" presStyleLbl="node0" presStyleIdx="0" presStyleCnt="1">
        <dgm:presLayoutVars>
          <dgm:chPref val="3"/>
        </dgm:presLayoutVars>
      </dgm:prSet>
      <dgm:spPr/>
    </dgm:pt>
    <dgm:pt modelId="{7E8A6FC8-F240-4C27-8F75-0549E9D1CE4E}" type="pres">
      <dgm:prSet presAssocID="{D0997319-AE2C-4C46-ADCB-BA43BE3F3F54}" presName="level2hierChild" presStyleCnt="0"/>
      <dgm:spPr/>
    </dgm:pt>
    <dgm:pt modelId="{BE328E0A-C287-4B1A-BD90-C0F3098FFCD9}" type="pres">
      <dgm:prSet presAssocID="{B164CB56-71EE-412E-A3A2-1509A3B08E05}" presName="conn2-1" presStyleLbl="parChTrans1D2" presStyleIdx="0" presStyleCnt="3"/>
      <dgm:spPr/>
    </dgm:pt>
    <dgm:pt modelId="{1EB559E9-DB95-4028-B960-01A592B99E92}" type="pres">
      <dgm:prSet presAssocID="{B164CB56-71EE-412E-A3A2-1509A3B08E05}" presName="connTx" presStyleLbl="parChTrans1D2" presStyleIdx="0" presStyleCnt="3"/>
      <dgm:spPr/>
    </dgm:pt>
    <dgm:pt modelId="{9893F228-CFAA-415F-97D9-8C8EA9FB1BC5}" type="pres">
      <dgm:prSet presAssocID="{8E70AA8F-7583-4AFE-9EDE-87363894E1F8}" presName="root2" presStyleCnt="0"/>
      <dgm:spPr/>
    </dgm:pt>
    <dgm:pt modelId="{49ADAAAB-354D-4968-9DE9-378E6595E5BB}" type="pres">
      <dgm:prSet presAssocID="{8E70AA8F-7583-4AFE-9EDE-87363894E1F8}" presName="LevelTwoTextNode" presStyleLbl="node2" presStyleIdx="0" presStyleCnt="3">
        <dgm:presLayoutVars>
          <dgm:chPref val="3"/>
        </dgm:presLayoutVars>
      </dgm:prSet>
      <dgm:spPr/>
    </dgm:pt>
    <dgm:pt modelId="{46E2FE2A-A747-4DEE-AAF5-53A8EE84B06B}" type="pres">
      <dgm:prSet presAssocID="{8E70AA8F-7583-4AFE-9EDE-87363894E1F8}" presName="level3hierChild" presStyleCnt="0"/>
      <dgm:spPr/>
    </dgm:pt>
    <dgm:pt modelId="{A00DE1AA-92DF-4607-98DB-1C3BB048DCF5}" type="pres">
      <dgm:prSet presAssocID="{8ACEFE3D-DAAE-46D2-BF29-AF7B5FBB783D}" presName="conn2-1" presStyleLbl="parChTrans1D3" presStyleIdx="0" presStyleCnt="10"/>
      <dgm:spPr/>
    </dgm:pt>
    <dgm:pt modelId="{FCADF10C-D51C-403A-B095-E884F4771DA4}" type="pres">
      <dgm:prSet presAssocID="{8ACEFE3D-DAAE-46D2-BF29-AF7B5FBB783D}" presName="connTx" presStyleLbl="parChTrans1D3" presStyleIdx="0" presStyleCnt="10"/>
      <dgm:spPr/>
    </dgm:pt>
    <dgm:pt modelId="{82114EE1-887C-431E-AFFD-6C4277E5953D}" type="pres">
      <dgm:prSet presAssocID="{BF1B7062-91AB-4F1D-BD08-8D3EC4B33C1F}" presName="root2" presStyleCnt="0"/>
      <dgm:spPr/>
    </dgm:pt>
    <dgm:pt modelId="{F9F18759-F577-4686-9C34-EB964D732C77}" type="pres">
      <dgm:prSet presAssocID="{BF1B7062-91AB-4F1D-BD08-8D3EC4B33C1F}" presName="LevelTwoTextNode" presStyleLbl="node3" presStyleIdx="0" presStyleCnt="10">
        <dgm:presLayoutVars>
          <dgm:chPref val="3"/>
        </dgm:presLayoutVars>
      </dgm:prSet>
      <dgm:spPr/>
    </dgm:pt>
    <dgm:pt modelId="{54BDE115-2A0C-4217-89B4-E7E8586234DB}" type="pres">
      <dgm:prSet presAssocID="{BF1B7062-91AB-4F1D-BD08-8D3EC4B33C1F}" presName="level3hierChild" presStyleCnt="0"/>
      <dgm:spPr/>
    </dgm:pt>
    <dgm:pt modelId="{6D05A90F-5A8D-42F9-A2CB-82F28C0FF2BC}" type="pres">
      <dgm:prSet presAssocID="{C7C06085-9DF0-469C-90B3-434C5E418A6D}" presName="conn2-1" presStyleLbl="parChTrans1D4" presStyleIdx="0" presStyleCnt="9"/>
      <dgm:spPr/>
    </dgm:pt>
    <dgm:pt modelId="{799FD5E4-5D76-4338-BDA8-9F7F790A3A29}" type="pres">
      <dgm:prSet presAssocID="{C7C06085-9DF0-469C-90B3-434C5E418A6D}" presName="connTx" presStyleLbl="parChTrans1D4" presStyleIdx="0" presStyleCnt="9"/>
      <dgm:spPr/>
    </dgm:pt>
    <dgm:pt modelId="{1C875D8C-6779-45C7-9DF1-E38374A18533}" type="pres">
      <dgm:prSet presAssocID="{4D897679-FA7C-48A2-A57F-5D0431886FF7}" presName="root2" presStyleCnt="0"/>
      <dgm:spPr/>
    </dgm:pt>
    <dgm:pt modelId="{F8A94DA1-2081-4A8B-816C-A9F98C2853F5}" type="pres">
      <dgm:prSet presAssocID="{4D897679-FA7C-48A2-A57F-5D0431886FF7}" presName="LevelTwoTextNode" presStyleLbl="node4" presStyleIdx="0" presStyleCnt="9">
        <dgm:presLayoutVars>
          <dgm:chPref val="3"/>
        </dgm:presLayoutVars>
      </dgm:prSet>
      <dgm:spPr/>
    </dgm:pt>
    <dgm:pt modelId="{BE78AA36-14CC-406D-9CAF-F23AD3DFDFED}" type="pres">
      <dgm:prSet presAssocID="{4D897679-FA7C-48A2-A57F-5D0431886FF7}" presName="level3hierChild" presStyleCnt="0"/>
      <dgm:spPr/>
    </dgm:pt>
    <dgm:pt modelId="{8F0AA0AA-EF8D-43DE-82C5-2D7BFD08315F}" type="pres">
      <dgm:prSet presAssocID="{81CB6F6D-48DA-416D-9426-0B6E4B5AD737}" presName="conn2-1" presStyleLbl="parChTrans1D4" presStyleIdx="1" presStyleCnt="9"/>
      <dgm:spPr/>
    </dgm:pt>
    <dgm:pt modelId="{FD15021D-62B7-4A46-932A-654E778DB44B}" type="pres">
      <dgm:prSet presAssocID="{81CB6F6D-48DA-416D-9426-0B6E4B5AD737}" presName="connTx" presStyleLbl="parChTrans1D4" presStyleIdx="1" presStyleCnt="9"/>
      <dgm:spPr/>
    </dgm:pt>
    <dgm:pt modelId="{92C6DF90-94C7-417B-A0B7-472D3330DFC6}" type="pres">
      <dgm:prSet presAssocID="{48CAF46E-7318-4269-B88D-4072C010818D}" presName="root2" presStyleCnt="0"/>
      <dgm:spPr/>
    </dgm:pt>
    <dgm:pt modelId="{571B8373-7DFF-4282-8AA6-80F7CC7EA7C8}" type="pres">
      <dgm:prSet presAssocID="{48CAF46E-7318-4269-B88D-4072C010818D}" presName="LevelTwoTextNode" presStyleLbl="node4" presStyleIdx="1" presStyleCnt="9">
        <dgm:presLayoutVars>
          <dgm:chPref val="3"/>
        </dgm:presLayoutVars>
      </dgm:prSet>
      <dgm:spPr/>
    </dgm:pt>
    <dgm:pt modelId="{2E395B4D-D351-4809-A97B-BD1545D151D6}" type="pres">
      <dgm:prSet presAssocID="{48CAF46E-7318-4269-B88D-4072C010818D}" presName="level3hierChild" presStyleCnt="0"/>
      <dgm:spPr/>
    </dgm:pt>
    <dgm:pt modelId="{709C936E-7E65-4B5A-AC40-4548A25152AC}" type="pres">
      <dgm:prSet presAssocID="{23EDCDD5-F170-402F-A11E-15FD466C3CE5}" presName="conn2-1" presStyleLbl="parChTrans1D4" presStyleIdx="2" presStyleCnt="9"/>
      <dgm:spPr/>
    </dgm:pt>
    <dgm:pt modelId="{79D3B186-92E5-40C6-A995-4173A00C788D}" type="pres">
      <dgm:prSet presAssocID="{23EDCDD5-F170-402F-A11E-15FD466C3CE5}" presName="connTx" presStyleLbl="parChTrans1D4" presStyleIdx="2" presStyleCnt="9"/>
      <dgm:spPr/>
    </dgm:pt>
    <dgm:pt modelId="{288D4D72-A885-421E-B53B-89BEC0A8E191}" type="pres">
      <dgm:prSet presAssocID="{ADED253C-6A2E-4631-B1D4-F5E1FE2B5B55}" presName="root2" presStyleCnt="0"/>
      <dgm:spPr/>
    </dgm:pt>
    <dgm:pt modelId="{9E59A063-5821-4E2B-8FD8-3EBA8922B98E}" type="pres">
      <dgm:prSet presAssocID="{ADED253C-6A2E-4631-B1D4-F5E1FE2B5B55}" presName="LevelTwoTextNode" presStyleLbl="node4" presStyleIdx="2" presStyleCnt="9">
        <dgm:presLayoutVars>
          <dgm:chPref val="3"/>
        </dgm:presLayoutVars>
      </dgm:prSet>
      <dgm:spPr/>
    </dgm:pt>
    <dgm:pt modelId="{A60165E3-8C06-4086-B11F-0E702421E440}" type="pres">
      <dgm:prSet presAssocID="{ADED253C-6A2E-4631-B1D4-F5E1FE2B5B55}" presName="level3hierChild" presStyleCnt="0"/>
      <dgm:spPr/>
    </dgm:pt>
    <dgm:pt modelId="{C5F46441-018D-4AD0-9984-278FB6B3653F}" type="pres">
      <dgm:prSet presAssocID="{524ED0C4-9CC2-4C2A-B51C-974FA37A7FE7}" presName="conn2-1" presStyleLbl="parChTrans1D4" presStyleIdx="3" presStyleCnt="9"/>
      <dgm:spPr/>
    </dgm:pt>
    <dgm:pt modelId="{D9EA4352-69AB-4BEF-A3B8-25557C0E3D3D}" type="pres">
      <dgm:prSet presAssocID="{524ED0C4-9CC2-4C2A-B51C-974FA37A7FE7}" presName="connTx" presStyleLbl="parChTrans1D4" presStyleIdx="3" presStyleCnt="9"/>
      <dgm:spPr/>
    </dgm:pt>
    <dgm:pt modelId="{0E92266F-6127-4D65-BB11-33FD467F105D}" type="pres">
      <dgm:prSet presAssocID="{D11BAA21-3D0E-4BFE-97F1-F349F96BB7F2}" presName="root2" presStyleCnt="0"/>
      <dgm:spPr/>
    </dgm:pt>
    <dgm:pt modelId="{E35C2840-DB93-493D-B275-166B0E0C4A9D}" type="pres">
      <dgm:prSet presAssocID="{D11BAA21-3D0E-4BFE-97F1-F349F96BB7F2}" presName="LevelTwoTextNode" presStyleLbl="node4" presStyleIdx="3" presStyleCnt="9">
        <dgm:presLayoutVars>
          <dgm:chPref val="3"/>
        </dgm:presLayoutVars>
      </dgm:prSet>
      <dgm:spPr/>
    </dgm:pt>
    <dgm:pt modelId="{D8A053A6-8CD3-465F-9ECC-7C0D113893EE}" type="pres">
      <dgm:prSet presAssocID="{D11BAA21-3D0E-4BFE-97F1-F349F96BB7F2}" presName="level3hierChild" presStyleCnt="0"/>
      <dgm:spPr/>
    </dgm:pt>
    <dgm:pt modelId="{FAF45787-F807-4BB6-923D-0C0E2CD8C149}" type="pres">
      <dgm:prSet presAssocID="{31BDA904-A9EF-437C-9DAF-E5BDF8C1106E}" presName="conn2-1" presStyleLbl="parChTrans1D4" presStyleIdx="4" presStyleCnt="9"/>
      <dgm:spPr/>
    </dgm:pt>
    <dgm:pt modelId="{8B0AB1CA-7D19-4139-820F-FBEA5B4373F8}" type="pres">
      <dgm:prSet presAssocID="{31BDA904-A9EF-437C-9DAF-E5BDF8C1106E}" presName="connTx" presStyleLbl="parChTrans1D4" presStyleIdx="4" presStyleCnt="9"/>
      <dgm:spPr/>
    </dgm:pt>
    <dgm:pt modelId="{C3306D52-2437-4385-ACA3-7D8CE9EB0569}" type="pres">
      <dgm:prSet presAssocID="{33587DE4-8F92-4CA4-A011-892138D47DA7}" presName="root2" presStyleCnt="0"/>
      <dgm:spPr/>
    </dgm:pt>
    <dgm:pt modelId="{8F47A465-73D6-48E5-83FD-F149301C3BBD}" type="pres">
      <dgm:prSet presAssocID="{33587DE4-8F92-4CA4-A011-892138D47DA7}" presName="LevelTwoTextNode" presStyleLbl="node4" presStyleIdx="4" presStyleCnt="9">
        <dgm:presLayoutVars>
          <dgm:chPref val="3"/>
        </dgm:presLayoutVars>
      </dgm:prSet>
      <dgm:spPr/>
    </dgm:pt>
    <dgm:pt modelId="{E32E857A-F3CD-4263-AB35-D59E97F83B1D}" type="pres">
      <dgm:prSet presAssocID="{33587DE4-8F92-4CA4-A011-892138D47DA7}" presName="level3hierChild" presStyleCnt="0"/>
      <dgm:spPr/>
    </dgm:pt>
    <dgm:pt modelId="{5BC2DE1D-C4D7-4BFC-A0C1-3D282DC024CD}" type="pres">
      <dgm:prSet presAssocID="{AE65C2BF-225F-4643-AE59-9457E6820B24}" presName="conn2-1" presStyleLbl="parChTrans1D3" presStyleIdx="1" presStyleCnt="10"/>
      <dgm:spPr/>
    </dgm:pt>
    <dgm:pt modelId="{0C497864-2349-44C5-8D11-5F89748F0519}" type="pres">
      <dgm:prSet presAssocID="{AE65C2BF-225F-4643-AE59-9457E6820B24}" presName="connTx" presStyleLbl="parChTrans1D3" presStyleIdx="1" presStyleCnt="10"/>
      <dgm:spPr/>
    </dgm:pt>
    <dgm:pt modelId="{9DEE4079-5D60-4753-AEAE-EF1343D66E8F}" type="pres">
      <dgm:prSet presAssocID="{49A0BB83-CEA0-46AB-9D0B-B65F612AEE4A}" presName="root2" presStyleCnt="0"/>
      <dgm:spPr/>
    </dgm:pt>
    <dgm:pt modelId="{DC0B28EB-699E-45BB-87EC-30E574E72821}" type="pres">
      <dgm:prSet presAssocID="{49A0BB83-CEA0-46AB-9D0B-B65F612AEE4A}" presName="LevelTwoTextNode" presStyleLbl="node3" presStyleIdx="1" presStyleCnt="10">
        <dgm:presLayoutVars>
          <dgm:chPref val="3"/>
        </dgm:presLayoutVars>
      </dgm:prSet>
      <dgm:spPr/>
    </dgm:pt>
    <dgm:pt modelId="{F96545F6-99BC-46B9-929F-A49863AE73CF}" type="pres">
      <dgm:prSet presAssocID="{49A0BB83-CEA0-46AB-9D0B-B65F612AEE4A}" presName="level3hierChild" presStyleCnt="0"/>
      <dgm:spPr/>
    </dgm:pt>
    <dgm:pt modelId="{7F2C676C-E906-4B26-892E-C728B9239429}" type="pres">
      <dgm:prSet presAssocID="{42F96A8F-BB1E-4B89-AB8E-11A0F37EB1DB}" presName="conn2-1" presStyleLbl="parChTrans1D4" presStyleIdx="5" presStyleCnt="9"/>
      <dgm:spPr/>
    </dgm:pt>
    <dgm:pt modelId="{F614A676-E312-4A6F-BE9F-B6E2993177B6}" type="pres">
      <dgm:prSet presAssocID="{42F96A8F-BB1E-4B89-AB8E-11A0F37EB1DB}" presName="connTx" presStyleLbl="parChTrans1D4" presStyleIdx="5" presStyleCnt="9"/>
      <dgm:spPr/>
    </dgm:pt>
    <dgm:pt modelId="{BDC558D4-E8FE-4402-98B6-954B2DED52D1}" type="pres">
      <dgm:prSet presAssocID="{E0EC0A27-9EDB-47A4-8DED-CBD1A61B9BC9}" presName="root2" presStyleCnt="0"/>
      <dgm:spPr/>
    </dgm:pt>
    <dgm:pt modelId="{81473451-3FF3-474B-98FB-6869E5682468}" type="pres">
      <dgm:prSet presAssocID="{E0EC0A27-9EDB-47A4-8DED-CBD1A61B9BC9}" presName="LevelTwoTextNode" presStyleLbl="node4" presStyleIdx="5" presStyleCnt="9">
        <dgm:presLayoutVars>
          <dgm:chPref val="3"/>
        </dgm:presLayoutVars>
      </dgm:prSet>
      <dgm:spPr/>
    </dgm:pt>
    <dgm:pt modelId="{FA9000AC-D9F7-467D-A35D-DAD03D5FE186}" type="pres">
      <dgm:prSet presAssocID="{E0EC0A27-9EDB-47A4-8DED-CBD1A61B9BC9}" presName="level3hierChild" presStyleCnt="0"/>
      <dgm:spPr/>
    </dgm:pt>
    <dgm:pt modelId="{2B4072C3-2623-4EA4-94B7-025A9DCD72E9}" type="pres">
      <dgm:prSet presAssocID="{2DCC687C-BE9B-4DD8-8A80-E970635437CA}" presName="conn2-1" presStyleLbl="parChTrans1D4" presStyleIdx="6" presStyleCnt="9"/>
      <dgm:spPr/>
    </dgm:pt>
    <dgm:pt modelId="{7260B369-A7E2-44EA-98FE-B408D79B13A6}" type="pres">
      <dgm:prSet presAssocID="{2DCC687C-BE9B-4DD8-8A80-E970635437CA}" presName="connTx" presStyleLbl="parChTrans1D4" presStyleIdx="6" presStyleCnt="9"/>
      <dgm:spPr/>
    </dgm:pt>
    <dgm:pt modelId="{1FAAD552-F495-4DB6-9E8B-FAAEB560B2F6}" type="pres">
      <dgm:prSet presAssocID="{4DA8AE24-A75C-40AE-A6A1-13FE57AE449D}" presName="root2" presStyleCnt="0"/>
      <dgm:spPr/>
    </dgm:pt>
    <dgm:pt modelId="{A732D3F1-1291-409E-9A7C-778CAE167F89}" type="pres">
      <dgm:prSet presAssocID="{4DA8AE24-A75C-40AE-A6A1-13FE57AE449D}" presName="LevelTwoTextNode" presStyleLbl="node4" presStyleIdx="6" presStyleCnt="9">
        <dgm:presLayoutVars>
          <dgm:chPref val="3"/>
        </dgm:presLayoutVars>
      </dgm:prSet>
      <dgm:spPr/>
    </dgm:pt>
    <dgm:pt modelId="{AB597740-6E08-435C-B03D-74A3C28F6C7A}" type="pres">
      <dgm:prSet presAssocID="{4DA8AE24-A75C-40AE-A6A1-13FE57AE449D}" presName="level3hierChild" presStyleCnt="0"/>
      <dgm:spPr/>
    </dgm:pt>
    <dgm:pt modelId="{9458E52A-38CE-4EE6-A620-F703970B8164}" type="pres">
      <dgm:prSet presAssocID="{0F1B911F-6353-4AE6-9EEF-D49625DE905E}" presName="conn2-1" presStyleLbl="parChTrans1D4" presStyleIdx="7" presStyleCnt="9"/>
      <dgm:spPr/>
    </dgm:pt>
    <dgm:pt modelId="{32DEAE14-947F-44E2-8D61-C101875AB07D}" type="pres">
      <dgm:prSet presAssocID="{0F1B911F-6353-4AE6-9EEF-D49625DE905E}" presName="connTx" presStyleLbl="parChTrans1D4" presStyleIdx="7" presStyleCnt="9"/>
      <dgm:spPr/>
    </dgm:pt>
    <dgm:pt modelId="{69E10A20-FCE4-4D83-88A1-14D71635473C}" type="pres">
      <dgm:prSet presAssocID="{C1F68F19-94EA-4970-A79B-863E823848E5}" presName="root2" presStyleCnt="0"/>
      <dgm:spPr/>
    </dgm:pt>
    <dgm:pt modelId="{42C465EB-33D9-4AD2-A33B-930C8E39ED41}" type="pres">
      <dgm:prSet presAssocID="{C1F68F19-94EA-4970-A79B-863E823848E5}" presName="LevelTwoTextNode" presStyleLbl="node4" presStyleIdx="7" presStyleCnt="9">
        <dgm:presLayoutVars>
          <dgm:chPref val="3"/>
        </dgm:presLayoutVars>
      </dgm:prSet>
      <dgm:spPr/>
    </dgm:pt>
    <dgm:pt modelId="{2EF723DA-603B-48F9-A950-71099D97A93D}" type="pres">
      <dgm:prSet presAssocID="{C1F68F19-94EA-4970-A79B-863E823848E5}" presName="level3hierChild" presStyleCnt="0"/>
      <dgm:spPr/>
    </dgm:pt>
    <dgm:pt modelId="{329CD9E0-9945-40C9-89A5-5929AA1A3A82}" type="pres">
      <dgm:prSet presAssocID="{87CDD4F3-E71F-44A9-B515-E47672A849B6}" presName="conn2-1" presStyleLbl="parChTrans1D4" presStyleIdx="8" presStyleCnt="9"/>
      <dgm:spPr/>
    </dgm:pt>
    <dgm:pt modelId="{27874C32-AAAE-43E2-B803-B20B1E2D7450}" type="pres">
      <dgm:prSet presAssocID="{87CDD4F3-E71F-44A9-B515-E47672A849B6}" presName="connTx" presStyleLbl="parChTrans1D4" presStyleIdx="8" presStyleCnt="9"/>
      <dgm:spPr/>
    </dgm:pt>
    <dgm:pt modelId="{413EDB34-EEB8-4846-8BF9-D4944F61EBD3}" type="pres">
      <dgm:prSet presAssocID="{3EC8FF9E-3113-473A-A5E5-ABD9C5F94794}" presName="root2" presStyleCnt="0"/>
      <dgm:spPr/>
    </dgm:pt>
    <dgm:pt modelId="{84D7F889-3498-48D8-ADC3-14251347C81B}" type="pres">
      <dgm:prSet presAssocID="{3EC8FF9E-3113-473A-A5E5-ABD9C5F94794}" presName="LevelTwoTextNode" presStyleLbl="node4" presStyleIdx="8" presStyleCnt="9">
        <dgm:presLayoutVars>
          <dgm:chPref val="3"/>
        </dgm:presLayoutVars>
      </dgm:prSet>
      <dgm:spPr/>
    </dgm:pt>
    <dgm:pt modelId="{E91235D0-FC5C-4DA2-AB29-EC075B3DCA81}" type="pres">
      <dgm:prSet presAssocID="{3EC8FF9E-3113-473A-A5E5-ABD9C5F94794}" presName="level3hierChild" presStyleCnt="0"/>
      <dgm:spPr/>
    </dgm:pt>
    <dgm:pt modelId="{A4E05C94-2209-4BF4-B627-606397BBC1C5}" type="pres">
      <dgm:prSet presAssocID="{BB72E3E4-7E20-4FF3-87BE-AD24CB2F12EE}" presName="conn2-1" presStyleLbl="parChTrans1D3" presStyleIdx="2" presStyleCnt="10"/>
      <dgm:spPr/>
    </dgm:pt>
    <dgm:pt modelId="{6DCFD290-34D5-45FC-84C5-03B4A3AFAD52}" type="pres">
      <dgm:prSet presAssocID="{BB72E3E4-7E20-4FF3-87BE-AD24CB2F12EE}" presName="connTx" presStyleLbl="parChTrans1D3" presStyleIdx="2" presStyleCnt="10"/>
      <dgm:spPr/>
    </dgm:pt>
    <dgm:pt modelId="{D6C31984-0B65-416F-A6B1-E0A22FFF6163}" type="pres">
      <dgm:prSet presAssocID="{DAFF3CB8-4780-4F42-8F5A-A2879CF5C5A6}" presName="root2" presStyleCnt="0"/>
      <dgm:spPr/>
    </dgm:pt>
    <dgm:pt modelId="{485D5E8B-1295-4B72-BF14-74B2BE7008EE}" type="pres">
      <dgm:prSet presAssocID="{DAFF3CB8-4780-4F42-8F5A-A2879CF5C5A6}" presName="LevelTwoTextNode" presStyleLbl="node3" presStyleIdx="2" presStyleCnt="10">
        <dgm:presLayoutVars>
          <dgm:chPref val="3"/>
        </dgm:presLayoutVars>
      </dgm:prSet>
      <dgm:spPr/>
    </dgm:pt>
    <dgm:pt modelId="{49EAA066-0495-427D-9425-BE1889EED5E1}" type="pres">
      <dgm:prSet presAssocID="{DAFF3CB8-4780-4F42-8F5A-A2879CF5C5A6}" presName="level3hierChild" presStyleCnt="0"/>
      <dgm:spPr/>
    </dgm:pt>
    <dgm:pt modelId="{460E764F-BDF5-4D22-9B4D-16DC71F64CAC}" type="pres">
      <dgm:prSet presAssocID="{2C61C4AB-FC34-4364-9323-4A9D6350BA1C}" presName="conn2-1" presStyleLbl="parChTrans1D3" presStyleIdx="3" presStyleCnt="10"/>
      <dgm:spPr/>
    </dgm:pt>
    <dgm:pt modelId="{D2085E56-A00C-4E27-A4A7-A2743FEDF1B5}" type="pres">
      <dgm:prSet presAssocID="{2C61C4AB-FC34-4364-9323-4A9D6350BA1C}" presName="connTx" presStyleLbl="parChTrans1D3" presStyleIdx="3" presStyleCnt="10"/>
      <dgm:spPr/>
    </dgm:pt>
    <dgm:pt modelId="{73186733-5E43-4E6A-80AF-948A00AAA9B5}" type="pres">
      <dgm:prSet presAssocID="{2FAED816-5ABD-44B8-9175-AD4921C3FE98}" presName="root2" presStyleCnt="0"/>
      <dgm:spPr/>
    </dgm:pt>
    <dgm:pt modelId="{43996E1E-6F52-4F8E-9F4B-77A56824C63C}" type="pres">
      <dgm:prSet presAssocID="{2FAED816-5ABD-44B8-9175-AD4921C3FE98}" presName="LevelTwoTextNode" presStyleLbl="node3" presStyleIdx="3" presStyleCnt="10">
        <dgm:presLayoutVars>
          <dgm:chPref val="3"/>
        </dgm:presLayoutVars>
      </dgm:prSet>
      <dgm:spPr/>
    </dgm:pt>
    <dgm:pt modelId="{41502682-1FC1-4B2B-BBB5-9A5540E7D736}" type="pres">
      <dgm:prSet presAssocID="{2FAED816-5ABD-44B8-9175-AD4921C3FE98}" presName="level3hierChild" presStyleCnt="0"/>
      <dgm:spPr/>
    </dgm:pt>
    <dgm:pt modelId="{690E36EE-5895-4B91-A347-3380A5FE5255}" type="pres">
      <dgm:prSet presAssocID="{D0F076D3-591F-4547-A436-4947EC5EA385}" presName="conn2-1" presStyleLbl="parChTrans1D3" presStyleIdx="4" presStyleCnt="10"/>
      <dgm:spPr/>
    </dgm:pt>
    <dgm:pt modelId="{ADBE13F2-10FA-4B06-99C7-09C6712A7646}" type="pres">
      <dgm:prSet presAssocID="{D0F076D3-591F-4547-A436-4947EC5EA385}" presName="connTx" presStyleLbl="parChTrans1D3" presStyleIdx="4" presStyleCnt="10"/>
      <dgm:spPr/>
    </dgm:pt>
    <dgm:pt modelId="{B6754EFB-425D-471A-9BC5-9299A6414551}" type="pres">
      <dgm:prSet presAssocID="{86A07196-5E8B-49B8-84A4-6DF135FCBFFC}" presName="root2" presStyleCnt="0"/>
      <dgm:spPr/>
    </dgm:pt>
    <dgm:pt modelId="{6E154881-954A-429F-9BBE-E92EEB4B1011}" type="pres">
      <dgm:prSet presAssocID="{86A07196-5E8B-49B8-84A4-6DF135FCBFFC}" presName="LevelTwoTextNode" presStyleLbl="node3" presStyleIdx="4" presStyleCnt="10">
        <dgm:presLayoutVars>
          <dgm:chPref val="3"/>
        </dgm:presLayoutVars>
      </dgm:prSet>
      <dgm:spPr/>
    </dgm:pt>
    <dgm:pt modelId="{5D1CB6D5-4D16-456C-80C8-8FB25291517B}" type="pres">
      <dgm:prSet presAssocID="{86A07196-5E8B-49B8-84A4-6DF135FCBFFC}" presName="level3hierChild" presStyleCnt="0"/>
      <dgm:spPr/>
    </dgm:pt>
    <dgm:pt modelId="{CD37291B-5548-4F1B-8F2F-200AE5B0DCAE}" type="pres">
      <dgm:prSet presAssocID="{17815460-B569-463A-BACE-734F709F874A}" presName="conn2-1" presStyleLbl="parChTrans1D2" presStyleIdx="1" presStyleCnt="3"/>
      <dgm:spPr/>
    </dgm:pt>
    <dgm:pt modelId="{D4121B60-61D6-41A4-AAB9-DE9671C8ED2F}" type="pres">
      <dgm:prSet presAssocID="{17815460-B569-463A-BACE-734F709F874A}" presName="connTx" presStyleLbl="parChTrans1D2" presStyleIdx="1" presStyleCnt="3"/>
      <dgm:spPr/>
    </dgm:pt>
    <dgm:pt modelId="{50975EFF-52F3-48CE-A104-6890DF2CCC15}" type="pres">
      <dgm:prSet presAssocID="{434F1058-EF12-4590-BD43-496B2D33656A}" presName="root2" presStyleCnt="0"/>
      <dgm:spPr/>
    </dgm:pt>
    <dgm:pt modelId="{E077FA3E-A654-4D27-8616-5CDDA43F8AF6}" type="pres">
      <dgm:prSet presAssocID="{434F1058-EF12-4590-BD43-496B2D33656A}" presName="LevelTwoTextNode" presStyleLbl="node2" presStyleIdx="1" presStyleCnt="3">
        <dgm:presLayoutVars>
          <dgm:chPref val="3"/>
        </dgm:presLayoutVars>
      </dgm:prSet>
      <dgm:spPr/>
    </dgm:pt>
    <dgm:pt modelId="{738BD333-0CAC-4970-A8E6-FA82D1202675}" type="pres">
      <dgm:prSet presAssocID="{434F1058-EF12-4590-BD43-496B2D33656A}" presName="level3hierChild" presStyleCnt="0"/>
      <dgm:spPr/>
    </dgm:pt>
    <dgm:pt modelId="{037062E2-BE96-4A8B-9D2F-1FA0857207C1}" type="pres">
      <dgm:prSet presAssocID="{DA62F256-25CF-4854-BFCD-F90F70E5F8D4}" presName="conn2-1" presStyleLbl="parChTrans1D3" presStyleIdx="5" presStyleCnt="10"/>
      <dgm:spPr/>
    </dgm:pt>
    <dgm:pt modelId="{48D9A2E1-2598-4B00-AD73-86E6047DFB3F}" type="pres">
      <dgm:prSet presAssocID="{DA62F256-25CF-4854-BFCD-F90F70E5F8D4}" presName="connTx" presStyleLbl="parChTrans1D3" presStyleIdx="5" presStyleCnt="10"/>
      <dgm:spPr/>
    </dgm:pt>
    <dgm:pt modelId="{B8CF9832-64BD-484C-B421-A0ECF20998B1}" type="pres">
      <dgm:prSet presAssocID="{4098A15D-6BE4-4258-B7C8-EC2A1354A4D6}" presName="root2" presStyleCnt="0"/>
      <dgm:spPr/>
    </dgm:pt>
    <dgm:pt modelId="{768C7647-12EF-40E9-94EB-C1868C4AFE59}" type="pres">
      <dgm:prSet presAssocID="{4098A15D-6BE4-4258-B7C8-EC2A1354A4D6}" presName="LevelTwoTextNode" presStyleLbl="node3" presStyleIdx="5" presStyleCnt="10">
        <dgm:presLayoutVars>
          <dgm:chPref val="3"/>
        </dgm:presLayoutVars>
      </dgm:prSet>
      <dgm:spPr/>
    </dgm:pt>
    <dgm:pt modelId="{66E40938-6C34-47FD-B792-4BEC9D41A30A}" type="pres">
      <dgm:prSet presAssocID="{4098A15D-6BE4-4258-B7C8-EC2A1354A4D6}" presName="level3hierChild" presStyleCnt="0"/>
      <dgm:spPr/>
    </dgm:pt>
    <dgm:pt modelId="{313DC26C-06DB-4098-B605-33485EFC9B29}" type="pres">
      <dgm:prSet presAssocID="{D937D902-C50B-4BEC-9C1F-D9880BCC701B}" presName="conn2-1" presStyleLbl="parChTrans1D3" presStyleIdx="6" presStyleCnt="10"/>
      <dgm:spPr/>
    </dgm:pt>
    <dgm:pt modelId="{30A455D9-9D31-498C-B006-B59A4D0FAC39}" type="pres">
      <dgm:prSet presAssocID="{D937D902-C50B-4BEC-9C1F-D9880BCC701B}" presName="connTx" presStyleLbl="parChTrans1D3" presStyleIdx="6" presStyleCnt="10"/>
      <dgm:spPr/>
    </dgm:pt>
    <dgm:pt modelId="{EB09E2DB-DC0B-4A48-BC00-788EB4BF2155}" type="pres">
      <dgm:prSet presAssocID="{CF5B8EE4-D285-4E9D-BBB6-5F2F77DD4689}" presName="root2" presStyleCnt="0"/>
      <dgm:spPr/>
    </dgm:pt>
    <dgm:pt modelId="{49B6876F-A108-4FF0-9A81-E34DBB9D0BD7}" type="pres">
      <dgm:prSet presAssocID="{CF5B8EE4-D285-4E9D-BBB6-5F2F77DD4689}" presName="LevelTwoTextNode" presStyleLbl="node3" presStyleIdx="6" presStyleCnt="10">
        <dgm:presLayoutVars>
          <dgm:chPref val="3"/>
        </dgm:presLayoutVars>
      </dgm:prSet>
      <dgm:spPr/>
    </dgm:pt>
    <dgm:pt modelId="{840A5199-0A8A-47C7-8B9A-920BC241225E}" type="pres">
      <dgm:prSet presAssocID="{CF5B8EE4-D285-4E9D-BBB6-5F2F77DD4689}" presName="level3hierChild" presStyleCnt="0"/>
      <dgm:spPr/>
    </dgm:pt>
    <dgm:pt modelId="{C4365B06-B9DB-4064-B93F-1043BD4B58B2}" type="pres">
      <dgm:prSet presAssocID="{8A26916C-03BF-4B0E-92AF-656A56CF8513}" presName="conn2-1" presStyleLbl="parChTrans1D2" presStyleIdx="2" presStyleCnt="3"/>
      <dgm:spPr/>
    </dgm:pt>
    <dgm:pt modelId="{0336C92A-933C-4B9A-8AAD-80A8DB51CB00}" type="pres">
      <dgm:prSet presAssocID="{8A26916C-03BF-4B0E-92AF-656A56CF8513}" presName="connTx" presStyleLbl="parChTrans1D2" presStyleIdx="2" presStyleCnt="3"/>
      <dgm:spPr/>
    </dgm:pt>
    <dgm:pt modelId="{1FB1112C-2171-4ECC-8EA0-911ADD3964A5}" type="pres">
      <dgm:prSet presAssocID="{C1D130BE-4BC5-481C-BADA-14A869727C0B}" presName="root2" presStyleCnt="0"/>
      <dgm:spPr/>
    </dgm:pt>
    <dgm:pt modelId="{B3E59FB2-885F-4B71-9DC5-B6F45C8017DE}" type="pres">
      <dgm:prSet presAssocID="{C1D130BE-4BC5-481C-BADA-14A869727C0B}" presName="LevelTwoTextNode" presStyleLbl="node2" presStyleIdx="2" presStyleCnt="3">
        <dgm:presLayoutVars>
          <dgm:chPref val="3"/>
        </dgm:presLayoutVars>
      </dgm:prSet>
      <dgm:spPr/>
    </dgm:pt>
    <dgm:pt modelId="{AF149B8F-23A2-48DF-9DB4-21319099B718}" type="pres">
      <dgm:prSet presAssocID="{C1D130BE-4BC5-481C-BADA-14A869727C0B}" presName="level3hierChild" presStyleCnt="0"/>
      <dgm:spPr/>
    </dgm:pt>
    <dgm:pt modelId="{60A0F5E7-D1D3-49F8-A254-CFFCBE54AAF0}" type="pres">
      <dgm:prSet presAssocID="{503510FB-9E52-432E-98AC-FEF28CA55F0D}" presName="conn2-1" presStyleLbl="parChTrans1D3" presStyleIdx="7" presStyleCnt="10"/>
      <dgm:spPr/>
    </dgm:pt>
    <dgm:pt modelId="{3325D373-008A-41E8-9EA1-B4B0FC90FCD2}" type="pres">
      <dgm:prSet presAssocID="{503510FB-9E52-432E-98AC-FEF28CA55F0D}" presName="connTx" presStyleLbl="parChTrans1D3" presStyleIdx="7" presStyleCnt="10"/>
      <dgm:spPr/>
    </dgm:pt>
    <dgm:pt modelId="{533688EB-FEF2-4244-B371-7A31A6275F9E}" type="pres">
      <dgm:prSet presAssocID="{CD6C8CAB-2DB8-4BEB-8794-D14E24B56239}" presName="root2" presStyleCnt="0"/>
      <dgm:spPr/>
    </dgm:pt>
    <dgm:pt modelId="{9E81B654-57F3-4178-8807-AB7AAC7BE08E}" type="pres">
      <dgm:prSet presAssocID="{CD6C8CAB-2DB8-4BEB-8794-D14E24B56239}" presName="LevelTwoTextNode" presStyleLbl="node3" presStyleIdx="7" presStyleCnt="10">
        <dgm:presLayoutVars>
          <dgm:chPref val="3"/>
        </dgm:presLayoutVars>
      </dgm:prSet>
      <dgm:spPr/>
    </dgm:pt>
    <dgm:pt modelId="{9EA1B074-9688-4BF6-BD3E-8C3B349784E8}" type="pres">
      <dgm:prSet presAssocID="{CD6C8CAB-2DB8-4BEB-8794-D14E24B56239}" presName="level3hierChild" presStyleCnt="0"/>
      <dgm:spPr/>
    </dgm:pt>
    <dgm:pt modelId="{1CD57466-73E5-43BB-AF51-980153E8039A}" type="pres">
      <dgm:prSet presAssocID="{B3C6A11E-10F5-433C-A0FB-1B185A7D12E0}" presName="conn2-1" presStyleLbl="parChTrans1D3" presStyleIdx="8" presStyleCnt="10"/>
      <dgm:spPr/>
    </dgm:pt>
    <dgm:pt modelId="{739E7D1A-06FA-43F4-82B6-C5B799BDD12A}" type="pres">
      <dgm:prSet presAssocID="{B3C6A11E-10F5-433C-A0FB-1B185A7D12E0}" presName="connTx" presStyleLbl="parChTrans1D3" presStyleIdx="8" presStyleCnt="10"/>
      <dgm:spPr/>
    </dgm:pt>
    <dgm:pt modelId="{08A18F09-5415-4D9A-A62E-8AA11F9AF3C4}" type="pres">
      <dgm:prSet presAssocID="{16945C89-930D-4764-8730-4F183F8B4C87}" presName="root2" presStyleCnt="0"/>
      <dgm:spPr/>
    </dgm:pt>
    <dgm:pt modelId="{0CCC40AA-D80B-4B90-9188-E5CA017E63B0}" type="pres">
      <dgm:prSet presAssocID="{16945C89-930D-4764-8730-4F183F8B4C87}" presName="LevelTwoTextNode" presStyleLbl="node3" presStyleIdx="8" presStyleCnt="10">
        <dgm:presLayoutVars>
          <dgm:chPref val="3"/>
        </dgm:presLayoutVars>
      </dgm:prSet>
      <dgm:spPr/>
    </dgm:pt>
    <dgm:pt modelId="{E40DD794-4E3C-4009-B357-94D69536E6F4}" type="pres">
      <dgm:prSet presAssocID="{16945C89-930D-4764-8730-4F183F8B4C87}" presName="level3hierChild" presStyleCnt="0"/>
      <dgm:spPr/>
    </dgm:pt>
    <dgm:pt modelId="{F9C34007-6CA8-4ABF-890A-47AA50B267EA}" type="pres">
      <dgm:prSet presAssocID="{858DE0EA-690E-49F0-9AFD-401C85E7FBB4}" presName="conn2-1" presStyleLbl="parChTrans1D3" presStyleIdx="9" presStyleCnt="10"/>
      <dgm:spPr/>
    </dgm:pt>
    <dgm:pt modelId="{D3331827-B92C-4419-96E8-793E8D653308}" type="pres">
      <dgm:prSet presAssocID="{858DE0EA-690E-49F0-9AFD-401C85E7FBB4}" presName="connTx" presStyleLbl="parChTrans1D3" presStyleIdx="9" presStyleCnt="10"/>
      <dgm:spPr/>
    </dgm:pt>
    <dgm:pt modelId="{9FBA0EDF-DFF1-4228-BD6C-29FFD841B413}" type="pres">
      <dgm:prSet presAssocID="{CA25E3C2-D53A-4DAC-A356-274163CFD791}" presName="root2" presStyleCnt="0"/>
      <dgm:spPr/>
    </dgm:pt>
    <dgm:pt modelId="{E51A201A-58C4-4839-BBF3-03A3D4BA1DE9}" type="pres">
      <dgm:prSet presAssocID="{CA25E3C2-D53A-4DAC-A356-274163CFD791}" presName="LevelTwoTextNode" presStyleLbl="node3" presStyleIdx="9" presStyleCnt="10">
        <dgm:presLayoutVars>
          <dgm:chPref val="3"/>
        </dgm:presLayoutVars>
      </dgm:prSet>
      <dgm:spPr/>
    </dgm:pt>
    <dgm:pt modelId="{E4E1A461-B02B-4354-8D34-5DF04939C4AC}" type="pres">
      <dgm:prSet presAssocID="{CA25E3C2-D53A-4DAC-A356-274163CFD791}" presName="level3hierChild" presStyleCnt="0"/>
      <dgm:spPr/>
    </dgm:pt>
  </dgm:ptLst>
  <dgm:cxnLst>
    <dgm:cxn modelId="{6A42BC00-DDC6-47EB-A1CB-E461CD9820FD}" type="presOf" srcId="{B3C6A11E-10F5-433C-A0FB-1B185A7D12E0}" destId="{739E7D1A-06FA-43F4-82B6-C5B799BDD12A}" srcOrd="1" destOrd="0" presId="urn:microsoft.com/office/officeart/2008/layout/HorizontalMultiLevelHierarchy"/>
    <dgm:cxn modelId="{2ED6F702-CE72-434F-A1BB-6BCE9E2DA2BA}" srcId="{434F1058-EF12-4590-BD43-496B2D33656A}" destId="{CF5B8EE4-D285-4E9D-BBB6-5F2F77DD4689}" srcOrd="1" destOrd="0" parTransId="{D937D902-C50B-4BEC-9C1F-D9880BCC701B}" sibTransId="{CADCD7D6-E889-4A66-B79B-3ACEEF43F075}"/>
    <dgm:cxn modelId="{35C72205-75AD-4836-A353-1A0A05F601B7}" type="presOf" srcId="{48CAF46E-7318-4269-B88D-4072C010818D}" destId="{571B8373-7DFF-4282-8AA6-80F7CC7EA7C8}" srcOrd="0" destOrd="0" presId="urn:microsoft.com/office/officeart/2008/layout/HorizontalMultiLevelHierarchy"/>
    <dgm:cxn modelId="{B8419706-D293-44F8-A5BF-071DA501D1C3}" type="presOf" srcId="{8ACEFE3D-DAAE-46D2-BF29-AF7B5FBB783D}" destId="{FCADF10C-D51C-403A-B095-E884F4771DA4}" srcOrd="1" destOrd="0" presId="urn:microsoft.com/office/officeart/2008/layout/HorizontalMultiLevelHierarchy"/>
    <dgm:cxn modelId="{A112C106-B21E-4F95-89F7-0D3BEDCA1632}" type="presOf" srcId="{0F1B911F-6353-4AE6-9EEF-D49625DE905E}" destId="{9458E52A-38CE-4EE6-A620-F703970B8164}" srcOrd="0" destOrd="0" presId="urn:microsoft.com/office/officeart/2008/layout/HorizontalMultiLevelHierarchy"/>
    <dgm:cxn modelId="{8446A509-270F-4D3B-89EF-435B1D412BDB}" type="presOf" srcId="{D937D902-C50B-4BEC-9C1F-D9880BCC701B}" destId="{313DC26C-06DB-4098-B605-33485EFC9B29}" srcOrd="0" destOrd="0" presId="urn:microsoft.com/office/officeart/2008/layout/HorizontalMultiLevelHierarchy"/>
    <dgm:cxn modelId="{F0DA410D-39AE-4CDE-A96D-4DBCFC233C7C}" type="presOf" srcId="{87CDD4F3-E71F-44A9-B515-E47672A849B6}" destId="{27874C32-AAAE-43E2-B803-B20B1E2D7450}" srcOrd="1" destOrd="0" presId="urn:microsoft.com/office/officeart/2008/layout/HorizontalMultiLevelHierarchy"/>
    <dgm:cxn modelId="{49027C13-60C7-4577-8E0D-34D35F65F784}" type="presOf" srcId="{16945C89-930D-4764-8730-4F183F8B4C87}" destId="{0CCC40AA-D80B-4B90-9188-E5CA017E63B0}" srcOrd="0" destOrd="0" presId="urn:microsoft.com/office/officeart/2008/layout/HorizontalMultiLevelHierarchy"/>
    <dgm:cxn modelId="{CDA45815-1784-47A7-87EB-A18294F174A6}" type="presOf" srcId="{CD6C8CAB-2DB8-4BEB-8794-D14E24B56239}" destId="{9E81B654-57F3-4178-8807-AB7AAC7BE08E}" srcOrd="0" destOrd="0" presId="urn:microsoft.com/office/officeart/2008/layout/HorizontalMultiLevelHierarchy"/>
    <dgm:cxn modelId="{FEC8D416-8216-4562-8549-24473B803C80}" srcId="{49A0BB83-CEA0-46AB-9D0B-B65F612AEE4A}" destId="{E0EC0A27-9EDB-47A4-8DED-CBD1A61B9BC9}" srcOrd="0" destOrd="0" parTransId="{42F96A8F-BB1E-4B89-AB8E-11A0F37EB1DB}" sibTransId="{C6050D19-3AE0-4870-8460-7297D5C8A50F}"/>
    <dgm:cxn modelId="{5782D41D-ECEA-499F-9D26-91E863B791BE}" type="presOf" srcId="{DA62F256-25CF-4854-BFCD-F90F70E5F8D4}" destId="{48D9A2E1-2598-4B00-AD73-86E6047DFB3F}" srcOrd="1" destOrd="0" presId="urn:microsoft.com/office/officeart/2008/layout/HorizontalMultiLevelHierarchy"/>
    <dgm:cxn modelId="{2F95D722-3985-45E4-9E5F-0F15FC8C1680}" type="presOf" srcId="{CF5B8EE4-D285-4E9D-BBB6-5F2F77DD4689}" destId="{49B6876F-A108-4FF0-9A81-E34DBB9D0BD7}" srcOrd="0" destOrd="0" presId="urn:microsoft.com/office/officeart/2008/layout/HorizontalMultiLevelHierarchy"/>
    <dgm:cxn modelId="{64FF5A2C-981D-4E3B-9D13-47B3852BF3E9}" type="presOf" srcId="{BB72E3E4-7E20-4FF3-87BE-AD24CB2F12EE}" destId="{6DCFD290-34D5-45FC-84C5-03B4A3AFAD52}" srcOrd="1" destOrd="0" presId="urn:microsoft.com/office/officeart/2008/layout/HorizontalMultiLevelHierarchy"/>
    <dgm:cxn modelId="{75353E2D-D5F4-4C4B-8BFF-3A25A17EC9FB}" srcId="{BF1B7062-91AB-4F1D-BD08-8D3EC4B33C1F}" destId="{48CAF46E-7318-4269-B88D-4072C010818D}" srcOrd="1" destOrd="0" parTransId="{81CB6F6D-48DA-416D-9426-0B6E4B5AD737}" sibTransId="{D0BFACD0-8F45-4F8C-9779-0AF1AE559907}"/>
    <dgm:cxn modelId="{0E885231-05A1-4118-83D8-9F076DDBEA1A}" type="presOf" srcId="{C7C06085-9DF0-469C-90B3-434C5E418A6D}" destId="{6D05A90F-5A8D-42F9-A2CB-82F28C0FF2BC}" srcOrd="0" destOrd="0" presId="urn:microsoft.com/office/officeart/2008/layout/HorizontalMultiLevelHierarchy"/>
    <dgm:cxn modelId="{5B99DD31-B3E6-465C-A8DB-0DF740AA5D7A}" srcId="{C1D130BE-4BC5-481C-BADA-14A869727C0B}" destId="{CA25E3C2-D53A-4DAC-A356-274163CFD791}" srcOrd="2" destOrd="0" parTransId="{858DE0EA-690E-49F0-9AFD-401C85E7FBB4}" sibTransId="{2D56470D-3197-4A03-90FE-5A65A52F7EFB}"/>
    <dgm:cxn modelId="{9486E231-E761-415A-A46A-B222DD3C9A89}" srcId="{96C9D5F4-FF4F-420D-8420-A926E166D7A2}" destId="{D0997319-AE2C-4C46-ADCB-BA43BE3F3F54}" srcOrd="0" destOrd="0" parTransId="{EDD69CBB-FC0D-413C-A203-D32C53DEA1CA}" sibTransId="{E975384C-827E-414A-AEB5-7C3391463B49}"/>
    <dgm:cxn modelId="{1222A638-0CF4-4D66-8E42-7794D8449649}" type="presOf" srcId="{3EC8FF9E-3113-473A-A5E5-ABD9C5F94794}" destId="{84D7F889-3498-48D8-ADC3-14251347C81B}" srcOrd="0" destOrd="0" presId="urn:microsoft.com/office/officeart/2008/layout/HorizontalMultiLevelHierarchy"/>
    <dgm:cxn modelId="{23DAEE42-3C32-4C83-A2A3-106A8D737507}" type="presOf" srcId="{AE65C2BF-225F-4643-AE59-9457E6820B24}" destId="{0C497864-2349-44C5-8D11-5F89748F0519}" srcOrd="1" destOrd="0" presId="urn:microsoft.com/office/officeart/2008/layout/HorizontalMultiLevelHierarchy"/>
    <dgm:cxn modelId="{0BE45343-E5ED-46E6-9E17-DA36296E3029}" srcId="{8E70AA8F-7583-4AFE-9EDE-87363894E1F8}" destId="{86A07196-5E8B-49B8-84A4-6DF135FCBFFC}" srcOrd="4" destOrd="0" parTransId="{D0F076D3-591F-4547-A436-4947EC5EA385}" sibTransId="{4B4DC438-D558-40CF-9151-49154A83FB16}"/>
    <dgm:cxn modelId="{3CE2794B-F419-4F40-BA80-F7E4E9B8CF58}" type="presOf" srcId="{0F1B911F-6353-4AE6-9EEF-D49625DE905E}" destId="{32DEAE14-947F-44E2-8D61-C101875AB07D}" srcOrd="1" destOrd="0" presId="urn:microsoft.com/office/officeart/2008/layout/HorizontalMultiLevelHierarchy"/>
    <dgm:cxn modelId="{41B7B24E-5BA1-4B2B-AC96-EBF5A4A1F03B}" type="presOf" srcId="{2C61C4AB-FC34-4364-9323-4A9D6350BA1C}" destId="{460E764F-BDF5-4D22-9B4D-16DC71F64CAC}" srcOrd="0" destOrd="0" presId="urn:microsoft.com/office/officeart/2008/layout/HorizontalMultiLevelHierarchy"/>
    <dgm:cxn modelId="{AA3E744F-10BA-4479-AF01-972C59BF3BCF}" type="presOf" srcId="{B164CB56-71EE-412E-A3A2-1509A3B08E05}" destId="{BE328E0A-C287-4B1A-BD90-C0F3098FFCD9}" srcOrd="0" destOrd="0" presId="urn:microsoft.com/office/officeart/2008/layout/HorizontalMultiLevelHierarchy"/>
    <dgm:cxn modelId="{464F8353-3A6D-43D6-B358-7ECC4F51C0BF}" type="presOf" srcId="{D0997319-AE2C-4C46-ADCB-BA43BE3F3F54}" destId="{DCF5B4EF-DE4F-4292-A3B2-724C163A44AB}" srcOrd="0" destOrd="0" presId="urn:microsoft.com/office/officeart/2008/layout/HorizontalMultiLevelHierarchy"/>
    <dgm:cxn modelId="{1A99FB53-EFA6-4851-937B-0604F7806F2F}" type="presOf" srcId="{434F1058-EF12-4590-BD43-496B2D33656A}" destId="{E077FA3E-A654-4D27-8616-5CDDA43F8AF6}" srcOrd="0" destOrd="0" presId="urn:microsoft.com/office/officeart/2008/layout/HorizontalMultiLevelHierarchy"/>
    <dgm:cxn modelId="{70378754-45CA-4C66-B5D5-B9C9C4EF8226}" type="presOf" srcId="{81CB6F6D-48DA-416D-9426-0B6E4B5AD737}" destId="{FD15021D-62B7-4A46-932A-654E778DB44B}" srcOrd="1" destOrd="0" presId="urn:microsoft.com/office/officeart/2008/layout/HorizontalMultiLevelHierarchy"/>
    <dgm:cxn modelId="{288CF456-3237-4FF7-BD86-048D8CA5EABD}" type="presOf" srcId="{17815460-B569-463A-BACE-734F709F874A}" destId="{CD37291B-5548-4F1B-8F2F-200AE5B0DCAE}" srcOrd="0" destOrd="0" presId="urn:microsoft.com/office/officeart/2008/layout/HorizontalMultiLevelHierarchy"/>
    <dgm:cxn modelId="{707B8E58-ABA5-4C9A-AFCF-298CB05D08DA}" srcId="{D0997319-AE2C-4C46-ADCB-BA43BE3F3F54}" destId="{8E70AA8F-7583-4AFE-9EDE-87363894E1F8}" srcOrd="0" destOrd="0" parTransId="{B164CB56-71EE-412E-A3A2-1509A3B08E05}" sibTransId="{50009256-33DA-4FAC-A050-2DE70DDCC26C}"/>
    <dgm:cxn modelId="{79AF8559-F7CD-44EF-8C13-1146412076CF}" type="presOf" srcId="{2C61C4AB-FC34-4364-9323-4A9D6350BA1C}" destId="{D2085E56-A00C-4E27-A4A7-A2743FEDF1B5}" srcOrd="1" destOrd="0" presId="urn:microsoft.com/office/officeart/2008/layout/HorizontalMultiLevelHierarchy"/>
    <dgm:cxn modelId="{BFB4B55A-7A59-4107-BBB3-3FFB27350CDD}" type="presOf" srcId="{8A26916C-03BF-4B0E-92AF-656A56CF8513}" destId="{C4365B06-B9DB-4064-B93F-1043BD4B58B2}" srcOrd="0" destOrd="0" presId="urn:microsoft.com/office/officeart/2008/layout/HorizontalMultiLevelHierarchy"/>
    <dgm:cxn modelId="{4C6F195C-0214-4CDA-A612-7D5235F062E8}" type="presOf" srcId="{DAFF3CB8-4780-4F42-8F5A-A2879CF5C5A6}" destId="{485D5E8B-1295-4B72-BF14-74B2BE7008EE}" srcOrd="0" destOrd="0" presId="urn:microsoft.com/office/officeart/2008/layout/HorizontalMultiLevelHierarchy"/>
    <dgm:cxn modelId="{3868705D-EADE-4179-913C-220656615F3B}" type="presOf" srcId="{CA25E3C2-D53A-4DAC-A356-274163CFD791}" destId="{E51A201A-58C4-4839-BBF3-03A3D4BA1DE9}" srcOrd="0" destOrd="0" presId="urn:microsoft.com/office/officeart/2008/layout/HorizontalMultiLevelHierarchy"/>
    <dgm:cxn modelId="{D6FED260-3C13-4D81-9786-0CA49E676F94}" type="presOf" srcId="{524ED0C4-9CC2-4C2A-B51C-974FA37A7FE7}" destId="{D9EA4352-69AB-4BEF-A3B8-25557C0E3D3D}" srcOrd="1" destOrd="0" presId="urn:microsoft.com/office/officeart/2008/layout/HorizontalMultiLevelHierarchy"/>
    <dgm:cxn modelId="{3679B762-699A-4AEB-956B-62A58B7F1948}" type="presOf" srcId="{23EDCDD5-F170-402F-A11E-15FD466C3CE5}" destId="{79D3B186-92E5-40C6-A995-4173A00C788D}" srcOrd="1" destOrd="0" presId="urn:microsoft.com/office/officeart/2008/layout/HorizontalMultiLevelHierarchy"/>
    <dgm:cxn modelId="{65A1D062-D707-4E05-848F-D1FC7D22343D}" type="presOf" srcId="{C1D130BE-4BC5-481C-BADA-14A869727C0B}" destId="{B3E59FB2-885F-4B71-9DC5-B6F45C8017DE}" srcOrd="0" destOrd="0" presId="urn:microsoft.com/office/officeart/2008/layout/HorizontalMultiLevelHierarchy"/>
    <dgm:cxn modelId="{218D7769-246E-4C78-8637-1FABBE9AA235}" type="presOf" srcId="{B164CB56-71EE-412E-A3A2-1509A3B08E05}" destId="{1EB559E9-DB95-4028-B960-01A592B99E92}" srcOrd="1" destOrd="0" presId="urn:microsoft.com/office/officeart/2008/layout/HorizontalMultiLevelHierarchy"/>
    <dgm:cxn modelId="{725FF76C-97C7-4E96-9DF4-060D491C229B}" type="presOf" srcId="{2FAED816-5ABD-44B8-9175-AD4921C3FE98}" destId="{43996E1E-6F52-4F8E-9F4B-77A56824C63C}" srcOrd="0" destOrd="0" presId="urn:microsoft.com/office/officeart/2008/layout/HorizontalMultiLevelHierarchy"/>
    <dgm:cxn modelId="{08C6FF6E-ED40-443D-B75C-6827A78AAE2F}" srcId="{C1D130BE-4BC5-481C-BADA-14A869727C0B}" destId="{CD6C8CAB-2DB8-4BEB-8794-D14E24B56239}" srcOrd="0" destOrd="0" parTransId="{503510FB-9E52-432E-98AC-FEF28CA55F0D}" sibTransId="{F6688289-1E3B-4C81-B097-4BC4F02DEEB1}"/>
    <dgm:cxn modelId="{59E12470-60E7-402D-AB70-780B62F88FFE}" type="presOf" srcId="{49A0BB83-CEA0-46AB-9D0B-B65F612AEE4A}" destId="{DC0B28EB-699E-45BB-87EC-30E574E72821}" srcOrd="0" destOrd="0" presId="urn:microsoft.com/office/officeart/2008/layout/HorizontalMultiLevelHierarchy"/>
    <dgm:cxn modelId="{4DFC2371-3525-4748-BBE7-8447590D404A}" type="presOf" srcId="{D0F076D3-591F-4547-A436-4947EC5EA385}" destId="{690E36EE-5895-4B91-A347-3380A5FE5255}" srcOrd="0" destOrd="0" presId="urn:microsoft.com/office/officeart/2008/layout/HorizontalMultiLevelHierarchy"/>
    <dgm:cxn modelId="{C6747171-AE68-4AE9-8919-6A36E0ACE2B0}" type="presOf" srcId="{81CB6F6D-48DA-416D-9426-0B6E4B5AD737}" destId="{8F0AA0AA-EF8D-43DE-82C5-2D7BFD08315F}" srcOrd="0" destOrd="0" presId="urn:microsoft.com/office/officeart/2008/layout/HorizontalMultiLevelHierarchy"/>
    <dgm:cxn modelId="{91124872-9F74-41C7-8C6A-D035370CD04A}" type="presOf" srcId="{858DE0EA-690E-49F0-9AFD-401C85E7FBB4}" destId="{F9C34007-6CA8-4ABF-890A-47AA50B267EA}" srcOrd="0" destOrd="0" presId="urn:microsoft.com/office/officeart/2008/layout/HorizontalMultiLevelHierarchy"/>
    <dgm:cxn modelId="{63723176-B8DC-4E93-B229-28FB65F16FAA}" type="presOf" srcId="{AE65C2BF-225F-4643-AE59-9457E6820B24}" destId="{5BC2DE1D-C4D7-4BFC-A0C1-3D282DC024CD}" srcOrd="0" destOrd="0" presId="urn:microsoft.com/office/officeart/2008/layout/HorizontalMultiLevelHierarchy"/>
    <dgm:cxn modelId="{AD49A77D-FFEC-46F9-AE75-9324F1652A36}" type="presOf" srcId="{4D897679-FA7C-48A2-A57F-5D0431886FF7}" destId="{F8A94DA1-2081-4A8B-816C-A9F98C2853F5}" srcOrd="0" destOrd="0" presId="urn:microsoft.com/office/officeart/2008/layout/HorizontalMultiLevelHierarchy"/>
    <dgm:cxn modelId="{21D8E081-3F51-4864-8D5D-F1BA8CEC852F}" srcId="{434F1058-EF12-4590-BD43-496B2D33656A}" destId="{4098A15D-6BE4-4258-B7C8-EC2A1354A4D6}" srcOrd="0" destOrd="0" parTransId="{DA62F256-25CF-4854-BFCD-F90F70E5F8D4}" sibTransId="{E1090322-3287-4D3C-A158-E43939F1FA7E}"/>
    <dgm:cxn modelId="{13B4BA82-E7EF-4FB5-98C9-D814F66B4BEF}" type="presOf" srcId="{ADED253C-6A2E-4631-B1D4-F5E1FE2B5B55}" destId="{9E59A063-5821-4E2B-8FD8-3EBA8922B98E}" srcOrd="0" destOrd="0" presId="urn:microsoft.com/office/officeart/2008/layout/HorizontalMultiLevelHierarchy"/>
    <dgm:cxn modelId="{93C58A86-3E38-4D08-BAE0-11418B22C1DB}" type="presOf" srcId="{8ACEFE3D-DAAE-46D2-BF29-AF7B5FBB783D}" destId="{A00DE1AA-92DF-4607-98DB-1C3BB048DCF5}" srcOrd="0" destOrd="0" presId="urn:microsoft.com/office/officeart/2008/layout/HorizontalMultiLevelHierarchy"/>
    <dgm:cxn modelId="{0B448A87-44AF-4367-8785-F0AC108ED2DD}" type="presOf" srcId="{4098A15D-6BE4-4258-B7C8-EC2A1354A4D6}" destId="{768C7647-12EF-40E9-94EB-C1868C4AFE59}" srcOrd="0" destOrd="0" presId="urn:microsoft.com/office/officeart/2008/layout/HorizontalMultiLevelHierarchy"/>
    <dgm:cxn modelId="{605CDB89-2698-4157-8E1F-4D6677C6D46F}" type="presOf" srcId="{4DA8AE24-A75C-40AE-A6A1-13FE57AE449D}" destId="{A732D3F1-1291-409E-9A7C-778CAE167F89}" srcOrd="0" destOrd="0" presId="urn:microsoft.com/office/officeart/2008/layout/HorizontalMultiLevelHierarchy"/>
    <dgm:cxn modelId="{82D60E8A-40D3-49BC-895D-3DAB17D8AD62}" type="presOf" srcId="{96C9D5F4-FF4F-420D-8420-A926E166D7A2}" destId="{50C4D88C-9CB0-4513-8456-755395491158}" srcOrd="0" destOrd="0" presId="urn:microsoft.com/office/officeart/2008/layout/HorizontalMultiLevelHierarchy"/>
    <dgm:cxn modelId="{EB6A4F8B-0076-4AA0-A81D-3E41E4C53187}" type="presOf" srcId="{8A26916C-03BF-4B0E-92AF-656A56CF8513}" destId="{0336C92A-933C-4B9A-8AAD-80A8DB51CB00}" srcOrd="1" destOrd="0" presId="urn:microsoft.com/office/officeart/2008/layout/HorizontalMultiLevelHierarchy"/>
    <dgm:cxn modelId="{4BDF838B-A489-4DE6-9003-7CF5CCBF8353}" srcId="{8E70AA8F-7583-4AFE-9EDE-87363894E1F8}" destId="{2FAED816-5ABD-44B8-9175-AD4921C3FE98}" srcOrd="3" destOrd="0" parTransId="{2C61C4AB-FC34-4364-9323-4A9D6350BA1C}" sibTransId="{4827AEAC-F6B1-4792-BB11-A609080D91CA}"/>
    <dgm:cxn modelId="{C77F5C8D-F4DE-4573-9FDE-EBB2F5F469F1}" type="presOf" srcId="{D0F076D3-591F-4547-A436-4947EC5EA385}" destId="{ADBE13F2-10FA-4B06-99C7-09C6712A7646}" srcOrd="1" destOrd="0" presId="urn:microsoft.com/office/officeart/2008/layout/HorizontalMultiLevelHierarchy"/>
    <dgm:cxn modelId="{C3BFF295-2D54-481B-947E-4480284A189F}" type="presOf" srcId="{31BDA904-A9EF-437C-9DAF-E5BDF8C1106E}" destId="{FAF45787-F807-4BB6-923D-0C0E2CD8C149}" srcOrd="0" destOrd="0" presId="urn:microsoft.com/office/officeart/2008/layout/HorizontalMultiLevelHierarchy"/>
    <dgm:cxn modelId="{99BBE096-3DF3-4255-89AC-24F727FF2F6A}" type="presOf" srcId="{42F96A8F-BB1E-4B89-AB8E-11A0F37EB1DB}" destId="{7F2C676C-E906-4B26-892E-C728B9239429}" srcOrd="0" destOrd="0" presId="urn:microsoft.com/office/officeart/2008/layout/HorizontalMultiLevelHierarchy"/>
    <dgm:cxn modelId="{3661A398-6699-493C-A604-957A73E01291}" type="presOf" srcId="{17815460-B569-463A-BACE-734F709F874A}" destId="{D4121B60-61D6-41A4-AAB9-DE9671C8ED2F}" srcOrd="1" destOrd="0" presId="urn:microsoft.com/office/officeart/2008/layout/HorizontalMultiLevelHierarchy"/>
    <dgm:cxn modelId="{3334C099-BCC2-4024-88CF-D77B492D91C8}" type="presOf" srcId="{BB72E3E4-7E20-4FF3-87BE-AD24CB2F12EE}" destId="{A4E05C94-2209-4BF4-B627-606397BBC1C5}" srcOrd="0" destOrd="0" presId="urn:microsoft.com/office/officeart/2008/layout/HorizontalMultiLevelHierarchy"/>
    <dgm:cxn modelId="{FA7F7B9B-BCD6-48E4-84B7-A00266E14053}" type="presOf" srcId="{B3C6A11E-10F5-433C-A0FB-1B185A7D12E0}" destId="{1CD57466-73E5-43BB-AF51-980153E8039A}" srcOrd="0" destOrd="0" presId="urn:microsoft.com/office/officeart/2008/layout/HorizontalMultiLevelHierarchy"/>
    <dgm:cxn modelId="{E07BE79E-7865-47DB-84AF-7F7057F85761}" type="presOf" srcId="{8E70AA8F-7583-4AFE-9EDE-87363894E1F8}" destId="{49ADAAAB-354D-4968-9DE9-378E6595E5BB}" srcOrd="0" destOrd="0" presId="urn:microsoft.com/office/officeart/2008/layout/HorizontalMultiLevelHierarchy"/>
    <dgm:cxn modelId="{9E137BA1-2E21-43A2-A338-650B162A3662}" srcId="{D0997319-AE2C-4C46-ADCB-BA43BE3F3F54}" destId="{434F1058-EF12-4590-BD43-496B2D33656A}" srcOrd="1" destOrd="0" parTransId="{17815460-B569-463A-BACE-734F709F874A}" sibTransId="{BC8F1DC2-66B6-4B6F-BD02-84C41DB8AF5C}"/>
    <dgm:cxn modelId="{C996C3A8-B8F4-411F-B641-37F469185B57}" type="presOf" srcId="{524ED0C4-9CC2-4C2A-B51C-974FA37A7FE7}" destId="{C5F46441-018D-4AD0-9984-278FB6B3653F}" srcOrd="0" destOrd="0" presId="urn:microsoft.com/office/officeart/2008/layout/HorizontalMultiLevelHierarchy"/>
    <dgm:cxn modelId="{449FB1AA-FE60-423F-AD7C-959A05592410}" type="presOf" srcId="{858DE0EA-690E-49F0-9AFD-401C85E7FBB4}" destId="{D3331827-B92C-4419-96E8-793E8D653308}" srcOrd="1" destOrd="0" presId="urn:microsoft.com/office/officeart/2008/layout/HorizontalMultiLevelHierarchy"/>
    <dgm:cxn modelId="{00DC05AB-0E87-4D69-9934-9D14BE1C2731}" type="presOf" srcId="{503510FB-9E52-432E-98AC-FEF28CA55F0D}" destId="{60A0F5E7-D1D3-49F8-A254-CFFCBE54AAF0}" srcOrd="0" destOrd="0" presId="urn:microsoft.com/office/officeart/2008/layout/HorizontalMultiLevelHierarchy"/>
    <dgm:cxn modelId="{540F67B5-7CE8-4325-88C3-2ECA7ED151B5}" type="presOf" srcId="{E0EC0A27-9EDB-47A4-8DED-CBD1A61B9BC9}" destId="{81473451-3FF3-474B-98FB-6869E5682468}" srcOrd="0" destOrd="0" presId="urn:microsoft.com/office/officeart/2008/layout/HorizontalMultiLevelHierarchy"/>
    <dgm:cxn modelId="{7DC022B6-EC7E-4248-8376-A4A4C0054F1A}" type="presOf" srcId="{503510FB-9E52-432E-98AC-FEF28CA55F0D}" destId="{3325D373-008A-41E8-9EA1-B4B0FC90FCD2}" srcOrd="1" destOrd="0" presId="urn:microsoft.com/office/officeart/2008/layout/HorizontalMultiLevelHierarchy"/>
    <dgm:cxn modelId="{5EE5F9B8-E535-490A-81D6-FE6068C5F94F}" type="presOf" srcId="{86A07196-5E8B-49B8-84A4-6DF135FCBFFC}" destId="{6E154881-954A-429F-9BBE-E92EEB4B1011}" srcOrd="0" destOrd="0" presId="urn:microsoft.com/office/officeart/2008/layout/HorizontalMultiLevelHierarchy"/>
    <dgm:cxn modelId="{21BC0ABF-D33B-4704-99A0-AC6C60960517}" type="presOf" srcId="{87CDD4F3-E71F-44A9-B515-E47672A849B6}" destId="{329CD9E0-9945-40C9-89A5-5929AA1A3A82}" srcOrd="0" destOrd="0" presId="urn:microsoft.com/office/officeart/2008/layout/HorizontalMultiLevelHierarchy"/>
    <dgm:cxn modelId="{626342BF-3559-4137-A851-ACB1710B13E3}" srcId="{8E70AA8F-7583-4AFE-9EDE-87363894E1F8}" destId="{BF1B7062-91AB-4F1D-BD08-8D3EC4B33C1F}" srcOrd="0" destOrd="0" parTransId="{8ACEFE3D-DAAE-46D2-BF29-AF7B5FBB783D}" sibTransId="{0FF6A2D2-189B-4085-A91C-E4641E47ACCE}"/>
    <dgm:cxn modelId="{221AD8BF-6539-43E4-9EB1-23AF138D0EE2}" srcId="{D0997319-AE2C-4C46-ADCB-BA43BE3F3F54}" destId="{C1D130BE-4BC5-481C-BADA-14A869727C0B}" srcOrd="2" destOrd="0" parTransId="{8A26916C-03BF-4B0E-92AF-656A56CF8513}" sibTransId="{4F4BE6FE-AE34-4934-8B0D-8FDF04C5765F}"/>
    <dgm:cxn modelId="{25BD37C3-2196-49F3-AD2A-B163574CADC5}" type="presOf" srcId="{42F96A8F-BB1E-4B89-AB8E-11A0F37EB1DB}" destId="{F614A676-E312-4A6F-BE9F-B6E2993177B6}" srcOrd="1" destOrd="0" presId="urn:microsoft.com/office/officeart/2008/layout/HorizontalMultiLevelHierarchy"/>
    <dgm:cxn modelId="{06533EC6-3B33-4FE2-B092-DBD1E23AB973}" type="presOf" srcId="{2DCC687C-BE9B-4DD8-8A80-E970635437CA}" destId="{2B4072C3-2623-4EA4-94B7-025A9DCD72E9}" srcOrd="0" destOrd="0" presId="urn:microsoft.com/office/officeart/2008/layout/HorizontalMultiLevelHierarchy"/>
    <dgm:cxn modelId="{0419F4C6-C72F-44E5-856A-7A5E20A609B0}" srcId="{8E70AA8F-7583-4AFE-9EDE-87363894E1F8}" destId="{49A0BB83-CEA0-46AB-9D0B-B65F612AEE4A}" srcOrd="1" destOrd="0" parTransId="{AE65C2BF-225F-4643-AE59-9457E6820B24}" sibTransId="{2328B74F-4929-49C4-A401-C9585D838753}"/>
    <dgm:cxn modelId="{FA31A5C7-F378-42C8-A9AD-F864553E6C8E}" type="presOf" srcId="{23EDCDD5-F170-402F-A11E-15FD466C3CE5}" destId="{709C936E-7E65-4B5A-AC40-4548A25152AC}" srcOrd="0" destOrd="0" presId="urn:microsoft.com/office/officeart/2008/layout/HorizontalMultiLevelHierarchy"/>
    <dgm:cxn modelId="{19B9B5C9-B669-4991-9912-383473355532}" type="presOf" srcId="{33587DE4-8F92-4CA4-A011-892138D47DA7}" destId="{8F47A465-73D6-48E5-83FD-F149301C3BBD}" srcOrd="0" destOrd="0" presId="urn:microsoft.com/office/officeart/2008/layout/HorizontalMultiLevelHierarchy"/>
    <dgm:cxn modelId="{587DEAC9-60C3-45DB-9C9F-C26256D35C0F}" srcId="{C1D130BE-4BC5-481C-BADA-14A869727C0B}" destId="{16945C89-930D-4764-8730-4F183F8B4C87}" srcOrd="1" destOrd="0" parTransId="{B3C6A11E-10F5-433C-A0FB-1B185A7D12E0}" sibTransId="{5C8BCF49-4277-47C2-9543-A10467E88E20}"/>
    <dgm:cxn modelId="{EDD069CE-E724-4C0A-92C6-2204B289CF24}" type="presOf" srcId="{DA62F256-25CF-4854-BFCD-F90F70E5F8D4}" destId="{037062E2-BE96-4A8B-9D2F-1FA0857207C1}" srcOrd="0" destOrd="0" presId="urn:microsoft.com/office/officeart/2008/layout/HorizontalMultiLevelHierarchy"/>
    <dgm:cxn modelId="{46C105CF-449F-4F1C-B399-CE70EC74C4C8}" srcId="{BF1B7062-91AB-4F1D-BD08-8D3EC4B33C1F}" destId="{D11BAA21-3D0E-4BFE-97F1-F349F96BB7F2}" srcOrd="3" destOrd="0" parTransId="{524ED0C4-9CC2-4C2A-B51C-974FA37A7FE7}" sibTransId="{632B7E11-8BCB-44BB-80A1-C58DA59BDECF}"/>
    <dgm:cxn modelId="{4A7380CF-8162-4F2E-9F90-B51642631E94}" srcId="{49A0BB83-CEA0-46AB-9D0B-B65F612AEE4A}" destId="{C1F68F19-94EA-4970-A79B-863E823848E5}" srcOrd="2" destOrd="0" parTransId="{0F1B911F-6353-4AE6-9EEF-D49625DE905E}" sibTransId="{60DB14D8-838D-4A63-A334-C12EB1C7625D}"/>
    <dgm:cxn modelId="{983AD7DE-4E8D-496F-BCB8-C95CB034A01D}" type="presOf" srcId="{C7C06085-9DF0-469C-90B3-434C5E418A6D}" destId="{799FD5E4-5D76-4338-BDA8-9F7F790A3A29}" srcOrd="1" destOrd="0" presId="urn:microsoft.com/office/officeart/2008/layout/HorizontalMultiLevelHierarchy"/>
    <dgm:cxn modelId="{C5BE0DE1-3793-4C23-A900-78112F2919D4}" srcId="{8E70AA8F-7583-4AFE-9EDE-87363894E1F8}" destId="{DAFF3CB8-4780-4F42-8F5A-A2879CF5C5A6}" srcOrd="2" destOrd="0" parTransId="{BB72E3E4-7E20-4FF3-87BE-AD24CB2F12EE}" sibTransId="{1E1C3655-4299-4282-B808-C53E3FABF68D}"/>
    <dgm:cxn modelId="{32BA70E3-2B88-4E2B-9094-EE86858857DA}" srcId="{BF1B7062-91AB-4F1D-BD08-8D3EC4B33C1F}" destId="{33587DE4-8F92-4CA4-A011-892138D47DA7}" srcOrd="4" destOrd="0" parTransId="{31BDA904-A9EF-437C-9DAF-E5BDF8C1106E}" sibTransId="{359CEDC3-C134-4529-AEBB-BBDE1EA7D255}"/>
    <dgm:cxn modelId="{870D94E8-9751-454A-BABA-EA45EF84CC1C}" type="presOf" srcId="{C1F68F19-94EA-4970-A79B-863E823848E5}" destId="{42C465EB-33D9-4AD2-A33B-930C8E39ED41}" srcOrd="0" destOrd="0" presId="urn:microsoft.com/office/officeart/2008/layout/HorizontalMultiLevelHierarchy"/>
    <dgm:cxn modelId="{B7674FEE-4F81-43E5-A853-47CF1B66D2AD}" type="presOf" srcId="{BF1B7062-91AB-4F1D-BD08-8D3EC4B33C1F}" destId="{F9F18759-F577-4686-9C34-EB964D732C77}" srcOrd="0" destOrd="0" presId="urn:microsoft.com/office/officeart/2008/layout/HorizontalMultiLevelHierarchy"/>
    <dgm:cxn modelId="{8D6DF9EE-A2D8-412C-887B-0C054D51DFA0}" type="presOf" srcId="{2DCC687C-BE9B-4DD8-8A80-E970635437CA}" destId="{7260B369-A7E2-44EA-98FE-B408D79B13A6}" srcOrd="1" destOrd="0" presId="urn:microsoft.com/office/officeart/2008/layout/HorizontalMultiLevelHierarchy"/>
    <dgm:cxn modelId="{7CDA6FEF-3872-4337-84FA-0DD423E0FBC5}" srcId="{BF1B7062-91AB-4F1D-BD08-8D3EC4B33C1F}" destId="{ADED253C-6A2E-4631-B1D4-F5E1FE2B5B55}" srcOrd="2" destOrd="0" parTransId="{23EDCDD5-F170-402F-A11E-15FD466C3CE5}" sibTransId="{074D77D4-B07D-447C-B97C-356C65F95759}"/>
    <dgm:cxn modelId="{F4D4E3EF-4C7A-4DD4-B693-2A68087757F8}" srcId="{49A0BB83-CEA0-46AB-9D0B-B65F612AEE4A}" destId="{4DA8AE24-A75C-40AE-A6A1-13FE57AE449D}" srcOrd="1" destOrd="0" parTransId="{2DCC687C-BE9B-4DD8-8A80-E970635437CA}" sibTransId="{DF4C3ABC-A688-4048-91A3-DFE9CE606182}"/>
    <dgm:cxn modelId="{0A8FCBF8-AD1F-4CF4-8568-2F5CBABA5157}" srcId="{49A0BB83-CEA0-46AB-9D0B-B65F612AEE4A}" destId="{3EC8FF9E-3113-473A-A5E5-ABD9C5F94794}" srcOrd="3" destOrd="0" parTransId="{87CDD4F3-E71F-44A9-B515-E47672A849B6}" sibTransId="{25369813-4686-4B37-9746-915D5E2ABB1B}"/>
    <dgm:cxn modelId="{2279FAFA-FB88-4C2D-B0C1-6B2ACC4BBF39}" type="presOf" srcId="{D937D902-C50B-4BEC-9C1F-D9880BCC701B}" destId="{30A455D9-9D31-498C-B006-B59A4D0FAC39}" srcOrd="1" destOrd="0" presId="urn:microsoft.com/office/officeart/2008/layout/HorizontalMultiLevelHierarchy"/>
    <dgm:cxn modelId="{A3A0BCFB-D8D9-4632-B5AB-CF4EFA2E3C41}" srcId="{BF1B7062-91AB-4F1D-BD08-8D3EC4B33C1F}" destId="{4D897679-FA7C-48A2-A57F-5D0431886FF7}" srcOrd="0" destOrd="0" parTransId="{C7C06085-9DF0-469C-90B3-434C5E418A6D}" sibTransId="{D55B2488-3E22-41F8-99B8-F1276460587D}"/>
    <dgm:cxn modelId="{6B84BBFC-A091-4525-A53A-310AE57146D4}" type="presOf" srcId="{D11BAA21-3D0E-4BFE-97F1-F349F96BB7F2}" destId="{E35C2840-DB93-493D-B275-166B0E0C4A9D}" srcOrd="0" destOrd="0" presId="urn:microsoft.com/office/officeart/2008/layout/HorizontalMultiLevelHierarchy"/>
    <dgm:cxn modelId="{BC1D60FE-A17A-4459-A412-7BD781EE41A1}" type="presOf" srcId="{31BDA904-A9EF-437C-9DAF-E5BDF8C1106E}" destId="{8B0AB1CA-7D19-4139-820F-FBEA5B4373F8}" srcOrd="1" destOrd="0" presId="urn:microsoft.com/office/officeart/2008/layout/HorizontalMultiLevelHierarchy"/>
    <dgm:cxn modelId="{3E8C5480-73D9-4EE3-932D-82721BB1E7B2}" type="presParOf" srcId="{50C4D88C-9CB0-4513-8456-755395491158}" destId="{506FBA0B-6598-4404-B87A-56869B8718E3}" srcOrd="0" destOrd="0" presId="urn:microsoft.com/office/officeart/2008/layout/HorizontalMultiLevelHierarchy"/>
    <dgm:cxn modelId="{AD087DA0-5EB4-49EE-82D3-F6C47200DD79}" type="presParOf" srcId="{506FBA0B-6598-4404-B87A-56869B8718E3}" destId="{DCF5B4EF-DE4F-4292-A3B2-724C163A44AB}" srcOrd="0" destOrd="0" presId="urn:microsoft.com/office/officeart/2008/layout/HorizontalMultiLevelHierarchy"/>
    <dgm:cxn modelId="{AD864577-5B7E-4328-AC26-287C80C6BEA3}" type="presParOf" srcId="{506FBA0B-6598-4404-B87A-56869B8718E3}" destId="{7E8A6FC8-F240-4C27-8F75-0549E9D1CE4E}" srcOrd="1" destOrd="0" presId="urn:microsoft.com/office/officeart/2008/layout/HorizontalMultiLevelHierarchy"/>
    <dgm:cxn modelId="{0D5824EC-96D2-4284-930C-3DC3234577D3}" type="presParOf" srcId="{7E8A6FC8-F240-4C27-8F75-0549E9D1CE4E}" destId="{BE328E0A-C287-4B1A-BD90-C0F3098FFCD9}" srcOrd="0" destOrd="0" presId="urn:microsoft.com/office/officeart/2008/layout/HorizontalMultiLevelHierarchy"/>
    <dgm:cxn modelId="{FF3EDB3F-3E5D-484F-B7EB-2D9D119CC084}" type="presParOf" srcId="{BE328E0A-C287-4B1A-BD90-C0F3098FFCD9}" destId="{1EB559E9-DB95-4028-B960-01A592B99E92}" srcOrd="0" destOrd="0" presId="urn:microsoft.com/office/officeart/2008/layout/HorizontalMultiLevelHierarchy"/>
    <dgm:cxn modelId="{6E796F25-24CC-4F5D-8AB9-96C968A94D86}" type="presParOf" srcId="{7E8A6FC8-F240-4C27-8F75-0549E9D1CE4E}" destId="{9893F228-CFAA-415F-97D9-8C8EA9FB1BC5}" srcOrd="1" destOrd="0" presId="urn:microsoft.com/office/officeart/2008/layout/HorizontalMultiLevelHierarchy"/>
    <dgm:cxn modelId="{F5FE272E-5A1A-4232-A41E-5E8F96E754E7}" type="presParOf" srcId="{9893F228-CFAA-415F-97D9-8C8EA9FB1BC5}" destId="{49ADAAAB-354D-4968-9DE9-378E6595E5BB}" srcOrd="0" destOrd="0" presId="urn:microsoft.com/office/officeart/2008/layout/HorizontalMultiLevelHierarchy"/>
    <dgm:cxn modelId="{480D07D8-1F1B-4569-80CC-321A6295D639}" type="presParOf" srcId="{9893F228-CFAA-415F-97D9-8C8EA9FB1BC5}" destId="{46E2FE2A-A747-4DEE-AAF5-53A8EE84B06B}" srcOrd="1" destOrd="0" presId="urn:microsoft.com/office/officeart/2008/layout/HorizontalMultiLevelHierarchy"/>
    <dgm:cxn modelId="{50D16AF4-5755-49CA-8CD2-80B55C410D0F}" type="presParOf" srcId="{46E2FE2A-A747-4DEE-AAF5-53A8EE84B06B}" destId="{A00DE1AA-92DF-4607-98DB-1C3BB048DCF5}" srcOrd="0" destOrd="0" presId="urn:microsoft.com/office/officeart/2008/layout/HorizontalMultiLevelHierarchy"/>
    <dgm:cxn modelId="{431D5585-68BC-402E-A1E8-6AA95F6C7608}" type="presParOf" srcId="{A00DE1AA-92DF-4607-98DB-1C3BB048DCF5}" destId="{FCADF10C-D51C-403A-B095-E884F4771DA4}" srcOrd="0" destOrd="0" presId="urn:microsoft.com/office/officeart/2008/layout/HorizontalMultiLevelHierarchy"/>
    <dgm:cxn modelId="{15D334E0-0A38-4F4E-ADC1-2877693952AA}" type="presParOf" srcId="{46E2FE2A-A747-4DEE-AAF5-53A8EE84B06B}" destId="{82114EE1-887C-431E-AFFD-6C4277E5953D}" srcOrd="1" destOrd="0" presId="urn:microsoft.com/office/officeart/2008/layout/HorizontalMultiLevelHierarchy"/>
    <dgm:cxn modelId="{8C9D2DBB-76FF-4B29-A8BF-76E1595D5F7B}" type="presParOf" srcId="{82114EE1-887C-431E-AFFD-6C4277E5953D}" destId="{F9F18759-F577-4686-9C34-EB964D732C77}" srcOrd="0" destOrd="0" presId="urn:microsoft.com/office/officeart/2008/layout/HorizontalMultiLevelHierarchy"/>
    <dgm:cxn modelId="{24FAD8B7-4C36-4713-89C8-0B0C5F8DE428}" type="presParOf" srcId="{82114EE1-887C-431E-AFFD-6C4277E5953D}" destId="{54BDE115-2A0C-4217-89B4-E7E8586234DB}" srcOrd="1" destOrd="0" presId="urn:microsoft.com/office/officeart/2008/layout/HorizontalMultiLevelHierarchy"/>
    <dgm:cxn modelId="{3D372E14-A8FD-44D7-8131-FA6D9CF22B67}" type="presParOf" srcId="{54BDE115-2A0C-4217-89B4-E7E8586234DB}" destId="{6D05A90F-5A8D-42F9-A2CB-82F28C0FF2BC}" srcOrd="0" destOrd="0" presId="urn:microsoft.com/office/officeart/2008/layout/HorizontalMultiLevelHierarchy"/>
    <dgm:cxn modelId="{F40CABF1-22E9-41F5-8B23-F27E5206AE95}" type="presParOf" srcId="{6D05A90F-5A8D-42F9-A2CB-82F28C0FF2BC}" destId="{799FD5E4-5D76-4338-BDA8-9F7F790A3A29}" srcOrd="0" destOrd="0" presId="urn:microsoft.com/office/officeart/2008/layout/HorizontalMultiLevelHierarchy"/>
    <dgm:cxn modelId="{DFBDF78B-1D23-455B-94D1-7FEC00C888AD}" type="presParOf" srcId="{54BDE115-2A0C-4217-89B4-E7E8586234DB}" destId="{1C875D8C-6779-45C7-9DF1-E38374A18533}" srcOrd="1" destOrd="0" presId="urn:microsoft.com/office/officeart/2008/layout/HorizontalMultiLevelHierarchy"/>
    <dgm:cxn modelId="{00ED9729-0AF6-4E65-A263-4A217F294ED2}" type="presParOf" srcId="{1C875D8C-6779-45C7-9DF1-E38374A18533}" destId="{F8A94DA1-2081-4A8B-816C-A9F98C2853F5}" srcOrd="0" destOrd="0" presId="urn:microsoft.com/office/officeart/2008/layout/HorizontalMultiLevelHierarchy"/>
    <dgm:cxn modelId="{44FDD24A-6CFB-46B1-BEB2-69DCD38B52E4}" type="presParOf" srcId="{1C875D8C-6779-45C7-9DF1-E38374A18533}" destId="{BE78AA36-14CC-406D-9CAF-F23AD3DFDFED}" srcOrd="1" destOrd="0" presId="urn:microsoft.com/office/officeart/2008/layout/HorizontalMultiLevelHierarchy"/>
    <dgm:cxn modelId="{944A07B4-171F-46FD-9A9A-D9F32623A61F}" type="presParOf" srcId="{54BDE115-2A0C-4217-89B4-E7E8586234DB}" destId="{8F0AA0AA-EF8D-43DE-82C5-2D7BFD08315F}" srcOrd="2" destOrd="0" presId="urn:microsoft.com/office/officeart/2008/layout/HorizontalMultiLevelHierarchy"/>
    <dgm:cxn modelId="{8E6E216A-B20D-4FF2-9976-6A4AD97AA5AD}" type="presParOf" srcId="{8F0AA0AA-EF8D-43DE-82C5-2D7BFD08315F}" destId="{FD15021D-62B7-4A46-932A-654E778DB44B}" srcOrd="0" destOrd="0" presId="urn:microsoft.com/office/officeart/2008/layout/HorizontalMultiLevelHierarchy"/>
    <dgm:cxn modelId="{35774EDF-2194-4938-91A1-C2CF1298126D}" type="presParOf" srcId="{54BDE115-2A0C-4217-89B4-E7E8586234DB}" destId="{92C6DF90-94C7-417B-A0B7-472D3330DFC6}" srcOrd="3" destOrd="0" presId="urn:microsoft.com/office/officeart/2008/layout/HorizontalMultiLevelHierarchy"/>
    <dgm:cxn modelId="{62003EF5-E134-419F-A088-B5DDC40A2688}" type="presParOf" srcId="{92C6DF90-94C7-417B-A0B7-472D3330DFC6}" destId="{571B8373-7DFF-4282-8AA6-80F7CC7EA7C8}" srcOrd="0" destOrd="0" presId="urn:microsoft.com/office/officeart/2008/layout/HorizontalMultiLevelHierarchy"/>
    <dgm:cxn modelId="{E322A04F-806C-4932-A9A0-D0423C9769E7}" type="presParOf" srcId="{92C6DF90-94C7-417B-A0B7-472D3330DFC6}" destId="{2E395B4D-D351-4809-A97B-BD1545D151D6}" srcOrd="1" destOrd="0" presId="urn:microsoft.com/office/officeart/2008/layout/HorizontalMultiLevelHierarchy"/>
    <dgm:cxn modelId="{F777DE2D-E80D-4EA4-B833-A3841CA97B4B}" type="presParOf" srcId="{54BDE115-2A0C-4217-89B4-E7E8586234DB}" destId="{709C936E-7E65-4B5A-AC40-4548A25152AC}" srcOrd="4" destOrd="0" presId="urn:microsoft.com/office/officeart/2008/layout/HorizontalMultiLevelHierarchy"/>
    <dgm:cxn modelId="{32E88D2B-0DC3-47DF-8E3C-D73500CC12ED}" type="presParOf" srcId="{709C936E-7E65-4B5A-AC40-4548A25152AC}" destId="{79D3B186-92E5-40C6-A995-4173A00C788D}" srcOrd="0" destOrd="0" presId="urn:microsoft.com/office/officeart/2008/layout/HorizontalMultiLevelHierarchy"/>
    <dgm:cxn modelId="{3F754718-EE57-49C1-BB11-DB71B1789707}" type="presParOf" srcId="{54BDE115-2A0C-4217-89B4-E7E8586234DB}" destId="{288D4D72-A885-421E-B53B-89BEC0A8E191}" srcOrd="5" destOrd="0" presId="urn:microsoft.com/office/officeart/2008/layout/HorizontalMultiLevelHierarchy"/>
    <dgm:cxn modelId="{7057AA4D-B137-41ED-BB23-97CC6A463ECC}" type="presParOf" srcId="{288D4D72-A885-421E-B53B-89BEC0A8E191}" destId="{9E59A063-5821-4E2B-8FD8-3EBA8922B98E}" srcOrd="0" destOrd="0" presId="urn:microsoft.com/office/officeart/2008/layout/HorizontalMultiLevelHierarchy"/>
    <dgm:cxn modelId="{B1430112-47C7-421A-A831-AD9432EA9447}" type="presParOf" srcId="{288D4D72-A885-421E-B53B-89BEC0A8E191}" destId="{A60165E3-8C06-4086-B11F-0E702421E440}" srcOrd="1" destOrd="0" presId="urn:microsoft.com/office/officeart/2008/layout/HorizontalMultiLevelHierarchy"/>
    <dgm:cxn modelId="{4606825E-DF7B-4A4B-970B-90A4366FCD75}" type="presParOf" srcId="{54BDE115-2A0C-4217-89B4-E7E8586234DB}" destId="{C5F46441-018D-4AD0-9984-278FB6B3653F}" srcOrd="6" destOrd="0" presId="urn:microsoft.com/office/officeart/2008/layout/HorizontalMultiLevelHierarchy"/>
    <dgm:cxn modelId="{2195A6B6-C0E7-4925-B522-ECD20392777B}" type="presParOf" srcId="{C5F46441-018D-4AD0-9984-278FB6B3653F}" destId="{D9EA4352-69AB-4BEF-A3B8-25557C0E3D3D}" srcOrd="0" destOrd="0" presId="urn:microsoft.com/office/officeart/2008/layout/HorizontalMultiLevelHierarchy"/>
    <dgm:cxn modelId="{76A9F908-999F-4A91-9814-EDE65165187B}" type="presParOf" srcId="{54BDE115-2A0C-4217-89B4-E7E8586234DB}" destId="{0E92266F-6127-4D65-BB11-33FD467F105D}" srcOrd="7" destOrd="0" presId="urn:microsoft.com/office/officeart/2008/layout/HorizontalMultiLevelHierarchy"/>
    <dgm:cxn modelId="{F306A3C1-7973-4F7A-943B-6ADCD306A7F6}" type="presParOf" srcId="{0E92266F-6127-4D65-BB11-33FD467F105D}" destId="{E35C2840-DB93-493D-B275-166B0E0C4A9D}" srcOrd="0" destOrd="0" presId="urn:microsoft.com/office/officeart/2008/layout/HorizontalMultiLevelHierarchy"/>
    <dgm:cxn modelId="{A835B48E-3A8E-4008-A8CE-A71601018F84}" type="presParOf" srcId="{0E92266F-6127-4D65-BB11-33FD467F105D}" destId="{D8A053A6-8CD3-465F-9ECC-7C0D113893EE}" srcOrd="1" destOrd="0" presId="urn:microsoft.com/office/officeart/2008/layout/HorizontalMultiLevelHierarchy"/>
    <dgm:cxn modelId="{8D24C396-9E55-4005-8D86-DB4BF7EBCB4D}" type="presParOf" srcId="{54BDE115-2A0C-4217-89B4-E7E8586234DB}" destId="{FAF45787-F807-4BB6-923D-0C0E2CD8C149}" srcOrd="8" destOrd="0" presId="urn:microsoft.com/office/officeart/2008/layout/HorizontalMultiLevelHierarchy"/>
    <dgm:cxn modelId="{B8C3ED00-AC23-46BD-B1D0-119DB40B33C6}" type="presParOf" srcId="{FAF45787-F807-4BB6-923D-0C0E2CD8C149}" destId="{8B0AB1CA-7D19-4139-820F-FBEA5B4373F8}" srcOrd="0" destOrd="0" presId="urn:microsoft.com/office/officeart/2008/layout/HorizontalMultiLevelHierarchy"/>
    <dgm:cxn modelId="{CEE7DFA3-513B-4D24-A57B-0052FB3C207F}" type="presParOf" srcId="{54BDE115-2A0C-4217-89B4-E7E8586234DB}" destId="{C3306D52-2437-4385-ACA3-7D8CE9EB0569}" srcOrd="9" destOrd="0" presId="urn:microsoft.com/office/officeart/2008/layout/HorizontalMultiLevelHierarchy"/>
    <dgm:cxn modelId="{08DF73F5-ABF4-4C8B-834F-6A47AAB5E318}" type="presParOf" srcId="{C3306D52-2437-4385-ACA3-7D8CE9EB0569}" destId="{8F47A465-73D6-48E5-83FD-F149301C3BBD}" srcOrd="0" destOrd="0" presId="urn:microsoft.com/office/officeart/2008/layout/HorizontalMultiLevelHierarchy"/>
    <dgm:cxn modelId="{1CF8F74E-E989-4A3F-908A-DCDB6D590139}" type="presParOf" srcId="{C3306D52-2437-4385-ACA3-7D8CE9EB0569}" destId="{E32E857A-F3CD-4263-AB35-D59E97F83B1D}" srcOrd="1" destOrd="0" presId="urn:microsoft.com/office/officeart/2008/layout/HorizontalMultiLevelHierarchy"/>
    <dgm:cxn modelId="{88639E4F-31C1-497A-AD08-8F53C1B0472D}" type="presParOf" srcId="{46E2FE2A-A747-4DEE-AAF5-53A8EE84B06B}" destId="{5BC2DE1D-C4D7-4BFC-A0C1-3D282DC024CD}" srcOrd="2" destOrd="0" presId="urn:microsoft.com/office/officeart/2008/layout/HorizontalMultiLevelHierarchy"/>
    <dgm:cxn modelId="{BC66EAF4-D03A-4B97-B08C-7F76CC2F9B24}" type="presParOf" srcId="{5BC2DE1D-C4D7-4BFC-A0C1-3D282DC024CD}" destId="{0C497864-2349-44C5-8D11-5F89748F0519}" srcOrd="0" destOrd="0" presId="urn:microsoft.com/office/officeart/2008/layout/HorizontalMultiLevelHierarchy"/>
    <dgm:cxn modelId="{40D40725-FA7B-4511-B16E-C1EFB81A0750}" type="presParOf" srcId="{46E2FE2A-A747-4DEE-AAF5-53A8EE84B06B}" destId="{9DEE4079-5D60-4753-AEAE-EF1343D66E8F}" srcOrd="3" destOrd="0" presId="urn:microsoft.com/office/officeart/2008/layout/HorizontalMultiLevelHierarchy"/>
    <dgm:cxn modelId="{6042F3FD-F18F-4D46-8EC2-9066A06C2B78}" type="presParOf" srcId="{9DEE4079-5D60-4753-AEAE-EF1343D66E8F}" destId="{DC0B28EB-699E-45BB-87EC-30E574E72821}" srcOrd="0" destOrd="0" presId="urn:microsoft.com/office/officeart/2008/layout/HorizontalMultiLevelHierarchy"/>
    <dgm:cxn modelId="{608302F7-1EC7-4ADD-8AE7-438FDE7034DF}" type="presParOf" srcId="{9DEE4079-5D60-4753-AEAE-EF1343D66E8F}" destId="{F96545F6-99BC-46B9-929F-A49863AE73CF}" srcOrd="1" destOrd="0" presId="urn:microsoft.com/office/officeart/2008/layout/HorizontalMultiLevelHierarchy"/>
    <dgm:cxn modelId="{A053F520-2BFF-4D78-ABA3-085B38E9BB46}" type="presParOf" srcId="{F96545F6-99BC-46B9-929F-A49863AE73CF}" destId="{7F2C676C-E906-4B26-892E-C728B9239429}" srcOrd="0" destOrd="0" presId="urn:microsoft.com/office/officeart/2008/layout/HorizontalMultiLevelHierarchy"/>
    <dgm:cxn modelId="{DC63E4DA-2911-48A2-B45E-2A3F7F320F95}" type="presParOf" srcId="{7F2C676C-E906-4B26-892E-C728B9239429}" destId="{F614A676-E312-4A6F-BE9F-B6E2993177B6}" srcOrd="0" destOrd="0" presId="urn:microsoft.com/office/officeart/2008/layout/HorizontalMultiLevelHierarchy"/>
    <dgm:cxn modelId="{98791E69-7D35-4CF1-9761-6C24C2696866}" type="presParOf" srcId="{F96545F6-99BC-46B9-929F-A49863AE73CF}" destId="{BDC558D4-E8FE-4402-98B6-954B2DED52D1}" srcOrd="1" destOrd="0" presId="urn:microsoft.com/office/officeart/2008/layout/HorizontalMultiLevelHierarchy"/>
    <dgm:cxn modelId="{FDBEFCAE-1435-4A02-93C8-6822FB954273}" type="presParOf" srcId="{BDC558D4-E8FE-4402-98B6-954B2DED52D1}" destId="{81473451-3FF3-474B-98FB-6869E5682468}" srcOrd="0" destOrd="0" presId="urn:microsoft.com/office/officeart/2008/layout/HorizontalMultiLevelHierarchy"/>
    <dgm:cxn modelId="{B5D9CD1B-6DBD-4706-A7AF-2E52473396EC}" type="presParOf" srcId="{BDC558D4-E8FE-4402-98B6-954B2DED52D1}" destId="{FA9000AC-D9F7-467D-A35D-DAD03D5FE186}" srcOrd="1" destOrd="0" presId="urn:microsoft.com/office/officeart/2008/layout/HorizontalMultiLevelHierarchy"/>
    <dgm:cxn modelId="{796470D6-7D1B-4420-B116-3CDECA6C4332}" type="presParOf" srcId="{F96545F6-99BC-46B9-929F-A49863AE73CF}" destId="{2B4072C3-2623-4EA4-94B7-025A9DCD72E9}" srcOrd="2" destOrd="0" presId="urn:microsoft.com/office/officeart/2008/layout/HorizontalMultiLevelHierarchy"/>
    <dgm:cxn modelId="{26C198F0-9097-4B40-A099-0CF7BB5FE30B}" type="presParOf" srcId="{2B4072C3-2623-4EA4-94B7-025A9DCD72E9}" destId="{7260B369-A7E2-44EA-98FE-B408D79B13A6}" srcOrd="0" destOrd="0" presId="urn:microsoft.com/office/officeart/2008/layout/HorizontalMultiLevelHierarchy"/>
    <dgm:cxn modelId="{561417E8-7976-4A1C-A015-08E3E4F64664}" type="presParOf" srcId="{F96545F6-99BC-46B9-929F-A49863AE73CF}" destId="{1FAAD552-F495-4DB6-9E8B-FAAEB560B2F6}" srcOrd="3" destOrd="0" presId="urn:microsoft.com/office/officeart/2008/layout/HorizontalMultiLevelHierarchy"/>
    <dgm:cxn modelId="{EA019D1A-3F95-4D56-9997-0C9D24A997C5}" type="presParOf" srcId="{1FAAD552-F495-4DB6-9E8B-FAAEB560B2F6}" destId="{A732D3F1-1291-409E-9A7C-778CAE167F89}" srcOrd="0" destOrd="0" presId="urn:microsoft.com/office/officeart/2008/layout/HorizontalMultiLevelHierarchy"/>
    <dgm:cxn modelId="{166A27F3-4442-45CA-8BA6-9A502B1E32B0}" type="presParOf" srcId="{1FAAD552-F495-4DB6-9E8B-FAAEB560B2F6}" destId="{AB597740-6E08-435C-B03D-74A3C28F6C7A}" srcOrd="1" destOrd="0" presId="urn:microsoft.com/office/officeart/2008/layout/HorizontalMultiLevelHierarchy"/>
    <dgm:cxn modelId="{B13D283A-3BF4-4186-8B35-E30A1BFCB7DD}" type="presParOf" srcId="{F96545F6-99BC-46B9-929F-A49863AE73CF}" destId="{9458E52A-38CE-4EE6-A620-F703970B8164}" srcOrd="4" destOrd="0" presId="urn:microsoft.com/office/officeart/2008/layout/HorizontalMultiLevelHierarchy"/>
    <dgm:cxn modelId="{CBEB0CDE-7383-4B68-B06E-63692D94162C}" type="presParOf" srcId="{9458E52A-38CE-4EE6-A620-F703970B8164}" destId="{32DEAE14-947F-44E2-8D61-C101875AB07D}" srcOrd="0" destOrd="0" presId="urn:microsoft.com/office/officeart/2008/layout/HorizontalMultiLevelHierarchy"/>
    <dgm:cxn modelId="{268498D5-D929-4DAB-AC0F-7C00397892F8}" type="presParOf" srcId="{F96545F6-99BC-46B9-929F-A49863AE73CF}" destId="{69E10A20-FCE4-4D83-88A1-14D71635473C}" srcOrd="5" destOrd="0" presId="urn:microsoft.com/office/officeart/2008/layout/HorizontalMultiLevelHierarchy"/>
    <dgm:cxn modelId="{C53C4149-E278-4B46-8FC3-6C96C874D326}" type="presParOf" srcId="{69E10A20-FCE4-4D83-88A1-14D71635473C}" destId="{42C465EB-33D9-4AD2-A33B-930C8E39ED41}" srcOrd="0" destOrd="0" presId="urn:microsoft.com/office/officeart/2008/layout/HorizontalMultiLevelHierarchy"/>
    <dgm:cxn modelId="{148DD049-D5F2-44AA-9110-DDD80E88C1F7}" type="presParOf" srcId="{69E10A20-FCE4-4D83-88A1-14D71635473C}" destId="{2EF723DA-603B-48F9-A950-71099D97A93D}" srcOrd="1" destOrd="0" presId="urn:microsoft.com/office/officeart/2008/layout/HorizontalMultiLevelHierarchy"/>
    <dgm:cxn modelId="{E6A09153-7C65-4D54-AF4C-8F005668B195}" type="presParOf" srcId="{F96545F6-99BC-46B9-929F-A49863AE73CF}" destId="{329CD9E0-9945-40C9-89A5-5929AA1A3A82}" srcOrd="6" destOrd="0" presId="urn:microsoft.com/office/officeart/2008/layout/HorizontalMultiLevelHierarchy"/>
    <dgm:cxn modelId="{6218AF02-8BFB-41EC-94F2-A7B83BEFA856}" type="presParOf" srcId="{329CD9E0-9945-40C9-89A5-5929AA1A3A82}" destId="{27874C32-AAAE-43E2-B803-B20B1E2D7450}" srcOrd="0" destOrd="0" presId="urn:microsoft.com/office/officeart/2008/layout/HorizontalMultiLevelHierarchy"/>
    <dgm:cxn modelId="{5191E024-DDD0-405C-A806-A32820FD8CC5}" type="presParOf" srcId="{F96545F6-99BC-46B9-929F-A49863AE73CF}" destId="{413EDB34-EEB8-4846-8BF9-D4944F61EBD3}" srcOrd="7" destOrd="0" presId="urn:microsoft.com/office/officeart/2008/layout/HorizontalMultiLevelHierarchy"/>
    <dgm:cxn modelId="{A545499C-31A8-4879-8B70-422B8B7E16E8}" type="presParOf" srcId="{413EDB34-EEB8-4846-8BF9-D4944F61EBD3}" destId="{84D7F889-3498-48D8-ADC3-14251347C81B}" srcOrd="0" destOrd="0" presId="urn:microsoft.com/office/officeart/2008/layout/HorizontalMultiLevelHierarchy"/>
    <dgm:cxn modelId="{A0A19357-EB8B-4612-A7DA-0BAC1172C650}" type="presParOf" srcId="{413EDB34-EEB8-4846-8BF9-D4944F61EBD3}" destId="{E91235D0-FC5C-4DA2-AB29-EC075B3DCA81}" srcOrd="1" destOrd="0" presId="urn:microsoft.com/office/officeart/2008/layout/HorizontalMultiLevelHierarchy"/>
    <dgm:cxn modelId="{726D319B-7F9C-410A-923E-E7D70D1E9BE5}" type="presParOf" srcId="{46E2FE2A-A747-4DEE-AAF5-53A8EE84B06B}" destId="{A4E05C94-2209-4BF4-B627-606397BBC1C5}" srcOrd="4" destOrd="0" presId="urn:microsoft.com/office/officeart/2008/layout/HorizontalMultiLevelHierarchy"/>
    <dgm:cxn modelId="{BC8E1C1E-4F81-4EDB-B206-0F9F561D1BE3}" type="presParOf" srcId="{A4E05C94-2209-4BF4-B627-606397BBC1C5}" destId="{6DCFD290-34D5-45FC-84C5-03B4A3AFAD52}" srcOrd="0" destOrd="0" presId="urn:microsoft.com/office/officeart/2008/layout/HorizontalMultiLevelHierarchy"/>
    <dgm:cxn modelId="{C24C0CF1-8773-4C67-935E-616A1C69F1B6}" type="presParOf" srcId="{46E2FE2A-A747-4DEE-AAF5-53A8EE84B06B}" destId="{D6C31984-0B65-416F-A6B1-E0A22FFF6163}" srcOrd="5" destOrd="0" presId="urn:microsoft.com/office/officeart/2008/layout/HorizontalMultiLevelHierarchy"/>
    <dgm:cxn modelId="{BF5C4A11-F9CD-408A-9CA8-15A0D2A36E35}" type="presParOf" srcId="{D6C31984-0B65-416F-A6B1-E0A22FFF6163}" destId="{485D5E8B-1295-4B72-BF14-74B2BE7008EE}" srcOrd="0" destOrd="0" presId="urn:microsoft.com/office/officeart/2008/layout/HorizontalMultiLevelHierarchy"/>
    <dgm:cxn modelId="{F6BDEA0C-9395-46B8-B4A0-F02379190F75}" type="presParOf" srcId="{D6C31984-0B65-416F-A6B1-E0A22FFF6163}" destId="{49EAA066-0495-427D-9425-BE1889EED5E1}" srcOrd="1" destOrd="0" presId="urn:microsoft.com/office/officeart/2008/layout/HorizontalMultiLevelHierarchy"/>
    <dgm:cxn modelId="{D41C7959-272E-4EBA-8328-6A420A7753D6}" type="presParOf" srcId="{46E2FE2A-A747-4DEE-AAF5-53A8EE84B06B}" destId="{460E764F-BDF5-4D22-9B4D-16DC71F64CAC}" srcOrd="6" destOrd="0" presId="urn:microsoft.com/office/officeart/2008/layout/HorizontalMultiLevelHierarchy"/>
    <dgm:cxn modelId="{9E3C5359-D3AF-471A-A4EB-632E9E1FFFED}" type="presParOf" srcId="{460E764F-BDF5-4D22-9B4D-16DC71F64CAC}" destId="{D2085E56-A00C-4E27-A4A7-A2743FEDF1B5}" srcOrd="0" destOrd="0" presId="urn:microsoft.com/office/officeart/2008/layout/HorizontalMultiLevelHierarchy"/>
    <dgm:cxn modelId="{E9C36CB9-A5C3-4B2E-8690-8C27F406F889}" type="presParOf" srcId="{46E2FE2A-A747-4DEE-AAF5-53A8EE84B06B}" destId="{73186733-5E43-4E6A-80AF-948A00AAA9B5}" srcOrd="7" destOrd="0" presId="urn:microsoft.com/office/officeart/2008/layout/HorizontalMultiLevelHierarchy"/>
    <dgm:cxn modelId="{3DE4C77A-92C4-499B-A96E-6812CB8CF9E7}" type="presParOf" srcId="{73186733-5E43-4E6A-80AF-948A00AAA9B5}" destId="{43996E1E-6F52-4F8E-9F4B-77A56824C63C}" srcOrd="0" destOrd="0" presId="urn:microsoft.com/office/officeart/2008/layout/HorizontalMultiLevelHierarchy"/>
    <dgm:cxn modelId="{0F21ABEF-B7AA-44AC-A89A-91EB275FF44F}" type="presParOf" srcId="{73186733-5E43-4E6A-80AF-948A00AAA9B5}" destId="{41502682-1FC1-4B2B-BBB5-9A5540E7D736}" srcOrd="1" destOrd="0" presId="urn:microsoft.com/office/officeart/2008/layout/HorizontalMultiLevelHierarchy"/>
    <dgm:cxn modelId="{D6EB78A0-A34D-4723-9332-CDC12F78869A}" type="presParOf" srcId="{46E2FE2A-A747-4DEE-AAF5-53A8EE84B06B}" destId="{690E36EE-5895-4B91-A347-3380A5FE5255}" srcOrd="8" destOrd="0" presId="urn:microsoft.com/office/officeart/2008/layout/HorizontalMultiLevelHierarchy"/>
    <dgm:cxn modelId="{E55A1800-8DD6-4853-A0D4-E4B94395683D}" type="presParOf" srcId="{690E36EE-5895-4B91-A347-3380A5FE5255}" destId="{ADBE13F2-10FA-4B06-99C7-09C6712A7646}" srcOrd="0" destOrd="0" presId="urn:microsoft.com/office/officeart/2008/layout/HorizontalMultiLevelHierarchy"/>
    <dgm:cxn modelId="{0DEBCA27-CE2E-409D-8652-B03064A5A0BD}" type="presParOf" srcId="{46E2FE2A-A747-4DEE-AAF5-53A8EE84B06B}" destId="{B6754EFB-425D-471A-9BC5-9299A6414551}" srcOrd="9" destOrd="0" presId="urn:microsoft.com/office/officeart/2008/layout/HorizontalMultiLevelHierarchy"/>
    <dgm:cxn modelId="{827B1068-D035-4351-8FA7-E96A12C46B8D}" type="presParOf" srcId="{B6754EFB-425D-471A-9BC5-9299A6414551}" destId="{6E154881-954A-429F-9BBE-E92EEB4B1011}" srcOrd="0" destOrd="0" presId="urn:microsoft.com/office/officeart/2008/layout/HorizontalMultiLevelHierarchy"/>
    <dgm:cxn modelId="{CF5796C7-4017-4D28-84C5-F23B50B601E5}" type="presParOf" srcId="{B6754EFB-425D-471A-9BC5-9299A6414551}" destId="{5D1CB6D5-4D16-456C-80C8-8FB25291517B}" srcOrd="1" destOrd="0" presId="urn:microsoft.com/office/officeart/2008/layout/HorizontalMultiLevelHierarchy"/>
    <dgm:cxn modelId="{8C48EBB2-861E-4B2B-84F8-7FD8866630A9}" type="presParOf" srcId="{7E8A6FC8-F240-4C27-8F75-0549E9D1CE4E}" destId="{CD37291B-5548-4F1B-8F2F-200AE5B0DCAE}" srcOrd="2" destOrd="0" presId="urn:microsoft.com/office/officeart/2008/layout/HorizontalMultiLevelHierarchy"/>
    <dgm:cxn modelId="{1EAA7291-3D7E-4E1D-BFA5-466FBB9231BE}" type="presParOf" srcId="{CD37291B-5548-4F1B-8F2F-200AE5B0DCAE}" destId="{D4121B60-61D6-41A4-AAB9-DE9671C8ED2F}" srcOrd="0" destOrd="0" presId="urn:microsoft.com/office/officeart/2008/layout/HorizontalMultiLevelHierarchy"/>
    <dgm:cxn modelId="{30BF0797-9DFC-4143-9934-65A925553B04}" type="presParOf" srcId="{7E8A6FC8-F240-4C27-8F75-0549E9D1CE4E}" destId="{50975EFF-52F3-48CE-A104-6890DF2CCC15}" srcOrd="3" destOrd="0" presId="urn:microsoft.com/office/officeart/2008/layout/HorizontalMultiLevelHierarchy"/>
    <dgm:cxn modelId="{B1E72420-C269-47B9-8826-4F40BF90D27F}" type="presParOf" srcId="{50975EFF-52F3-48CE-A104-6890DF2CCC15}" destId="{E077FA3E-A654-4D27-8616-5CDDA43F8AF6}" srcOrd="0" destOrd="0" presId="urn:microsoft.com/office/officeart/2008/layout/HorizontalMultiLevelHierarchy"/>
    <dgm:cxn modelId="{2984DC2A-8109-4C03-B00F-93C41BC46DCB}" type="presParOf" srcId="{50975EFF-52F3-48CE-A104-6890DF2CCC15}" destId="{738BD333-0CAC-4970-A8E6-FA82D1202675}" srcOrd="1" destOrd="0" presId="urn:microsoft.com/office/officeart/2008/layout/HorizontalMultiLevelHierarchy"/>
    <dgm:cxn modelId="{701C9470-548A-4BE2-BFE5-EA05C36188CF}" type="presParOf" srcId="{738BD333-0CAC-4970-A8E6-FA82D1202675}" destId="{037062E2-BE96-4A8B-9D2F-1FA0857207C1}" srcOrd="0" destOrd="0" presId="urn:microsoft.com/office/officeart/2008/layout/HorizontalMultiLevelHierarchy"/>
    <dgm:cxn modelId="{A85CA7AE-0B05-415C-879A-E60AE08B5C38}" type="presParOf" srcId="{037062E2-BE96-4A8B-9D2F-1FA0857207C1}" destId="{48D9A2E1-2598-4B00-AD73-86E6047DFB3F}" srcOrd="0" destOrd="0" presId="urn:microsoft.com/office/officeart/2008/layout/HorizontalMultiLevelHierarchy"/>
    <dgm:cxn modelId="{C4A41739-1868-4E6C-8999-7C6171F40DDB}" type="presParOf" srcId="{738BD333-0CAC-4970-A8E6-FA82D1202675}" destId="{B8CF9832-64BD-484C-B421-A0ECF20998B1}" srcOrd="1" destOrd="0" presId="urn:microsoft.com/office/officeart/2008/layout/HorizontalMultiLevelHierarchy"/>
    <dgm:cxn modelId="{48303E24-0767-49ED-9ED9-ABE66A3F8EB4}" type="presParOf" srcId="{B8CF9832-64BD-484C-B421-A0ECF20998B1}" destId="{768C7647-12EF-40E9-94EB-C1868C4AFE59}" srcOrd="0" destOrd="0" presId="urn:microsoft.com/office/officeart/2008/layout/HorizontalMultiLevelHierarchy"/>
    <dgm:cxn modelId="{5A3DA604-9904-4F44-9882-A2E63AE76B38}" type="presParOf" srcId="{B8CF9832-64BD-484C-B421-A0ECF20998B1}" destId="{66E40938-6C34-47FD-B792-4BEC9D41A30A}" srcOrd="1" destOrd="0" presId="urn:microsoft.com/office/officeart/2008/layout/HorizontalMultiLevelHierarchy"/>
    <dgm:cxn modelId="{55446B2F-4034-42F1-8435-46B9BE44613A}" type="presParOf" srcId="{738BD333-0CAC-4970-A8E6-FA82D1202675}" destId="{313DC26C-06DB-4098-B605-33485EFC9B29}" srcOrd="2" destOrd="0" presId="urn:microsoft.com/office/officeart/2008/layout/HorizontalMultiLevelHierarchy"/>
    <dgm:cxn modelId="{4A033A29-C601-4F84-BFD7-622B89FB96DB}" type="presParOf" srcId="{313DC26C-06DB-4098-B605-33485EFC9B29}" destId="{30A455D9-9D31-498C-B006-B59A4D0FAC39}" srcOrd="0" destOrd="0" presId="urn:microsoft.com/office/officeart/2008/layout/HorizontalMultiLevelHierarchy"/>
    <dgm:cxn modelId="{B93B707E-B961-4BA7-B3CF-63ACD0FF66B1}" type="presParOf" srcId="{738BD333-0CAC-4970-A8E6-FA82D1202675}" destId="{EB09E2DB-DC0B-4A48-BC00-788EB4BF2155}" srcOrd="3" destOrd="0" presId="urn:microsoft.com/office/officeart/2008/layout/HorizontalMultiLevelHierarchy"/>
    <dgm:cxn modelId="{6CBDF43C-70BD-4409-9DF9-9CA7F57EB17C}" type="presParOf" srcId="{EB09E2DB-DC0B-4A48-BC00-788EB4BF2155}" destId="{49B6876F-A108-4FF0-9A81-E34DBB9D0BD7}" srcOrd="0" destOrd="0" presId="urn:microsoft.com/office/officeart/2008/layout/HorizontalMultiLevelHierarchy"/>
    <dgm:cxn modelId="{2686E0A6-F092-4AAA-926C-60D6DAFD0249}" type="presParOf" srcId="{EB09E2DB-DC0B-4A48-BC00-788EB4BF2155}" destId="{840A5199-0A8A-47C7-8B9A-920BC241225E}" srcOrd="1" destOrd="0" presId="urn:microsoft.com/office/officeart/2008/layout/HorizontalMultiLevelHierarchy"/>
    <dgm:cxn modelId="{25D58353-0D81-4A8A-94ED-93CDC7E7186B}" type="presParOf" srcId="{7E8A6FC8-F240-4C27-8F75-0549E9D1CE4E}" destId="{C4365B06-B9DB-4064-B93F-1043BD4B58B2}" srcOrd="4" destOrd="0" presId="urn:microsoft.com/office/officeart/2008/layout/HorizontalMultiLevelHierarchy"/>
    <dgm:cxn modelId="{7A9066B8-6414-422E-BFD9-738E8455C555}" type="presParOf" srcId="{C4365B06-B9DB-4064-B93F-1043BD4B58B2}" destId="{0336C92A-933C-4B9A-8AAD-80A8DB51CB00}" srcOrd="0" destOrd="0" presId="urn:microsoft.com/office/officeart/2008/layout/HorizontalMultiLevelHierarchy"/>
    <dgm:cxn modelId="{8B26E937-4058-4513-8A0F-CFE594B0876E}" type="presParOf" srcId="{7E8A6FC8-F240-4C27-8F75-0549E9D1CE4E}" destId="{1FB1112C-2171-4ECC-8EA0-911ADD3964A5}" srcOrd="5" destOrd="0" presId="urn:microsoft.com/office/officeart/2008/layout/HorizontalMultiLevelHierarchy"/>
    <dgm:cxn modelId="{C26F454F-9AD3-4024-89FF-46146E45546E}" type="presParOf" srcId="{1FB1112C-2171-4ECC-8EA0-911ADD3964A5}" destId="{B3E59FB2-885F-4B71-9DC5-B6F45C8017DE}" srcOrd="0" destOrd="0" presId="urn:microsoft.com/office/officeart/2008/layout/HorizontalMultiLevelHierarchy"/>
    <dgm:cxn modelId="{D088637E-3313-42FD-BF6C-2731986EDBD5}" type="presParOf" srcId="{1FB1112C-2171-4ECC-8EA0-911ADD3964A5}" destId="{AF149B8F-23A2-48DF-9DB4-21319099B718}" srcOrd="1" destOrd="0" presId="urn:microsoft.com/office/officeart/2008/layout/HorizontalMultiLevelHierarchy"/>
    <dgm:cxn modelId="{BE9866F0-9F68-43A1-A842-DB93EF04DC1F}" type="presParOf" srcId="{AF149B8F-23A2-48DF-9DB4-21319099B718}" destId="{60A0F5E7-D1D3-49F8-A254-CFFCBE54AAF0}" srcOrd="0" destOrd="0" presId="urn:microsoft.com/office/officeart/2008/layout/HorizontalMultiLevelHierarchy"/>
    <dgm:cxn modelId="{C0E974FA-E049-45C2-93A2-BDBEC3178337}" type="presParOf" srcId="{60A0F5E7-D1D3-49F8-A254-CFFCBE54AAF0}" destId="{3325D373-008A-41E8-9EA1-B4B0FC90FCD2}" srcOrd="0" destOrd="0" presId="urn:microsoft.com/office/officeart/2008/layout/HorizontalMultiLevelHierarchy"/>
    <dgm:cxn modelId="{9EFC154F-E0C3-4C05-B0CB-69653AF0C3B6}" type="presParOf" srcId="{AF149B8F-23A2-48DF-9DB4-21319099B718}" destId="{533688EB-FEF2-4244-B371-7A31A6275F9E}" srcOrd="1" destOrd="0" presId="urn:microsoft.com/office/officeart/2008/layout/HorizontalMultiLevelHierarchy"/>
    <dgm:cxn modelId="{E257AAD2-4B95-4624-89C1-BE814C0D3710}" type="presParOf" srcId="{533688EB-FEF2-4244-B371-7A31A6275F9E}" destId="{9E81B654-57F3-4178-8807-AB7AAC7BE08E}" srcOrd="0" destOrd="0" presId="urn:microsoft.com/office/officeart/2008/layout/HorizontalMultiLevelHierarchy"/>
    <dgm:cxn modelId="{89945E56-01F6-4A3F-9837-20D5AC4310BC}" type="presParOf" srcId="{533688EB-FEF2-4244-B371-7A31A6275F9E}" destId="{9EA1B074-9688-4BF6-BD3E-8C3B349784E8}" srcOrd="1" destOrd="0" presId="urn:microsoft.com/office/officeart/2008/layout/HorizontalMultiLevelHierarchy"/>
    <dgm:cxn modelId="{81CF8646-6190-4B20-9C2D-153F30112CA2}" type="presParOf" srcId="{AF149B8F-23A2-48DF-9DB4-21319099B718}" destId="{1CD57466-73E5-43BB-AF51-980153E8039A}" srcOrd="2" destOrd="0" presId="urn:microsoft.com/office/officeart/2008/layout/HorizontalMultiLevelHierarchy"/>
    <dgm:cxn modelId="{79F3A2F2-77F4-4E34-9449-6B5826AE4D1A}" type="presParOf" srcId="{1CD57466-73E5-43BB-AF51-980153E8039A}" destId="{739E7D1A-06FA-43F4-82B6-C5B799BDD12A}" srcOrd="0" destOrd="0" presId="urn:microsoft.com/office/officeart/2008/layout/HorizontalMultiLevelHierarchy"/>
    <dgm:cxn modelId="{27C613A4-BB0F-4597-B8FD-A17EEF5F9CA1}" type="presParOf" srcId="{AF149B8F-23A2-48DF-9DB4-21319099B718}" destId="{08A18F09-5415-4D9A-A62E-8AA11F9AF3C4}" srcOrd="3" destOrd="0" presId="urn:microsoft.com/office/officeart/2008/layout/HorizontalMultiLevelHierarchy"/>
    <dgm:cxn modelId="{6A9B847B-CAF0-4938-B455-CC25A2C7546A}" type="presParOf" srcId="{08A18F09-5415-4D9A-A62E-8AA11F9AF3C4}" destId="{0CCC40AA-D80B-4B90-9188-E5CA017E63B0}" srcOrd="0" destOrd="0" presId="urn:microsoft.com/office/officeart/2008/layout/HorizontalMultiLevelHierarchy"/>
    <dgm:cxn modelId="{6C3BEF47-B999-4C4E-82B1-8E7A48264A7C}" type="presParOf" srcId="{08A18F09-5415-4D9A-A62E-8AA11F9AF3C4}" destId="{E40DD794-4E3C-4009-B357-94D69536E6F4}" srcOrd="1" destOrd="0" presId="urn:microsoft.com/office/officeart/2008/layout/HorizontalMultiLevelHierarchy"/>
    <dgm:cxn modelId="{9786B997-D56E-4BF4-AC74-4CAA5AB104E8}" type="presParOf" srcId="{AF149B8F-23A2-48DF-9DB4-21319099B718}" destId="{F9C34007-6CA8-4ABF-890A-47AA50B267EA}" srcOrd="4" destOrd="0" presId="urn:microsoft.com/office/officeart/2008/layout/HorizontalMultiLevelHierarchy"/>
    <dgm:cxn modelId="{41C2E213-C4DA-4CDB-B4FB-76B4C3D388D6}" type="presParOf" srcId="{F9C34007-6CA8-4ABF-890A-47AA50B267EA}" destId="{D3331827-B92C-4419-96E8-793E8D653308}" srcOrd="0" destOrd="0" presId="urn:microsoft.com/office/officeart/2008/layout/HorizontalMultiLevelHierarchy"/>
    <dgm:cxn modelId="{1738D637-F2D5-42C9-AD21-243F1342B2AC}" type="presParOf" srcId="{AF149B8F-23A2-48DF-9DB4-21319099B718}" destId="{9FBA0EDF-DFF1-4228-BD6C-29FFD841B413}" srcOrd="5" destOrd="0" presId="urn:microsoft.com/office/officeart/2008/layout/HorizontalMultiLevelHierarchy"/>
    <dgm:cxn modelId="{B0363929-8710-42A8-B169-AB09A28B29CB}" type="presParOf" srcId="{9FBA0EDF-DFF1-4228-BD6C-29FFD841B413}" destId="{E51A201A-58C4-4839-BBF3-03A3D4BA1DE9}" srcOrd="0" destOrd="0" presId="urn:microsoft.com/office/officeart/2008/layout/HorizontalMultiLevelHierarchy"/>
    <dgm:cxn modelId="{ABA51267-B8A0-43BC-B1DC-3B671101344E}" type="presParOf" srcId="{9FBA0EDF-DFF1-4228-BD6C-29FFD841B413}" destId="{E4E1A461-B02B-4354-8D34-5DF04939C4AC}" srcOrd="1" destOrd="0" presId="urn:microsoft.com/office/officeart/2008/layout/HorizontalMultiLevelHierarchy"/>
  </dgm:cxnLst>
  <dgm:bg/>
  <dgm:whole/>
  <dgm:extLst>
    <a:ext uri="http://schemas.microsoft.com/office/drawing/2008/diagram">
      <dsp:dataModelExt xmlns:dsp="http://schemas.microsoft.com/office/drawing/2008/diagram" relId="rId12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96C9D5F4-FF4F-420D-8420-A926E166D7A2}" type="doc">
      <dgm:prSet loTypeId="urn:microsoft.com/office/officeart/2008/layout/HorizontalMultiLevelHierarchy" loCatId="hierarchy" qsTypeId="urn:microsoft.com/office/officeart/2005/8/quickstyle/simple1" qsCatId="simple" csTypeId="urn:microsoft.com/office/officeart/2005/8/colors/colorful3" csCatId="colorful" phldr="1"/>
      <dgm:spPr/>
      <dgm:t>
        <a:bodyPr/>
        <a:lstStyle/>
        <a:p>
          <a:endParaRPr lang="en-US"/>
        </a:p>
      </dgm:t>
    </dgm:pt>
    <dgm:pt modelId="{D0997319-AE2C-4C46-ADCB-BA43BE3F3F54}">
      <dgm:prSet phldrT="[Text]" custT="1"/>
      <dgm:spPr/>
      <dgm:t>
        <a:bodyPr/>
        <a:lstStyle/>
        <a:p>
          <a:r>
            <a:rPr lang="de-DE" sz="1400" b="0" i="0" dirty="0">
              <a:latin typeface="Myriad Pro" panose="020B0503030403020204" pitchFamily="34" charset="0"/>
            </a:rPr>
            <a:t>Eingabebild </a:t>
          </a:r>
        </a:p>
      </dgm:t>
    </dgm:pt>
    <dgm:pt modelId="{EDD69CBB-FC0D-413C-A203-D32C53DEA1CA}" type="parTrans" cxnId="{9486E231-E761-415A-A46A-B222DD3C9A89}">
      <dgm:prSet/>
      <dgm:spPr/>
      <dgm:t>
        <a:bodyPr/>
        <a:lstStyle/>
        <a:p>
          <a:endParaRPr lang="en-US" sz="1600"/>
        </a:p>
      </dgm:t>
    </dgm:pt>
    <dgm:pt modelId="{E975384C-827E-414A-AEB5-7C3391463B49}" type="sibTrans" cxnId="{9486E231-E761-415A-A46A-B222DD3C9A89}">
      <dgm:prSet/>
      <dgm:spPr/>
      <dgm:t>
        <a:bodyPr/>
        <a:lstStyle/>
        <a:p>
          <a:endParaRPr lang="en-US" sz="1600"/>
        </a:p>
      </dgm:t>
    </dgm:pt>
    <dgm:pt modelId="{8E70AA8F-7583-4AFE-9EDE-87363894E1F8}">
      <dgm:prSet phldrT="[Text]" custT="1"/>
      <dgm:spPr/>
      <dgm:t>
        <a:bodyPr/>
        <a:lstStyle/>
        <a:p>
          <a:r>
            <a:rPr lang="de-DE" sz="1000" b="0" i="0" cap="none" baseline="0" dirty="0" err="1">
              <a:latin typeface="Myriad Pro" panose="020B0503030403020204" pitchFamily="34" charset="0"/>
            </a:rPr>
            <a:t>Supervised</a:t>
          </a:r>
          <a:endParaRPr lang="de-DE" sz="1000" b="0" i="0" cap="none" baseline="0" dirty="0">
            <a:latin typeface="Myriad Pro" panose="020B0503030403020204" pitchFamily="34" charset="0"/>
          </a:endParaRPr>
        </a:p>
      </dgm:t>
    </dgm:pt>
    <dgm:pt modelId="{B164CB56-71EE-412E-A3A2-1509A3B08E05}" type="parTrans" cxnId="{707B8E58-ABA5-4C9A-AFCF-298CB05D08DA}">
      <dgm:prSet/>
      <dgm:spPr/>
      <dgm:t>
        <a:bodyPr/>
        <a:lstStyle/>
        <a:p>
          <a:endParaRPr lang="en-US" sz="1600"/>
        </a:p>
      </dgm:t>
    </dgm:pt>
    <dgm:pt modelId="{50009256-33DA-4FAC-A050-2DE70DDCC26C}" type="sibTrans" cxnId="{707B8E58-ABA5-4C9A-AFCF-298CB05D08DA}">
      <dgm:prSet/>
      <dgm:spPr/>
      <dgm:t>
        <a:bodyPr/>
        <a:lstStyle/>
        <a:p>
          <a:endParaRPr lang="en-US" sz="1600"/>
        </a:p>
      </dgm:t>
    </dgm:pt>
    <dgm:pt modelId="{434F1058-EF12-4590-BD43-496B2D33656A}">
      <dgm:prSet phldrT="[Text]" custT="1"/>
      <dgm:spPr/>
      <dgm:t>
        <a:bodyPr/>
        <a:lstStyle/>
        <a:p>
          <a:r>
            <a:rPr lang="de-DE" sz="1000" b="0" i="0" dirty="0" err="1">
              <a:latin typeface="Myriad Pro" panose="020B0503030403020204" pitchFamily="34" charset="0"/>
            </a:rPr>
            <a:t>Unsupervised</a:t>
          </a:r>
          <a:endParaRPr lang="de-DE" sz="1000" b="0" i="0" dirty="0">
            <a:latin typeface="Myriad Pro" panose="020B0503030403020204" pitchFamily="34" charset="0"/>
          </a:endParaRPr>
        </a:p>
      </dgm:t>
    </dgm:pt>
    <dgm:pt modelId="{17815460-B569-463A-BACE-734F709F874A}" type="parTrans" cxnId="{9E137BA1-2E21-43A2-A338-650B162A3662}">
      <dgm:prSet/>
      <dgm:spPr/>
      <dgm:t>
        <a:bodyPr/>
        <a:lstStyle/>
        <a:p>
          <a:endParaRPr lang="en-US" sz="1600"/>
        </a:p>
      </dgm:t>
    </dgm:pt>
    <dgm:pt modelId="{BC8F1DC2-66B6-4B6F-BD02-84C41DB8AF5C}" type="sibTrans" cxnId="{9E137BA1-2E21-43A2-A338-650B162A3662}">
      <dgm:prSet/>
      <dgm:spPr/>
      <dgm:t>
        <a:bodyPr/>
        <a:lstStyle/>
        <a:p>
          <a:endParaRPr lang="en-US" sz="1600"/>
        </a:p>
      </dgm:t>
    </dgm:pt>
    <dgm:pt modelId="{50C4D88C-9CB0-4513-8456-755395491158}" type="pres">
      <dgm:prSet presAssocID="{96C9D5F4-FF4F-420D-8420-A926E166D7A2}" presName="Name0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</dgm:pt>
    <dgm:pt modelId="{506FBA0B-6598-4404-B87A-56869B8718E3}" type="pres">
      <dgm:prSet presAssocID="{D0997319-AE2C-4C46-ADCB-BA43BE3F3F54}" presName="root1" presStyleCnt="0"/>
      <dgm:spPr/>
    </dgm:pt>
    <dgm:pt modelId="{DCF5B4EF-DE4F-4292-A3B2-724C163A44AB}" type="pres">
      <dgm:prSet presAssocID="{D0997319-AE2C-4C46-ADCB-BA43BE3F3F54}" presName="LevelOneTextNode" presStyleLbl="node0" presStyleIdx="0" presStyleCnt="1">
        <dgm:presLayoutVars>
          <dgm:chPref val="3"/>
        </dgm:presLayoutVars>
      </dgm:prSet>
      <dgm:spPr/>
    </dgm:pt>
    <dgm:pt modelId="{7E8A6FC8-F240-4C27-8F75-0549E9D1CE4E}" type="pres">
      <dgm:prSet presAssocID="{D0997319-AE2C-4C46-ADCB-BA43BE3F3F54}" presName="level2hierChild" presStyleCnt="0"/>
      <dgm:spPr/>
    </dgm:pt>
    <dgm:pt modelId="{BE328E0A-C287-4B1A-BD90-C0F3098FFCD9}" type="pres">
      <dgm:prSet presAssocID="{B164CB56-71EE-412E-A3A2-1509A3B08E05}" presName="conn2-1" presStyleLbl="parChTrans1D2" presStyleIdx="0" presStyleCnt="2"/>
      <dgm:spPr/>
    </dgm:pt>
    <dgm:pt modelId="{1EB559E9-DB95-4028-B960-01A592B99E92}" type="pres">
      <dgm:prSet presAssocID="{B164CB56-71EE-412E-A3A2-1509A3B08E05}" presName="connTx" presStyleLbl="parChTrans1D2" presStyleIdx="0" presStyleCnt="2"/>
      <dgm:spPr/>
    </dgm:pt>
    <dgm:pt modelId="{9893F228-CFAA-415F-97D9-8C8EA9FB1BC5}" type="pres">
      <dgm:prSet presAssocID="{8E70AA8F-7583-4AFE-9EDE-87363894E1F8}" presName="root2" presStyleCnt="0"/>
      <dgm:spPr/>
    </dgm:pt>
    <dgm:pt modelId="{49ADAAAB-354D-4968-9DE9-378E6595E5BB}" type="pres">
      <dgm:prSet presAssocID="{8E70AA8F-7583-4AFE-9EDE-87363894E1F8}" presName="LevelTwoTextNode" presStyleLbl="node2" presStyleIdx="0" presStyleCnt="2" custLinFactY="-46619" custLinFactNeighborX="-825" custLinFactNeighborY="-100000">
        <dgm:presLayoutVars>
          <dgm:chPref val="3"/>
        </dgm:presLayoutVars>
      </dgm:prSet>
      <dgm:spPr/>
    </dgm:pt>
    <dgm:pt modelId="{46E2FE2A-A747-4DEE-AAF5-53A8EE84B06B}" type="pres">
      <dgm:prSet presAssocID="{8E70AA8F-7583-4AFE-9EDE-87363894E1F8}" presName="level3hierChild" presStyleCnt="0"/>
      <dgm:spPr/>
    </dgm:pt>
    <dgm:pt modelId="{CD37291B-5548-4F1B-8F2F-200AE5B0DCAE}" type="pres">
      <dgm:prSet presAssocID="{17815460-B569-463A-BACE-734F709F874A}" presName="conn2-1" presStyleLbl="parChTrans1D2" presStyleIdx="1" presStyleCnt="2"/>
      <dgm:spPr/>
    </dgm:pt>
    <dgm:pt modelId="{D4121B60-61D6-41A4-AAB9-DE9671C8ED2F}" type="pres">
      <dgm:prSet presAssocID="{17815460-B569-463A-BACE-734F709F874A}" presName="connTx" presStyleLbl="parChTrans1D2" presStyleIdx="1" presStyleCnt="2"/>
      <dgm:spPr/>
    </dgm:pt>
    <dgm:pt modelId="{50975EFF-52F3-48CE-A104-6890DF2CCC15}" type="pres">
      <dgm:prSet presAssocID="{434F1058-EF12-4590-BD43-496B2D33656A}" presName="root2" presStyleCnt="0"/>
      <dgm:spPr/>
    </dgm:pt>
    <dgm:pt modelId="{E077FA3E-A654-4D27-8616-5CDDA43F8AF6}" type="pres">
      <dgm:prSet presAssocID="{434F1058-EF12-4590-BD43-496B2D33656A}" presName="LevelTwoTextNode" presStyleLbl="node2" presStyleIdx="1" presStyleCnt="2" custLinFactY="43061" custLinFactNeighborX="-1050" custLinFactNeighborY="100000">
        <dgm:presLayoutVars>
          <dgm:chPref val="3"/>
        </dgm:presLayoutVars>
      </dgm:prSet>
      <dgm:spPr/>
    </dgm:pt>
    <dgm:pt modelId="{738BD333-0CAC-4970-A8E6-FA82D1202675}" type="pres">
      <dgm:prSet presAssocID="{434F1058-EF12-4590-BD43-496B2D33656A}" presName="level3hierChild" presStyleCnt="0"/>
      <dgm:spPr/>
    </dgm:pt>
  </dgm:ptLst>
  <dgm:cxnLst>
    <dgm:cxn modelId="{9486E231-E761-415A-A46A-B222DD3C9A89}" srcId="{96C9D5F4-FF4F-420D-8420-A926E166D7A2}" destId="{D0997319-AE2C-4C46-ADCB-BA43BE3F3F54}" srcOrd="0" destOrd="0" parTransId="{EDD69CBB-FC0D-413C-A203-D32C53DEA1CA}" sibTransId="{E975384C-827E-414A-AEB5-7C3391463B49}"/>
    <dgm:cxn modelId="{AA3E744F-10BA-4479-AF01-972C59BF3BCF}" type="presOf" srcId="{B164CB56-71EE-412E-A3A2-1509A3B08E05}" destId="{BE328E0A-C287-4B1A-BD90-C0F3098FFCD9}" srcOrd="0" destOrd="0" presId="urn:microsoft.com/office/officeart/2008/layout/HorizontalMultiLevelHierarchy"/>
    <dgm:cxn modelId="{464F8353-3A6D-43D6-B358-7ECC4F51C0BF}" type="presOf" srcId="{D0997319-AE2C-4C46-ADCB-BA43BE3F3F54}" destId="{DCF5B4EF-DE4F-4292-A3B2-724C163A44AB}" srcOrd="0" destOrd="0" presId="urn:microsoft.com/office/officeart/2008/layout/HorizontalMultiLevelHierarchy"/>
    <dgm:cxn modelId="{707B8E58-ABA5-4C9A-AFCF-298CB05D08DA}" srcId="{D0997319-AE2C-4C46-ADCB-BA43BE3F3F54}" destId="{8E70AA8F-7583-4AFE-9EDE-87363894E1F8}" srcOrd="0" destOrd="0" parTransId="{B164CB56-71EE-412E-A3A2-1509A3B08E05}" sibTransId="{50009256-33DA-4FAC-A050-2DE70DDCC26C}"/>
    <dgm:cxn modelId="{218D7769-246E-4C78-8637-1FABBE9AA235}" type="presOf" srcId="{B164CB56-71EE-412E-A3A2-1509A3B08E05}" destId="{1EB559E9-DB95-4028-B960-01A592B99E92}" srcOrd="1" destOrd="0" presId="urn:microsoft.com/office/officeart/2008/layout/HorizontalMultiLevelHierarchy"/>
    <dgm:cxn modelId="{82D60E8A-40D3-49BC-895D-3DAB17D8AD62}" type="presOf" srcId="{96C9D5F4-FF4F-420D-8420-A926E166D7A2}" destId="{50C4D88C-9CB0-4513-8456-755395491158}" srcOrd="0" destOrd="0" presId="urn:microsoft.com/office/officeart/2008/layout/HorizontalMultiLevelHierarchy"/>
    <dgm:cxn modelId="{E07BE79E-7865-47DB-84AF-7F7057F85761}" type="presOf" srcId="{8E70AA8F-7583-4AFE-9EDE-87363894E1F8}" destId="{49ADAAAB-354D-4968-9DE9-378E6595E5BB}" srcOrd="0" destOrd="0" presId="urn:microsoft.com/office/officeart/2008/layout/HorizontalMultiLevelHierarchy"/>
    <dgm:cxn modelId="{9E137BA1-2E21-43A2-A338-650B162A3662}" srcId="{D0997319-AE2C-4C46-ADCB-BA43BE3F3F54}" destId="{434F1058-EF12-4590-BD43-496B2D33656A}" srcOrd="1" destOrd="0" parTransId="{17815460-B569-463A-BACE-734F709F874A}" sibTransId="{BC8F1DC2-66B6-4B6F-BD02-84C41DB8AF5C}"/>
    <dgm:cxn modelId="{99E7BEA2-9C9E-4C52-ABF3-613AE796E93C}" type="presOf" srcId="{17815460-B569-463A-BACE-734F709F874A}" destId="{D4121B60-61D6-41A4-AAB9-DE9671C8ED2F}" srcOrd="1" destOrd="0" presId="urn:microsoft.com/office/officeart/2008/layout/HorizontalMultiLevelHierarchy"/>
    <dgm:cxn modelId="{BAACB6A7-B0F8-46C4-B719-34EE449D4921}" type="presOf" srcId="{434F1058-EF12-4590-BD43-496B2D33656A}" destId="{E077FA3E-A654-4D27-8616-5CDDA43F8AF6}" srcOrd="0" destOrd="0" presId="urn:microsoft.com/office/officeart/2008/layout/HorizontalMultiLevelHierarchy"/>
    <dgm:cxn modelId="{54CC19B8-2159-4474-B71E-58B32A9BAD74}" type="presOf" srcId="{17815460-B569-463A-BACE-734F709F874A}" destId="{CD37291B-5548-4F1B-8F2F-200AE5B0DCAE}" srcOrd="0" destOrd="0" presId="urn:microsoft.com/office/officeart/2008/layout/HorizontalMultiLevelHierarchy"/>
    <dgm:cxn modelId="{3E8C5480-73D9-4EE3-932D-82721BB1E7B2}" type="presParOf" srcId="{50C4D88C-9CB0-4513-8456-755395491158}" destId="{506FBA0B-6598-4404-B87A-56869B8718E3}" srcOrd="0" destOrd="0" presId="urn:microsoft.com/office/officeart/2008/layout/HorizontalMultiLevelHierarchy"/>
    <dgm:cxn modelId="{AD087DA0-5EB4-49EE-82D3-F6C47200DD79}" type="presParOf" srcId="{506FBA0B-6598-4404-B87A-56869B8718E3}" destId="{DCF5B4EF-DE4F-4292-A3B2-724C163A44AB}" srcOrd="0" destOrd="0" presId="urn:microsoft.com/office/officeart/2008/layout/HorizontalMultiLevelHierarchy"/>
    <dgm:cxn modelId="{AD864577-5B7E-4328-AC26-287C80C6BEA3}" type="presParOf" srcId="{506FBA0B-6598-4404-B87A-56869B8718E3}" destId="{7E8A6FC8-F240-4C27-8F75-0549E9D1CE4E}" srcOrd="1" destOrd="0" presId="urn:microsoft.com/office/officeart/2008/layout/HorizontalMultiLevelHierarchy"/>
    <dgm:cxn modelId="{0D5824EC-96D2-4284-930C-3DC3234577D3}" type="presParOf" srcId="{7E8A6FC8-F240-4C27-8F75-0549E9D1CE4E}" destId="{BE328E0A-C287-4B1A-BD90-C0F3098FFCD9}" srcOrd="0" destOrd="0" presId="urn:microsoft.com/office/officeart/2008/layout/HorizontalMultiLevelHierarchy"/>
    <dgm:cxn modelId="{FF3EDB3F-3E5D-484F-B7EB-2D9D119CC084}" type="presParOf" srcId="{BE328E0A-C287-4B1A-BD90-C0F3098FFCD9}" destId="{1EB559E9-DB95-4028-B960-01A592B99E92}" srcOrd="0" destOrd="0" presId="urn:microsoft.com/office/officeart/2008/layout/HorizontalMultiLevelHierarchy"/>
    <dgm:cxn modelId="{6E796F25-24CC-4F5D-8AB9-96C968A94D86}" type="presParOf" srcId="{7E8A6FC8-F240-4C27-8F75-0549E9D1CE4E}" destId="{9893F228-CFAA-415F-97D9-8C8EA9FB1BC5}" srcOrd="1" destOrd="0" presId="urn:microsoft.com/office/officeart/2008/layout/HorizontalMultiLevelHierarchy"/>
    <dgm:cxn modelId="{F5FE272E-5A1A-4232-A41E-5E8F96E754E7}" type="presParOf" srcId="{9893F228-CFAA-415F-97D9-8C8EA9FB1BC5}" destId="{49ADAAAB-354D-4968-9DE9-378E6595E5BB}" srcOrd="0" destOrd="0" presId="urn:microsoft.com/office/officeart/2008/layout/HorizontalMultiLevelHierarchy"/>
    <dgm:cxn modelId="{480D07D8-1F1B-4569-80CC-321A6295D639}" type="presParOf" srcId="{9893F228-CFAA-415F-97D9-8C8EA9FB1BC5}" destId="{46E2FE2A-A747-4DEE-AAF5-53A8EE84B06B}" srcOrd="1" destOrd="0" presId="urn:microsoft.com/office/officeart/2008/layout/HorizontalMultiLevelHierarchy"/>
    <dgm:cxn modelId="{5C580CC4-3C81-446F-9295-70B119E1F4D6}" type="presParOf" srcId="{7E8A6FC8-F240-4C27-8F75-0549E9D1CE4E}" destId="{CD37291B-5548-4F1B-8F2F-200AE5B0DCAE}" srcOrd="2" destOrd="0" presId="urn:microsoft.com/office/officeart/2008/layout/HorizontalMultiLevelHierarchy"/>
    <dgm:cxn modelId="{3FF4D288-216B-4CA1-A646-865AA9CAB482}" type="presParOf" srcId="{CD37291B-5548-4F1B-8F2F-200AE5B0DCAE}" destId="{D4121B60-61D6-41A4-AAB9-DE9671C8ED2F}" srcOrd="0" destOrd="0" presId="urn:microsoft.com/office/officeart/2008/layout/HorizontalMultiLevelHierarchy"/>
    <dgm:cxn modelId="{D011A705-277B-4D74-85CE-4360C9A9B047}" type="presParOf" srcId="{7E8A6FC8-F240-4C27-8F75-0549E9D1CE4E}" destId="{50975EFF-52F3-48CE-A104-6890DF2CCC15}" srcOrd="3" destOrd="0" presId="urn:microsoft.com/office/officeart/2008/layout/HorizontalMultiLevelHierarchy"/>
    <dgm:cxn modelId="{2465617A-D0D5-439C-AECA-3D0DD03F2CB2}" type="presParOf" srcId="{50975EFF-52F3-48CE-A104-6890DF2CCC15}" destId="{E077FA3E-A654-4D27-8616-5CDDA43F8AF6}" srcOrd="0" destOrd="0" presId="urn:microsoft.com/office/officeart/2008/layout/HorizontalMultiLevelHierarchy"/>
    <dgm:cxn modelId="{13FC7BEC-0977-47F7-8C84-FE5819A8C215}" type="presParOf" srcId="{50975EFF-52F3-48CE-A104-6890DF2CCC15}" destId="{738BD333-0CAC-4970-A8E6-FA82D1202675}" srcOrd="1" destOrd="0" presId="urn:microsoft.com/office/officeart/2008/layout/HorizontalMultiLevelHierarchy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96C9D5F4-FF4F-420D-8420-A926E166D7A2}" type="doc">
      <dgm:prSet loTypeId="urn:microsoft.com/office/officeart/2008/layout/HorizontalMultiLevelHierarchy" loCatId="hierarchy" qsTypeId="urn:microsoft.com/office/officeart/2005/8/quickstyle/simple1" qsCatId="simple" csTypeId="urn:microsoft.com/office/officeart/2005/8/colors/colorful3" csCatId="colorful" phldr="1"/>
      <dgm:spPr/>
      <dgm:t>
        <a:bodyPr/>
        <a:lstStyle/>
        <a:p>
          <a:endParaRPr lang="en-US"/>
        </a:p>
      </dgm:t>
    </dgm:pt>
    <dgm:pt modelId="{D0997319-AE2C-4C46-ADCB-BA43BE3F3F54}">
      <dgm:prSet phldrT="[Text]" custT="1"/>
      <dgm:spPr/>
      <dgm:t>
        <a:bodyPr/>
        <a:lstStyle/>
        <a:p>
          <a:r>
            <a:rPr lang="de-DE" sz="1400" b="0" i="0" dirty="0">
              <a:latin typeface="Myriad Pro" panose="020B0503030403020204" pitchFamily="34" charset="0"/>
            </a:rPr>
            <a:t>Eingabebild </a:t>
          </a:r>
        </a:p>
      </dgm:t>
    </dgm:pt>
    <dgm:pt modelId="{EDD69CBB-FC0D-413C-A203-D32C53DEA1CA}" type="parTrans" cxnId="{9486E231-E761-415A-A46A-B222DD3C9A89}">
      <dgm:prSet/>
      <dgm:spPr/>
      <dgm:t>
        <a:bodyPr/>
        <a:lstStyle/>
        <a:p>
          <a:endParaRPr lang="en-US" sz="1600"/>
        </a:p>
      </dgm:t>
    </dgm:pt>
    <dgm:pt modelId="{E975384C-827E-414A-AEB5-7C3391463B49}" type="sibTrans" cxnId="{9486E231-E761-415A-A46A-B222DD3C9A89}">
      <dgm:prSet/>
      <dgm:spPr/>
      <dgm:t>
        <a:bodyPr/>
        <a:lstStyle/>
        <a:p>
          <a:endParaRPr lang="en-US" sz="1600"/>
        </a:p>
      </dgm:t>
    </dgm:pt>
    <dgm:pt modelId="{8E70AA8F-7583-4AFE-9EDE-87363894E1F8}">
      <dgm:prSet phldrT="[Text]" custT="1"/>
      <dgm:spPr/>
      <dgm:t>
        <a:bodyPr/>
        <a:lstStyle/>
        <a:p>
          <a:r>
            <a:rPr lang="de-DE" sz="1000" b="1" i="0" cap="none" baseline="0" dirty="0">
              <a:latin typeface="Myriad Pro" panose="020B0503030403020204" pitchFamily="34" charset="0"/>
            </a:rPr>
            <a:t>Einzel Netzwerk</a:t>
          </a:r>
          <a:endParaRPr lang="de-DE" sz="1000" b="0" i="0" cap="none" baseline="0" dirty="0">
            <a:latin typeface="Myriad Pro" panose="020B0503030403020204" pitchFamily="34" charset="0"/>
          </a:endParaRPr>
        </a:p>
      </dgm:t>
    </dgm:pt>
    <dgm:pt modelId="{B164CB56-71EE-412E-A3A2-1509A3B08E05}" type="parTrans" cxnId="{707B8E58-ABA5-4C9A-AFCF-298CB05D08DA}">
      <dgm:prSet/>
      <dgm:spPr/>
      <dgm:t>
        <a:bodyPr/>
        <a:lstStyle/>
        <a:p>
          <a:endParaRPr lang="en-US" sz="1600"/>
        </a:p>
      </dgm:t>
    </dgm:pt>
    <dgm:pt modelId="{50009256-33DA-4FAC-A050-2DE70DDCC26C}" type="sibTrans" cxnId="{707B8E58-ABA5-4C9A-AFCF-298CB05D08DA}">
      <dgm:prSet/>
      <dgm:spPr/>
      <dgm:t>
        <a:bodyPr/>
        <a:lstStyle/>
        <a:p>
          <a:endParaRPr lang="en-US" sz="1600"/>
        </a:p>
      </dgm:t>
    </dgm:pt>
    <dgm:pt modelId="{434F1058-EF12-4590-BD43-496B2D33656A}">
      <dgm:prSet phldrT="[Text]" custT="1"/>
      <dgm:spPr/>
      <dgm:t>
        <a:bodyPr/>
        <a:lstStyle/>
        <a:p>
          <a:r>
            <a:rPr lang="de-DE" sz="1000" b="1" i="0" cap="none" baseline="0" dirty="0">
              <a:latin typeface="Myriad Pro" panose="020B0503030403020204" pitchFamily="34" charset="0"/>
            </a:rPr>
            <a:t>Multi-Netzwerk </a:t>
          </a:r>
          <a:endParaRPr lang="de-DE" sz="1000" b="0" i="0" dirty="0">
            <a:latin typeface="Myriad Pro" panose="020B0503030403020204" pitchFamily="34" charset="0"/>
          </a:endParaRPr>
        </a:p>
      </dgm:t>
    </dgm:pt>
    <dgm:pt modelId="{17815460-B569-463A-BACE-734F709F874A}" type="parTrans" cxnId="{9E137BA1-2E21-43A2-A338-650B162A3662}">
      <dgm:prSet/>
      <dgm:spPr/>
      <dgm:t>
        <a:bodyPr/>
        <a:lstStyle/>
        <a:p>
          <a:endParaRPr lang="en-US" sz="1600"/>
        </a:p>
      </dgm:t>
    </dgm:pt>
    <dgm:pt modelId="{BC8F1DC2-66B6-4B6F-BD02-84C41DB8AF5C}" type="sibTrans" cxnId="{9E137BA1-2E21-43A2-A338-650B162A3662}">
      <dgm:prSet/>
      <dgm:spPr/>
      <dgm:t>
        <a:bodyPr/>
        <a:lstStyle/>
        <a:p>
          <a:endParaRPr lang="en-US" sz="1600"/>
        </a:p>
      </dgm:t>
    </dgm:pt>
    <dgm:pt modelId="{4098A15D-6BE4-4258-B7C8-EC2A1354A4D6}">
      <dgm:prSet phldrT="[Text]" custT="1"/>
      <dgm:spPr/>
      <dgm:t>
        <a:bodyPr/>
        <a:lstStyle/>
        <a:p>
          <a:r>
            <a:rPr lang="de-DE" sz="1000" b="0" i="0" dirty="0">
              <a:latin typeface="Myriad Pro" panose="020B0503030403020204" pitchFamily="34" charset="0"/>
            </a:rPr>
            <a:t>U-Net</a:t>
          </a:r>
        </a:p>
      </dgm:t>
    </dgm:pt>
    <dgm:pt modelId="{DA62F256-25CF-4854-BFCD-F90F70E5F8D4}" type="parTrans" cxnId="{21D8E081-3F51-4864-8D5D-F1BA8CEC852F}">
      <dgm:prSet/>
      <dgm:spPr/>
      <dgm:t>
        <a:bodyPr/>
        <a:lstStyle/>
        <a:p>
          <a:endParaRPr lang="en-US" sz="1600"/>
        </a:p>
      </dgm:t>
    </dgm:pt>
    <dgm:pt modelId="{E1090322-3287-4D3C-A158-E43939F1FA7E}" type="sibTrans" cxnId="{21D8E081-3F51-4864-8D5D-F1BA8CEC852F}">
      <dgm:prSet/>
      <dgm:spPr/>
      <dgm:t>
        <a:bodyPr/>
        <a:lstStyle/>
        <a:p>
          <a:endParaRPr lang="en-US" sz="1600"/>
        </a:p>
      </dgm:t>
    </dgm:pt>
    <dgm:pt modelId="{C1D130BE-4BC5-481C-BADA-14A869727C0B}">
      <dgm:prSet phldrT="[Text]" custT="1"/>
      <dgm:spPr/>
      <dgm:t>
        <a:bodyPr/>
        <a:lstStyle/>
        <a:p>
          <a:r>
            <a:rPr lang="de-DE" sz="1000" b="1" i="0" cap="none" baseline="0" dirty="0">
              <a:latin typeface="Myriad Pro" panose="020B0503030403020204" pitchFamily="34" charset="0"/>
            </a:rPr>
            <a:t>Ensembles </a:t>
          </a:r>
          <a:endParaRPr lang="de-DE" sz="1000" b="0" i="0" cap="none" baseline="0" dirty="0">
            <a:latin typeface="Myriad Pro" panose="020B0503030403020204" pitchFamily="34" charset="0"/>
          </a:endParaRPr>
        </a:p>
      </dgm:t>
    </dgm:pt>
    <dgm:pt modelId="{8A26916C-03BF-4B0E-92AF-656A56CF8513}" type="parTrans" cxnId="{221AD8BF-6539-43E4-9EB1-23AF138D0EE2}">
      <dgm:prSet/>
      <dgm:spPr/>
      <dgm:t>
        <a:bodyPr/>
        <a:lstStyle/>
        <a:p>
          <a:endParaRPr lang="en-US" sz="1600"/>
        </a:p>
      </dgm:t>
    </dgm:pt>
    <dgm:pt modelId="{4F4BE6FE-AE34-4934-8B0D-8FDF04C5765F}" type="sibTrans" cxnId="{221AD8BF-6539-43E4-9EB1-23AF138D0EE2}">
      <dgm:prSet/>
      <dgm:spPr/>
      <dgm:t>
        <a:bodyPr/>
        <a:lstStyle/>
        <a:p>
          <a:endParaRPr lang="en-US" sz="1600"/>
        </a:p>
      </dgm:t>
    </dgm:pt>
    <dgm:pt modelId="{CD6C8CAB-2DB8-4BEB-8794-D14E24B56239}">
      <dgm:prSet phldrT="[Text]" custT="1"/>
      <dgm:spPr/>
      <dgm:t>
        <a:bodyPr/>
        <a:lstStyle/>
        <a:p>
          <a:r>
            <a:rPr lang="de-DE" sz="1000" b="0" i="0" dirty="0">
              <a:latin typeface="Myriad Pro" panose="020B0503030403020204" pitchFamily="34" charset="0"/>
            </a:rPr>
            <a:t>Homogen</a:t>
          </a:r>
        </a:p>
      </dgm:t>
    </dgm:pt>
    <dgm:pt modelId="{503510FB-9E52-432E-98AC-FEF28CA55F0D}" type="parTrans" cxnId="{08C6FF6E-ED40-443D-B75C-6827A78AAE2F}">
      <dgm:prSet/>
      <dgm:spPr/>
      <dgm:t>
        <a:bodyPr/>
        <a:lstStyle/>
        <a:p>
          <a:endParaRPr lang="en-US" sz="1600"/>
        </a:p>
      </dgm:t>
    </dgm:pt>
    <dgm:pt modelId="{F6688289-1E3B-4C81-B097-4BC4F02DEEB1}" type="sibTrans" cxnId="{08C6FF6E-ED40-443D-B75C-6827A78AAE2F}">
      <dgm:prSet/>
      <dgm:spPr/>
      <dgm:t>
        <a:bodyPr/>
        <a:lstStyle/>
        <a:p>
          <a:endParaRPr lang="en-US" sz="1600"/>
        </a:p>
      </dgm:t>
    </dgm:pt>
    <dgm:pt modelId="{16945C89-930D-4764-8730-4F183F8B4C87}">
      <dgm:prSet phldrT="[Text]" custT="1"/>
      <dgm:spPr/>
      <dgm:t>
        <a:bodyPr/>
        <a:lstStyle/>
        <a:p>
          <a:r>
            <a:rPr lang="de-DE" sz="1000" b="0" i="0" dirty="0">
              <a:latin typeface="Myriad Pro" panose="020B0503030403020204" pitchFamily="34" charset="0"/>
            </a:rPr>
            <a:t>Heterogen</a:t>
          </a:r>
        </a:p>
      </dgm:t>
    </dgm:pt>
    <dgm:pt modelId="{B3C6A11E-10F5-433C-A0FB-1B185A7D12E0}" type="parTrans" cxnId="{587DEAC9-60C3-45DB-9C9F-C26256D35C0F}">
      <dgm:prSet/>
      <dgm:spPr/>
      <dgm:t>
        <a:bodyPr/>
        <a:lstStyle/>
        <a:p>
          <a:endParaRPr lang="en-US" sz="1600"/>
        </a:p>
      </dgm:t>
    </dgm:pt>
    <dgm:pt modelId="{5C8BCF49-4277-47C2-9543-A10467E88E20}" type="sibTrans" cxnId="{587DEAC9-60C3-45DB-9C9F-C26256D35C0F}">
      <dgm:prSet/>
      <dgm:spPr/>
      <dgm:t>
        <a:bodyPr/>
        <a:lstStyle/>
        <a:p>
          <a:endParaRPr lang="en-US" sz="1600"/>
        </a:p>
      </dgm:t>
    </dgm:pt>
    <dgm:pt modelId="{CF5B8EE4-D285-4E9D-BBB6-5F2F77DD4689}">
      <dgm:prSet phldrT="[Text]" custT="1"/>
      <dgm:spPr/>
      <dgm:t>
        <a:bodyPr/>
        <a:lstStyle/>
        <a:p>
          <a:r>
            <a:rPr lang="de-DE" sz="1000" b="0" i="0" dirty="0">
              <a:latin typeface="Myriad Pro" panose="020B0503030403020204" pitchFamily="34" charset="0"/>
            </a:rPr>
            <a:t>YOLO</a:t>
          </a:r>
        </a:p>
      </dgm:t>
    </dgm:pt>
    <dgm:pt modelId="{D937D902-C50B-4BEC-9C1F-D9880BCC701B}" type="parTrans" cxnId="{2ED6F702-CE72-434F-A1BB-6BCE9E2DA2BA}">
      <dgm:prSet/>
      <dgm:spPr/>
      <dgm:t>
        <a:bodyPr/>
        <a:lstStyle/>
        <a:p>
          <a:endParaRPr lang="en-US" sz="1600"/>
        </a:p>
      </dgm:t>
    </dgm:pt>
    <dgm:pt modelId="{CADCD7D6-E889-4A66-B79B-3ACEEF43F075}" type="sibTrans" cxnId="{2ED6F702-CE72-434F-A1BB-6BCE9E2DA2BA}">
      <dgm:prSet/>
      <dgm:spPr/>
      <dgm:t>
        <a:bodyPr/>
        <a:lstStyle/>
        <a:p>
          <a:endParaRPr lang="en-US" sz="1600"/>
        </a:p>
      </dgm:t>
    </dgm:pt>
    <dgm:pt modelId="{CA25E3C2-D53A-4DAC-A356-274163CFD791}">
      <dgm:prSet phldrT="[Text]" custT="1"/>
      <dgm:spPr/>
      <dgm:t>
        <a:bodyPr/>
        <a:lstStyle/>
        <a:p>
          <a:r>
            <a:rPr lang="de-DE" sz="1000" b="0" i="0" dirty="0" err="1">
              <a:latin typeface="Myriad Pro" panose="020B0503030403020204" pitchFamily="34" charset="0"/>
            </a:rPr>
            <a:t>Expizit</a:t>
          </a:r>
          <a:r>
            <a:rPr lang="de-DE" sz="1000" b="0" i="0" dirty="0">
              <a:latin typeface="Myriad Pro" panose="020B0503030403020204" pitchFamily="34" charset="0"/>
            </a:rPr>
            <a:t> </a:t>
          </a:r>
        </a:p>
      </dgm:t>
    </dgm:pt>
    <dgm:pt modelId="{858DE0EA-690E-49F0-9AFD-401C85E7FBB4}" type="parTrans" cxnId="{5B99DD31-B3E6-465C-A8DB-0DF740AA5D7A}">
      <dgm:prSet/>
      <dgm:spPr/>
      <dgm:t>
        <a:bodyPr/>
        <a:lstStyle/>
        <a:p>
          <a:endParaRPr lang="de-DE"/>
        </a:p>
      </dgm:t>
    </dgm:pt>
    <dgm:pt modelId="{2D56470D-3197-4A03-90FE-5A65A52F7EFB}" type="sibTrans" cxnId="{5B99DD31-B3E6-465C-A8DB-0DF740AA5D7A}">
      <dgm:prSet/>
      <dgm:spPr/>
      <dgm:t>
        <a:bodyPr/>
        <a:lstStyle/>
        <a:p>
          <a:endParaRPr lang="de-DE"/>
        </a:p>
      </dgm:t>
    </dgm:pt>
    <dgm:pt modelId="{2FAED816-5ABD-44B8-9175-AD4921C3FE98}">
      <dgm:prSet phldrT="[Text]" custT="1"/>
      <dgm:spPr/>
      <dgm:t>
        <a:bodyPr/>
        <a:lstStyle/>
        <a:p>
          <a:r>
            <a:rPr lang="de-DE" sz="1000" b="0" i="0" dirty="0" err="1">
              <a:latin typeface="Myriad Pro" panose="020B0503030403020204" pitchFamily="34" charset="0"/>
            </a:rPr>
            <a:t>Augmentierung</a:t>
          </a:r>
          <a:endParaRPr lang="de-DE" sz="1000" b="0" i="0" dirty="0">
            <a:latin typeface="Myriad Pro" panose="020B0503030403020204" pitchFamily="34" charset="0"/>
          </a:endParaRPr>
        </a:p>
      </dgm:t>
    </dgm:pt>
    <dgm:pt modelId="{4827AEAC-F6B1-4792-BB11-A609080D91CA}" type="sibTrans" cxnId="{4BDF838B-A489-4DE6-9003-7CF5CCBF8353}">
      <dgm:prSet/>
      <dgm:spPr/>
      <dgm:t>
        <a:bodyPr/>
        <a:lstStyle/>
        <a:p>
          <a:endParaRPr lang="de-DE"/>
        </a:p>
      </dgm:t>
    </dgm:pt>
    <dgm:pt modelId="{2C61C4AB-FC34-4364-9323-4A9D6350BA1C}" type="parTrans" cxnId="{4BDF838B-A489-4DE6-9003-7CF5CCBF8353}">
      <dgm:prSet/>
      <dgm:spPr/>
      <dgm:t>
        <a:bodyPr/>
        <a:lstStyle/>
        <a:p>
          <a:endParaRPr lang="de-DE"/>
        </a:p>
      </dgm:t>
    </dgm:pt>
    <dgm:pt modelId="{86A07196-5E8B-49B8-84A4-6DF135FCBFFC}">
      <dgm:prSet phldrT="[Text]" custT="1"/>
      <dgm:spPr/>
      <dgm:t>
        <a:bodyPr/>
        <a:lstStyle/>
        <a:p>
          <a:r>
            <a:rPr lang="de-DE" sz="1000" b="0" i="0" dirty="0">
              <a:latin typeface="Myriad Pro" panose="020B0503030403020204" pitchFamily="34" charset="0"/>
            </a:rPr>
            <a:t>Loss-Funktion </a:t>
          </a:r>
        </a:p>
      </dgm:t>
    </dgm:pt>
    <dgm:pt modelId="{4B4DC438-D558-40CF-9151-49154A83FB16}" type="sibTrans" cxnId="{0BE45343-E5ED-46E6-9E17-DA36296E3029}">
      <dgm:prSet/>
      <dgm:spPr/>
      <dgm:t>
        <a:bodyPr/>
        <a:lstStyle/>
        <a:p>
          <a:endParaRPr lang="de-DE"/>
        </a:p>
      </dgm:t>
    </dgm:pt>
    <dgm:pt modelId="{D0F076D3-591F-4547-A436-4947EC5EA385}" type="parTrans" cxnId="{0BE45343-E5ED-46E6-9E17-DA36296E3029}">
      <dgm:prSet/>
      <dgm:spPr/>
      <dgm:t>
        <a:bodyPr/>
        <a:lstStyle/>
        <a:p>
          <a:endParaRPr lang="de-DE"/>
        </a:p>
      </dgm:t>
    </dgm:pt>
    <dgm:pt modelId="{BF1B7062-91AB-4F1D-BD08-8D3EC4B33C1F}">
      <dgm:prSet phldrT="[Text]" custT="1"/>
      <dgm:spPr/>
      <dgm:t>
        <a:bodyPr/>
        <a:lstStyle/>
        <a:p>
          <a:r>
            <a:rPr lang="de-DE" sz="1000" b="0" i="0" dirty="0">
              <a:latin typeface="Myriad Pro" panose="020B0503030403020204" pitchFamily="34" charset="0"/>
            </a:rPr>
            <a:t>Architektur</a:t>
          </a:r>
        </a:p>
      </dgm:t>
    </dgm:pt>
    <dgm:pt modelId="{8ACEFE3D-DAAE-46D2-BF29-AF7B5FBB783D}" type="parTrans" cxnId="{626342BF-3559-4137-A851-ACB1710B13E3}">
      <dgm:prSet/>
      <dgm:spPr/>
      <dgm:t>
        <a:bodyPr/>
        <a:lstStyle/>
        <a:p>
          <a:endParaRPr lang="de-DE"/>
        </a:p>
      </dgm:t>
    </dgm:pt>
    <dgm:pt modelId="{0FF6A2D2-189B-4085-A91C-E4641E47ACCE}" type="sibTrans" cxnId="{626342BF-3559-4137-A851-ACB1710B13E3}">
      <dgm:prSet/>
      <dgm:spPr/>
      <dgm:t>
        <a:bodyPr/>
        <a:lstStyle/>
        <a:p>
          <a:endParaRPr lang="de-DE"/>
        </a:p>
      </dgm:t>
    </dgm:pt>
    <dgm:pt modelId="{4D897679-FA7C-48A2-A57F-5D0431886FF7}">
      <dgm:prSet phldrT="[Text]" custT="1"/>
      <dgm:spPr/>
      <dgm:t>
        <a:bodyPr/>
        <a:lstStyle/>
        <a:p>
          <a:r>
            <a:rPr lang="de-DE" sz="800" b="0" i="0" dirty="0">
              <a:latin typeface="Myriad Pro" panose="020B0503030403020204" pitchFamily="34" charset="0"/>
            </a:rPr>
            <a:t>U-Net</a:t>
          </a:r>
        </a:p>
      </dgm:t>
    </dgm:pt>
    <dgm:pt modelId="{C7C06085-9DF0-469C-90B3-434C5E418A6D}" type="parTrans" cxnId="{A3A0BCFB-D8D9-4632-B5AB-CF4EFA2E3C41}">
      <dgm:prSet/>
      <dgm:spPr/>
      <dgm:t>
        <a:bodyPr/>
        <a:lstStyle/>
        <a:p>
          <a:endParaRPr lang="de-DE"/>
        </a:p>
      </dgm:t>
    </dgm:pt>
    <dgm:pt modelId="{D55B2488-3E22-41F8-99B8-F1276460587D}" type="sibTrans" cxnId="{A3A0BCFB-D8D9-4632-B5AB-CF4EFA2E3C41}">
      <dgm:prSet/>
      <dgm:spPr/>
      <dgm:t>
        <a:bodyPr/>
        <a:lstStyle/>
        <a:p>
          <a:endParaRPr lang="de-DE"/>
        </a:p>
      </dgm:t>
    </dgm:pt>
    <dgm:pt modelId="{48CAF46E-7318-4269-B88D-4072C010818D}">
      <dgm:prSet phldrT="[Text]" custT="1"/>
      <dgm:spPr/>
      <dgm:t>
        <a:bodyPr/>
        <a:lstStyle/>
        <a:p>
          <a:r>
            <a:rPr lang="de-DE" sz="800" b="0" i="0" dirty="0">
              <a:latin typeface="Myriad Pro" panose="020B0503030403020204" pitchFamily="34" charset="0"/>
            </a:rPr>
            <a:t>U-Net++</a:t>
          </a:r>
        </a:p>
      </dgm:t>
    </dgm:pt>
    <dgm:pt modelId="{81CB6F6D-48DA-416D-9426-0B6E4B5AD737}" type="parTrans" cxnId="{75353E2D-D5F4-4C4B-8BFF-3A25A17EC9FB}">
      <dgm:prSet/>
      <dgm:spPr/>
      <dgm:t>
        <a:bodyPr/>
        <a:lstStyle/>
        <a:p>
          <a:endParaRPr lang="de-DE"/>
        </a:p>
      </dgm:t>
    </dgm:pt>
    <dgm:pt modelId="{D0BFACD0-8F45-4F8C-9779-0AF1AE559907}" type="sibTrans" cxnId="{75353E2D-D5F4-4C4B-8BFF-3A25A17EC9FB}">
      <dgm:prSet/>
      <dgm:spPr/>
      <dgm:t>
        <a:bodyPr/>
        <a:lstStyle/>
        <a:p>
          <a:endParaRPr lang="de-DE"/>
        </a:p>
      </dgm:t>
    </dgm:pt>
    <dgm:pt modelId="{ADED253C-6A2E-4631-B1D4-F5E1FE2B5B55}">
      <dgm:prSet phldrT="[Text]" custT="1"/>
      <dgm:spPr/>
      <dgm:t>
        <a:bodyPr/>
        <a:lstStyle/>
        <a:p>
          <a:r>
            <a:rPr lang="de-DE" sz="800" b="0" i="0" dirty="0">
              <a:latin typeface="Myriad Pro" panose="020B0503030403020204" pitchFamily="34" charset="0"/>
            </a:rPr>
            <a:t>FPN</a:t>
          </a:r>
        </a:p>
      </dgm:t>
    </dgm:pt>
    <dgm:pt modelId="{23EDCDD5-F170-402F-A11E-15FD466C3CE5}" type="parTrans" cxnId="{7CDA6FEF-3872-4337-84FA-0DD423E0FBC5}">
      <dgm:prSet/>
      <dgm:spPr/>
      <dgm:t>
        <a:bodyPr/>
        <a:lstStyle/>
        <a:p>
          <a:endParaRPr lang="de-DE"/>
        </a:p>
      </dgm:t>
    </dgm:pt>
    <dgm:pt modelId="{074D77D4-B07D-447C-B97C-356C65F95759}" type="sibTrans" cxnId="{7CDA6FEF-3872-4337-84FA-0DD423E0FBC5}">
      <dgm:prSet/>
      <dgm:spPr/>
      <dgm:t>
        <a:bodyPr/>
        <a:lstStyle/>
        <a:p>
          <a:endParaRPr lang="de-DE"/>
        </a:p>
      </dgm:t>
    </dgm:pt>
    <dgm:pt modelId="{D11BAA21-3D0E-4BFE-97F1-F349F96BB7F2}">
      <dgm:prSet phldrT="[Text]" custT="1"/>
      <dgm:spPr/>
      <dgm:t>
        <a:bodyPr/>
        <a:lstStyle/>
        <a:p>
          <a:r>
            <a:rPr lang="de-DE" sz="800" b="0" i="0" dirty="0">
              <a:latin typeface="Myriad Pro" panose="020B0503030403020204" pitchFamily="34" charset="0"/>
            </a:rPr>
            <a:t>PSPN</a:t>
          </a:r>
        </a:p>
      </dgm:t>
    </dgm:pt>
    <dgm:pt modelId="{524ED0C4-9CC2-4C2A-B51C-974FA37A7FE7}" type="parTrans" cxnId="{46C105CF-449F-4F1C-B399-CE70EC74C4C8}">
      <dgm:prSet/>
      <dgm:spPr/>
      <dgm:t>
        <a:bodyPr/>
        <a:lstStyle/>
        <a:p>
          <a:endParaRPr lang="de-DE"/>
        </a:p>
      </dgm:t>
    </dgm:pt>
    <dgm:pt modelId="{632B7E11-8BCB-44BB-80A1-C58DA59BDECF}" type="sibTrans" cxnId="{46C105CF-449F-4F1C-B399-CE70EC74C4C8}">
      <dgm:prSet/>
      <dgm:spPr/>
      <dgm:t>
        <a:bodyPr/>
        <a:lstStyle/>
        <a:p>
          <a:endParaRPr lang="de-DE"/>
        </a:p>
      </dgm:t>
    </dgm:pt>
    <dgm:pt modelId="{33587DE4-8F92-4CA4-A011-892138D47DA7}">
      <dgm:prSet phldrT="[Text]" custT="1"/>
      <dgm:spPr/>
      <dgm:t>
        <a:bodyPr/>
        <a:lstStyle/>
        <a:p>
          <a:r>
            <a:rPr lang="de-DE" sz="800" b="0" i="0" dirty="0">
              <a:latin typeface="Myriad Pro" panose="020B0503030403020204" pitchFamily="34" charset="0"/>
            </a:rPr>
            <a:t>PAN</a:t>
          </a:r>
        </a:p>
      </dgm:t>
    </dgm:pt>
    <dgm:pt modelId="{31BDA904-A9EF-437C-9DAF-E5BDF8C1106E}" type="parTrans" cxnId="{32BA70E3-2B88-4E2B-9094-EE86858857DA}">
      <dgm:prSet/>
      <dgm:spPr/>
      <dgm:t>
        <a:bodyPr/>
        <a:lstStyle/>
        <a:p>
          <a:endParaRPr lang="de-DE"/>
        </a:p>
      </dgm:t>
    </dgm:pt>
    <dgm:pt modelId="{359CEDC3-C134-4529-AEBB-BBDE1EA7D255}" type="sibTrans" cxnId="{32BA70E3-2B88-4E2B-9094-EE86858857DA}">
      <dgm:prSet/>
      <dgm:spPr/>
      <dgm:t>
        <a:bodyPr/>
        <a:lstStyle/>
        <a:p>
          <a:endParaRPr lang="de-DE"/>
        </a:p>
      </dgm:t>
    </dgm:pt>
    <dgm:pt modelId="{DAFF3CB8-4780-4F42-8F5A-A2879CF5C5A6}">
      <dgm:prSet phldrT="[Text]" custT="1"/>
      <dgm:spPr/>
      <dgm:t>
        <a:bodyPr/>
        <a:lstStyle/>
        <a:p>
          <a:r>
            <a:rPr lang="de-DE" sz="1000" b="0" i="0" dirty="0" err="1">
              <a:latin typeface="Myriad Pro" panose="020B0503030403020204" pitchFamily="34" charset="0"/>
            </a:rPr>
            <a:t>Lernrate</a:t>
          </a:r>
          <a:endParaRPr lang="de-DE" sz="1000" b="0" i="0" dirty="0">
            <a:latin typeface="Myriad Pro" panose="020B0503030403020204" pitchFamily="34" charset="0"/>
          </a:endParaRPr>
        </a:p>
      </dgm:t>
    </dgm:pt>
    <dgm:pt modelId="{BB72E3E4-7E20-4FF3-87BE-AD24CB2F12EE}" type="parTrans" cxnId="{C5BE0DE1-3793-4C23-A900-78112F2919D4}">
      <dgm:prSet/>
      <dgm:spPr/>
      <dgm:t>
        <a:bodyPr/>
        <a:lstStyle/>
        <a:p>
          <a:endParaRPr lang="de-DE"/>
        </a:p>
      </dgm:t>
    </dgm:pt>
    <dgm:pt modelId="{1E1C3655-4299-4282-B808-C53E3FABF68D}" type="sibTrans" cxnId="{C5BE0DE1-3793-4C23-A900-78112F2919D4}">
      <dgm:prSet/>
      <dgm:spPr/>
      <dgm:t>
        <a:bodyPr/>
        <a:lstStyle/>
        <a:p>
          <a:endParaRPr lang="de-DE"/>
        </a:p>
      </dgm:t>
    </dgm:pt>
    <dgm:pt modelId="{49A0BB83-CEA0-46AB-9D0B-B65F612AEE4A}">
      <dgm:prSet phldrT="[Text]" custT="1"/>
      <dgm:spPr/>
      <dgm:t>
        <a:bodyPr/>
        <a:lstStyle/>
        <a:p>
          <a:r>
            <a:rPr lang="de-DE" sz="1000" b="0" i="0" dirty="0">
              <a:latin typeface="Myriad Pro" panose="020B0503030403020204" pitchFamily="34" charset="0"/>
            </a:rPr>
            <a:t>Encoder</a:t>
          </a:r>
        </a:p>
      </dgm:t>
    </dgm:pt>
    <dgm:pt modelId="{AE65C2BF-225F-4643-AE59-9457E6820B24}" type="parTrans" cxnId="{0419F4C6-C72F-44E5-856A-7A5E20A609B0}">
      <dgm:prSet/>
      <dgm:spPr/>
      <dgm:t>
        <a:bodyPr/>
        <a:lstStyle/>
        <a:p>
          <a:endParaRPr lang="de-DE"/>
        </a:p>
      </dgm:t>
    </dgm:pt>
    <dgm:pt modelId="{2328B74F-4929-49C4-A401-C9585D838753}" type="sibTrans" cxnId="{0419F4C6-C72F-44E5-856A-7A5E20A609B0}">
      <dgm:prSet/>
      <dgm:spPr/>
      <dgm:t>
        <a:bodyPr/>
        <a:lstStyle/>
        <a:p>
          <a:endParaRPr lang="de-DE"/>
        </a:p>
      </dgm:t>
    </dgm:pt>
    <dgm:pt modelId="{C1F68F19-94EA-4970-A79B-863E823848E5}">
      <dgm:prSet phldrT="[Text]" custT="1"/>
      <dgm:spPr/>
      <dgm:t>
        <a:bodyPr/>
        <a:lstStyle/>
        <a:p>
          <a:r>
            <a:rPr lang="de-DE" sz="800" b="0" i="0" dirty="0" err="1">
              <a:latin typeface="Myriad Pro" panose="020B0503030403020204" pitchFamily="34" charset="0"/>
            </a:rPr>
            <a:t>ResNet</a:t>
          </a:r>
          <a:endParaRPr lang="de-DE" sz="800" b="0" i="0" dirty="0">
            <a:latin typeface="Myriad Pro" panose="020B0503030403020204" pitchFamily="34" charset="0"/>
          </a:endParaRPr>
        </a:p>
      </dgm:t>
    </dgm:pt>
    <dgm:pt modelId="{0F1B911F-6353-4AE6-9EEF-D49625DE905E}" type="parTrans" cxnId="{4A7380CF-8162-4F2E-9F90-B51642631E94}">
      <dgm:prSet/>
      <dgm:spPr/>
      <dgm:t>
        <a:bodyPr/>
        <a:lstStyle/>
        <a:p>
          <a:endParaRPr lang="de-DE"/>
        </a:p>
      </dgm:t>
    </dgm:pt>
    <dgm:pt modelId="{60DB14D8-838D-4A63-A334-C12EB1C7625D}" type="sibTrans" cxnId="{4A7380CF-8162-4F2E-9F90-B51642631E94}">
      <dgm:prSet/>
      <dgm:spPr/>
      <dgm:t>
        <a:bodyPr/>
        <a:lstStyle/>
        <a:p>
          <a:endParaRPr lang="de-DE"/>
        </a:p>
      </dgm:t>
    </dgm:pt>
    <dgm:pt modelId="{3EC8FF9E-3113-473A-A5E5-ABD9C5F94794}">
      <dgm:prSet phldrT="[Text]" custT="1"/>
      <dgm:spPr/>
      <dgm:t>
        <a:bodyPr/>
        <a:lstStyle/>
        <a:p>
          <a:r>
            <a:rPr lang="de-DE" sz="800" b="0" i="0" dirty="0" err="1">
              <a:latin typeface="Myriad Pro" panose="020B0503030403020204" pitchFamily="34" charset="0"/>
            </a:rPr>
            <a:t>ResNext</a:t>
          </a:r>
          <a:endParaRPr lang="de-DE" sz="800" b="0" i="0" dirty="0">
            <a:latin typeface="Myriad Pro" panose="020B0503030403020204" pitchFamily="34" charset="0"/>
          </a:endParaRPr>
        </a:p>
      </dgm:t>
    </dgm:pt>
    <dgm:pt modelId="{87CDD4F3-E71F-44A9-B515-E47672A849B6}" type="parTrans" cxnId="{0A8FCBF8-AD1F-4CF4-8568-2F5CBABA5157}">
      <dgm:prSet/>
      <dgm:spPr/>
      <dgm:t>
        <a:bodyPr/>
        <a:lstStyle/>
        <a:p>
          <a:endParaRPr lang="de-DE"/>
        </a:p>
      </dgm:t>
    </dgm:pt>
    <dgm:pt modelId="{25369813-4686-4B37-9746-915D5E2ABB1B}" type="sibTrans" cxnId="{0A8FCBF8-AD1F-4CF4-8568-2F5CBABA5157}">
      <dgm:prSet/>
      <dgm:spPr/>
      <dgm:t>
        <a:bodyPr/>
        <a:lstStyle/>
        <a:p>
          <a:endParaRPr lang="de-DE"/>
        </a:p>
      </dgm:t>
    </dgm:pt>
    <dgm:pt modelId="{E0EC0A27-9EDB-47A4-8DED-CBD1A61B9BC9}">
      <dgm:prSet phldrT="[Text]" custT="1"/>
      <dgm:spPr/>
      <dgm:t>
        <a:bodyPr/>
        <a:lstStyle/>
        <a:p>
          <a:r>
            <a:rPr lang="de-DE" sz="800" b="0" i="0" dirty="0">
              <a:latin typeface="Myriad Pro" panose="020B0503030403020204" pitchFamily="34" charset="0"/>
            </a:rPr>
            <a:t>Inception-V4</a:t>
          </a:r>
        </a:p>
      </dgm:t>
    </dgm:pt>
    <dgm:pt modelId="{C6050D19-3AE0-4870-8460-7297D5C8A50F}" type="sibTrans" cxnId="{FEC8D416-8216-4562-8549-24473B803C80}">
      <dgm:prSet/>
      <dgm:spPr/>
      <dgm:t>
        <a:bodyPr/>
        <a:lstStyle/>
        <a:p>
          <a:endParaRPr lang="de-DE"/>
        </a:p>
      </dgm:t>
    </dgm:pt>
    <dgm:pt modelId="{42F96A8F-BB1E-4B89-AB8E-11A0F37EB1DB}" type="parTrans" cxnId="{FEC8D416-8216-4562-8549-24473B803C80}">
      <dgm:prSet/>
      <dgm:spPr/>
      <dgm:t>
        <a:bodyPr/>
        <a:lstStyle/>
        <a:p>
          <a:endParaRPr lang="de-DE"/>
        </a:p>
      </dgm:t>
    </dgm:pt>
    <dgm:pt modelId="{4DA8AE24-A75C-40AE-A6A1-13FE57AE449D}">
      <dgm:prSet phldrT="[Text]" custT="1"/>
      <dgm:spPr/>
      <dgm:t>
        <a:bodyPr/>
        <a:lstStyle/>
        <a:p>
          <a:r>
            <a:rPr lang="de-DE" sz="800" b="0" i="0" dirty="0">
              <a:latin typeface="Myriad Pro" panose="020B0503030403020204" pitchFamily="34" charset="0"/>
            </a:rPr>
            <a:t>Inception-</a:t>
          </a:r>
          <a:r>
            <a:rPr lang="de-DE" sz="800" b="0" i="0" dirty="0" err="1">
              <a:latin typeface="Myriad Pro" panose="020B0503030403020204" pitchFamily="34" charset="0"/>
            </a:rPr>
            <a:t>ResNet</a:t>
          </a:r>
          <a:endParaRPr lang="de-DE" sz="800" b="0" i="0" dirty="0">
            <a:latin typeface="Myriad Pro" panose="020B0503030403020204" pitchFamily="34" charset="0"/>
          </a:endParaRPr>
        </a:p>
      </dgm:t>
    </dgm:pt>
    <dgm:pt modelId="{DF4C3ABC-A688-4048-91A3-DFE9CE606182}" type="sibTrans" cxnId="{F4D4E3EF-4C7A-4DD4-B693-2A68087757F8}">
      <dgm:prSet/>
      <dgm:spPr/>
      <dgm:t>
        <a:bodyPr/>
        <a:lstStyle/>
        <a:p>
          <a:endParaRPr lang="de-DE"/>
        </a:p>
      </dgm:t>
    </dgm:pt>
    <dgm:pt modelId="{2DCC687C-BE9B-4DD8-8A80-E970635437CA}" type="parTrans" cxnId="{F4D4E3EF-4C7A-4DD4-B693-2A68087757F8}">
      <dgm:prSet/>
      <dgm:spPr/>
      <dgm:t>
        <a:bodyPr/>
        <a:lstStyle/>
        <a:p>
          <a:endParaRPr lang="de-DE"/>
        </a:p>
      </dgm:t>
    </dgm:pt>
    <dgm:pt modelId="{50C4D88C-9CB0-4513-8456-755395491158}" type="pres">
      <dgm:prSet presAssocID="{96C9D5F4-FF4F-420D-8420-A926E166D7A2}" presName="Name0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</dgm:pt>
    <dgm:pt modelId="{506FBA0B-6598-4404-B87A-56869B8718E3}" type="pres">
      <dgm:prSet presAssocID="{D0997319-AE2C-4C46-ADCB-BA43BE3F3F54}" presName="root1" presStyleCnt="0"/>
      <dgm:spPr/>
    </dgm:pt>
    <dgm:pt modelId="{DCF5B4EF-DE4F-4292-A3B2-724C163A44AB}" type="pres">
      <dgm:prSet presAssocID="{D0997319-AE2C-4C46-ADCB-BA43BE3F3F54}" presName="LevelOneTextNode" presStyleLbl="node0" presStyleIdx="0" presStyleCnt="1">
        <dgm:presLayoutVars>
          <dgm:chPref val="3"/>
        </dgm:presLayoutVars>
      </dgm:prSet>
      <dgm:spPr/>
    </dgm:pt>
    <dgm:pt modelId="{7E8A6FC8-F240-4C27-8F75-0549E9D1CE4E}" type="pres">
      <dgm:prSet presAssocID="{D0997319-AE2C-4C46-ADCB-BA43BE3F3F54}" presName="level2hierChild" presStyleCnt="0"/>
      <dgm:spPr/>
    </dgm:pt>
    <dgm:pt modelId="{BE328E0A-C287-4B1A-BD90-C0F3098FFCD9}" type="pres">
      <dgm:prSet presAssocID="{B164CB56-71EE-412E-A3A2-1509A3B08E05}" presName="conn2-1" presStyleLbl="parChTrans1D2" presStyleIdx="0" presStyleCnt="3"/>
      <dgm:spPr/>
    </dgm:pt>
    <dgm:pt modelId="{1EB559E9-DB95-4028-B960-01A592B99E92}" type="pres">
      <dgm:prSet presAssocID="{B164CB56-71EE-412E-A3A2-1509A3B08E05}" presName="connTx" presStyleLbl="parChTrans1D2" presStyleIdx="0" presStyleCnt="3"/>
      <dgm:spPr/>
    </dgm:pt>
    <dgm:pt modelId="{9893F228-CFAA-415F-97D9-8C8EA9FB1BC5}" type="pres">
      <dgm:prSet presAssocID="{8E70AA8F-7583-4AFE-9EDE-87363894E1F8}" presName="root2" presStyleCnt="0"/>
      <dgm:spPr/>
    </dgm:pt>
    <dgm:pt modelId="{49ADAAAB-354D-4968-9DE9-378E6595E5BB}" type="pres">
      <dgm:prSet presAssocID="{8E70AA8F-7583-4AFE-9EDE-87363894E1F8}" presName="LevelTwoTextNode" presStyleLbl="node2" presStyleIdx="0" presStyleCnt="3">
        <dgm:presLayoutVars>
          <dgm:chPref val="3"/>
        </dgm:presLayoutVars>
      </dgm:prSet>
      <dgm:spPr/>
    </dgm:pt>
    <dgm:pt modelId="{46E2FE2A-A747-4DEE-AAF5-53A8EE84B06B}" type="pres">
      <dgm:prSet presAssocID="{8E70AA8F-7583-4AFE-9EDE-87363894E1F8}" presName="level3hierChild" presStyleCnt="0"/>
      <dgm:spPr/>
    </dgm:pt>
    <dgm:pt modelId="{A00DE1AA-92DF-4607-98DB-1C3BB048DCF5}" type="pres">
      <dgm:prSet presAssocID="{8ACEFE3D-DAAE-46D2-BF29-AF7B5FBB783D}" presName="conn2-1" presStyleLbl="parChTrans1D3" presStyleIdx="0" presStyleCnt="10"/>
      <dgm:spPr/>
    </dgm:pt>
    <dgm:pt modelId="{FCADF10C-D51C-403A-B095-E884F4771DA4}" type="pres">
      <dgm:prSet presAssocID="{8ACEFE3D-DAAE-46D2-BF29-AF7B5FBB783D}" presName="connTx" presStyleLbl="parChTrans1D3" presStyleIdx="0" presStyleCnt="10"/>
      <dgm:spPr/>
    </dgm:pt>
    <dgm:pt modelId="{82114EE1-887C-431E-AFFD-6C4277E5953D}" type="pres">
      <dgm:prSet presAssocID="{BF1B7062-91AB-4F1D-BD08-8D3EC4B33C1F}" presName="root2" presStyleCnt="0"/>
      <dgm:spPr/>
    </dgm:pt>
    <dgm:pt modelId="{F9F18759-F577-4686-9C34-EB964D732C77}" type="pres">
      <dgm:prSet presAssocID="{BF1B7062-91AB-4F1D-BD08-8D3EC4B33C1F}" presName="LevelTwoTextNode" presStyleLbl="node3" presStyleIdx="0" presStyleCnt="10">
        <dgm:presLayoutVars>
          <dgm:chPref val="3"/>
        </dgm:presLayoutVars>
      </dgm:prSet>
      <dgm:spPr/>
    </dgm:pt>
    <dgm:pt modelId="{54BDE115-2A0C-4217-89B4-E7E8586234DB}" type="pres">
      <dgm:prSet presAssocID="{BF1B7062-91AB-4F1D-BD08-8D3EC4B33C1F}" presName="level3hierChild" presStyleCnt="0"/>
      <dgm:spPr/>
    </dgm:pt>
    <dgm:pt modelId="{6D05A90F-5A8D-42F9-A2CB-82F28C0FF2BC}" type="pres">
      <dgm:prSet presAssocID="{C7C06085-9DF0-469C-90B3-434C5E418A6D}" presName="conn2-1" presStyleLbl="parChTrans1D4" presStyleIdx="0" presStyleCnt="9"/>
      <dgm:spPr/>
    </dgm:pt>
    <dgm:pt modelId="{799FD5E4-5D76-4338-BDA8-9F7F790A3A29}" type="pres">
      <dgm:prSet presAssocID="{C7C06085-9DF0-469C-90B3-434C5E418A6D}" presName="connTx" presStyleLbl="parChTrans1D4" presStyleIdx="0" presStyleCnt="9"/>
      <dgm:spPr/>
    </dgm:pt>
    <dgm:pt modelId="{1C875D8C-6779-45C7-9DF1-E38374A18533}" type="pres">
      <dgm:prSet presAssocID="{4D897679-FA7C-48A2-A57F-5D0431886FF7}" presName="root2" presStyleCnt="0"/>
      <dgm:spPr/>
    </dgm:pt>
    <dgm:pt modelId="{F8A94DA1-2081-4A8B-816C-A9F98C2853F5}" type="pres">
      <dgm:prSet presAssocID="{4D897679-FA7C-48A2-A57F-5D0431886FF7}" presName="LevelTwoTextNode" presStyleLbl="node4" presStyleIdx="0" presStyleCnt="9">
        <dgm:presLayoutVars>
          <dgm:chPref val="3"/>
        </dgm:presLayoutVars>
      </dgm:prSet>
      <dgm:spPr/>
    </dgm:pt>
    <dgm:pt modelId="{BE78AA36-14CC-406D-9CAF-F23AD3DFDFED}" type="pres">
      <dgm:prSet presAssocID="{4D897679-FA7C-48A2-A57F-5D0431886FF7}" presName="level3hierChild" presStyleCnt="0"/>
      <dgm:spPr/>
    </dgm:pt>
    <dgm:pt modelId="{8F0AA0AA-EF8D-43DE-82C5-2D7BFD08315F}" type="pres">
      <dgm:prSet presAssocID="{81CB6F6D-48DA-416D-9426-0B6E4B5AD737}" presName="conn2-1" presStyleLbl="parChTrans1D4" presStyleIdx="1" presStyleCnt="9"/>
      <dgm:spPr/>
    </dgm:pt>
    <dgm:pt modelId="{FD15021D-62B7-4A46-932A-654E778DB44B}" type="pres">
      <dgm:prSet presAssocID="{81CB6F6D-48DA-416D-9426-0B6E4B5AD737}" presName="connTx" presStyleLbl="parChTrans1D4" presStyleIdx="1" presStyleCnt="9"/>
      <dgm:spPr/>
    </dgm:pt>
    <dgm:pt modelId="{92C6DF90-94C7-417B-A0B7-472D3330DFC6}" type="pres">
      <dgm:prSet presAssocID="{48CAF46E-7318-4269-B88D-4072C010818D}" presName="root2" presStyleCnt="0"/>
      <dgm:spPr/>
    </dgm:pt>
    <dgm:pt modelId="{571B8373-7DFF-4282-8AA6-80F7CC7EA7C8}" type="pres">
      <dgm:prSet presAssocID="{48CAF46E-7318-4269-B88D-4072C010818D}" presName="LevelTwoTextNode" presStyleLbl="node4" presStyleIdx="1" presStyleCnt="9">
        <dgm:presLayoutVars>
          <dgm:chPref val="3"/>
        </dgm:presLayoutVars>
      </dgm:prSet>
      <dgm:spPr/>
    </dgm:pt>
    <dgm:pt modelId="{2E395B4D-D351-4809-A97B-BD1545D151D6}" type="pres">
      <dgm:prSet presAssocID="{48CAF46E-7318-4269-B88D-4072C010818D}" presName="level3hierChild" presStyleCnt="0"/>
      <dgm:spPr/>
    </dgm:pt>
    <dgm:pt modelId="{709C936E-7E65-4B5A-AC40-4548A25152AC}" type="pres">
      <dgm:prSet presAssocID="{23EDCDD5-F170-402F-A11E-15FD466C3CE5}" presName="conn2-1" presStyleLbl="parChTrans1D4" presStyleIdx="2" presStyleCnt="9"/>
      <dgm:spPr/>
    </dgm:pt>
    <dgm:pt modelId="{79D3B186-92E5-40C6-A995-4173A00C788D}" type="pres">
      <dgm:prSet presAssocID="{23EDCDD5-F170-402F-A11E-15FD466C3CE5}" presName="connTx" presStyleLbl="parChTrans1D4" presStyleIdx="2" presStyleCnt="9"/>
      <dgm:spPr/>
    </dgm:pt>
    <dgm:pt modelId="{288D4D72-A885-421E-B53B-89BEC0A8E191}" type="pres">
      <dgm:prSet presAssocID="{ADED253C-6A2E-4631-B1D4-F5E1FE2B5B55}" presName="root2" presStyleCnt="0"/>
      <dgm:spPr/>
    </dgm:pt>
    <dgm:pt modelId="{9E59A063-5821-4E2B-8FD8-3EBA8922B98E}" type="pres">
      <dgm:prSet presAssocID="{ADED253C-6A2E-4631-B1D4-F5E1FE2B5B55}" presName="LevelTwoTextNode" presStyleLbl="node4" presStyleIdx="2" presStyleCnt="9">
        <dgm:presLayoutVars>
          <dgm:chPref val="3"/>
        </dgm:presLayoutVars>
      </dgm:prSet>
      <dgm:spPr/>
    </dgm:pt>
    <dgm:pt modelId="{A60165E3-8C06-4086-B11F-0E702421E440}" type="pres">
      <dgm:prSet presAssocID="{ADED253C-6A2E-4631-B1D4-F5E1FE2B5B55}" presName="level3hierChild" presStyleCnt="0"/>
      <dgm:spPr/>
    </dgm:pt>
    <dgm:pt modelId="{C5F46441-018D-4AD0-9984-278FB6B3653F}" type="pres">
      <dgm:prSet presAssocID="{524ED0C4-9CC2-4C2A-B51C-974FA37A7FE7}" presName="conn2-1" presStyleLbl="parChTrans1D4" presStyleIdx="3" presStyleCnt="9"/>
      <dgm:spPr/>
    </dgm:pt>
    <dgm:pt modelId="{D9EA4352-69AB-4BEF-A3B8-25557C0E3D3D}" type="pres">
      <dgm:prSet presAssocID="{524ED0C4-9CC2-4C2A-B51C-974FA37A7FE7}" presName="connTx" presStyleLbl="parChTrans1D4" presStyleIdx="3" presStyleCnt="9"/>
      <dgm:spPr/>
    </dgm:pt>
    <dgm:pt modelId="{0E92266F-6127-4D65-BB11-33FD467F105D}" type="pres">
      <dgm:prSet presAssocID="{D11BAA21-3D0E-4BFE-97F1-F349F96BB7F2}" presName="root2" presStyleCnt="0"/>
      <dgm:spPr/>
    </dgm:pt>
    <dgm:pt modelId="{E35C2840-DB93-493D-B275-166B0E0C4A9D}" type="pres">
      <dgm:prSet presAssocID="{D11BAA21-3D0E-4BFE-97F1-F349F96BB7F2}" presName="LevelTwoTextNode" presStyleLbl="node4" presStyleIdx="3" presStyleCnt="9">
        <dgm:presLayoutVars>
          <dgm:chPref val="3"/>
        </dgm:presLayoutVars>
      </dgm:prSet>
      <dgm:spPr/>
    </dgm:pt>
    <dgm:pt modelId="{D8A053A6-8CD3-465F-9ECC-7C0D113893EE}" type="pres">
      <dgm:prSet presAssocID="{D11BAA21-3D0E-4BFE-97F1-F349F96BB7F2}" presName="level3hierChild" presStyleCnt="0"/>
      <dgm:spPr/>
    </dgm:pt>
    <dgm:pt modelId="{FAF45787-F807-4BB6-923D-0C0E2CD8C149}" type="pres">
      <dgm:prSet presAssocID="{31BDA904-A9EF-437C-9DAF-E5BDF8C1106E}" presName="conn2-1" presStyleLbl="parChTrans1D4" presStyleIdx="4" presStyleCnt="9"/>
      <dgm:spPr/>
    </dgm:pt>
    <dgm:pt modelId="{8B0AB1CA-7D19-4139-820F-FBEA5B4373F8}" type="pres">
      <dgm:prSet presAssocID="{31BDA904-A9EF-437C-9DAF-E5BDF8C1106E}" presName="connTx" presStyleLbl="parChTrans1D4" presStyleIdx="4" presStyleCnt="9"/>
      <dgm:spPr/>
    </dgm:pt>
    <dgm:pt modelId="{C3306D52-2437-4385-ACA3-7D8CE9EB0569}" type="pres">
      <dgm:prSet presAssocID="{33587DE4-8F92-4CA4-A011-892138D47DA7}" presName="root2" presStyleCnt="0"/>
      <dgm:spPr/>
    </dgm:pt>
    <dgm:pt modelId="{8F47A465-73D6-48E5-83FD-F149301C3BBD}" type="pres">
      <dgm:prSet presAssocID="{33587DE4-8F92-4CA4-A011-892138D47DA7}" presName="LevelTwoTextNode" presStyleLbl="node4" presStyleIdx="4" presStyleCnt="9">
        <dgm:presLayoutVars>
          <dgm:chPref val="3"/>
        </dgm:presLayoutVars>
      </dgm:prSet>
      <dgm:spPr/>
    </dgm:pt>
    <dgm:pt modelId="{E32E857A-F3CD-4263-AB35-D59E97F83B1D}" type="pres">
      <dgm:prSet presAssocID="{33587DE4-8F92-4CA4-A011-892138D47DA7}" presName="level3hierChild" presStyleCnt="0"/>
      <dgm:spPr/>
    </dgm:pt>
    <dgm:pt modelId="{5BC2DE1D-C4D7-4BFC-A0C1-3D282DC024CD}" type="pres">
      <dgm:prSet presAssocID="{AE65C2BF-225F-4643-AE59-9457E6820B24}" presName="conn2-1" presStyleLbl="parChTrans1D3" presStyleIdx="1" presStyleCnt="10"/>
      <dgm:spPr/>
    </dgm:pt>
    <dgm:pt modelId="{0C497864-2349-44C5-8D11-5F89748F0519}" type="pres">
      <dgm:prSet presAssocID="{AE65C2BF-225F-4643-AE59-9457E6820B24}" presName="connTx" presStyleLbl="parChTrans1D3" presStyleIdx="1" presStyleCnt="10"/>
      <dgm:spPr/>
    </dgm:pt>
    <dgm:pt modelId="{9DEE4079-5D60-4753-AEAE-EF1343D66E8F}" type="pres">
      <dgm:prSet presAssocID="{49A0BB83-CEA0-46AB-9D0B-B65F612AEE4A}" presName="root2" presStyleCnt="0"/>
      <dgm:spPr/>
    </dgm:pt>
    <dgm:pt modelId="{DC0B28EB-699E-45BB-87EC-30E574E72821}" type="pres">
      <dgm:prSet presAssocID="{49A0BB83-CEA0-46AB-9D0B-B65F612AEE4A}" presName="LevelTwoTextNode" presStyleLbl="node3" presStyleIdx="1" presStyleCnt="10">
        <dgm:presLayoutVars>
          <dgm:chPref val="3"/>
        </dgm:presLayoutVars>
      </dgm:prSet>
      <dgm:spPr/>
    </dgm:pt>
    <dgm:pt modelId="{F96545F6-99BC-46B9-929F-A49863AE73CF}" type="pres">
      <dgm:prSet presAssocID="{49A0BB83-CEA0-46AB-9D0B-B65F612AEE4A}" presName="level3hierChild" presStyleCnt="0"/>
      <dgm:spPr/>
    </dgm:pt>
    <dgm:pt modelId="{7F2C676C-E906-4B26-892E-C728B9239429}" type="pres">
      <dgm:prSet presAssocID="{42F96A8F-BB1E-4B89-AB8E-11A0F37EB1DB}" presName="conn2-1" presStyleLbl="parChTrans1D4" presStyleIdx="5" presStyleCnt="9"/>
      <dgm:spPr/>
    </dgm:pt>
    <dgm:pt modelId="{F614A676-E312-4A6F-BE9F-B6E2993177B6}" type="pres">
      <dgm:prSet presAssocID="{42F96A8F-BB1E-4B89-AB8E-11A0F37EB1DB}" presName="connTx" presStyleLbl="parChTrans1D4" presStyleIdx="5" presStyleCnt="9"/>
      <dgm:spPr/>
    </dgm:pt>
    <dgm:pt modelId="{BDC558D4-E8FE-4402-98B6-954B2DED52D1}" type="pres">
      <dgm:prSet presAssocID="{E0EC0A27-9EDB-47A4-8DED-CBD1A61B9BC9}" presName="root2" presStyleCnt="0"/>
      <dgm:spPr/>
    </dgm:pt>
    <dgm:pt modelId="{81473451-3FF3-474B-98FB-6869E5682468}" type="pres">
      <dgm:prSet presAssocID="{E0EC0A27-9EDB-47A4-8DED-CBD1A61B9BC9}" presName="LevelTwoTextNode" presStyleLbl="node4" presStyleIdx="5" presStyleCnt="9">
        <dgm:presLayoutVars>
          <dgm:chPref val="3"/>
        </dgm:presLayoutVars>
      </dgm:prSet>
      <dgm:spPr/>
    </dgm:pt>
    <dgm:pt modelId="{FA9000AC-D9F7-467D-A35D-DAD03D5FE186}" type="pres">
      <dgm:prSet presAssocID="{E0EC0A27-9EDB-47A4-8DED-CBD1A61B9BC9}" presName="level3hierChild" presStyleCnt="0"/>
      <dgm:spPr/>
    </dgm:pt>
    <dgm:pt modelId="{2B4072C3-2623-4EA4-94B7-025A9DCD72E9}" type="pres">
      <dgm:prSet presAssocID="{2DCC687C-BE9B-4DD8-8A80-E970635437CA}" presName="conn2-1" presStyleLbl="parChTrans1D4" presStyleIdx="6" presStyleCnt="9"/>
      <dgm:spPr/>
    </dgm:pt>
    <dgm:pt modelId="{7260B369-A7E2-44EA-98FE-B408D79B13A6}" type="pres">
      <dgm:prSet presAssocID="{2DCC687C-BE9B-4DD8-8A80-E970635437CA}" presName="connTx" presStyleLbl="parChTrans1D4" presStyleIdx="6" presStyleCnt="9"/>
      <dgm:spPr/>
    </dgm:pt>
    <dgm:pt modelId="{1FAAD552-F495-4DB6-9E8B-FAAEB560B2F6}" type="pres">
      <dgm:prSet presAssocID="{4DA8AE24-A75C-40AE-A6A1-13FE57AE449D}" presName="root2" presStyleCnt="0"/>
      <dgm:spPr/>
    </dgm:pt>
    <dgm:pt modelId="{A732D3F1-1291-409E-9A7C-778CAE167F89}" type="pres">
      <dgm:prSet presAssocID="{4DA8AE24-A75C-40AE-A6A1-13FE57AE449D}" presName="LevelTwoTextNode" presStyleLbl="node4" presStyleIdx="6" presStyleCnt="9">
        <dgm:presLayoutVars>
          <dgm:chPref val="3"/>
        </dgm:presLayoutVars>
      </dgm:prSet>
      <dgm:spPr/>
    </dgm:pt>
    <dgm:pt modelId="{AB597740-6E08-435C-B03D-74A3C28F6C7A}" type="pres">
      <dgm:prSet presAssocID="{4DA8AE24-A75C-40AE-A6A1-13FE57AE449D}" presName="level3hierChild" presStyleCnt="0"/>
      <dgm:spPr/>
    </dgm:pt>
    <dgm:pt modelId="{9458E52A-38CE-4EE6-A620-F703970B8164}" type="pres">
      <dgm:prSet presAssocID="{0F1B911F-6353-4AE6-9EEF-D49625DE905E}" presName="conn2-1" presStyleLbl="parChTrans1D4" presStyleIdx="7" presStyleCnt="9"/>
      <dgm:spPr/>
    </dgm:pt>
    <dgm:pt modelId="{32DEAE14-947F-44E2-8D61-C101875AB07D}" type="pres">
      <dgm:prSet presAssocID="{0F1B911F-6353-4AE6-9EEF-D49625DE905E}" presName="connTx" presStyleLbl="parChTrans1D4" presStyleIdx="7" presStyleCnt="9"/>
      <dgm:spPr/>
    </dgm:pt>
    <dgm:pt modelId="{69E10A20-FCE4-4D83-88A1-14D71635473C}" type="pres">
      <dgm:prSet presAssocID="{C1F68F19-94EA-4970-A79B-863E823848E5}" presName="root2" presStyleCnt="0"/>
      <dgm:spPr/>
    </dgm:pt>
    <dgm:pt modelId="{42C465EB-33D9-4AD2-A33B-930C8E39ED41}" type="pres">
      <dgm:prSet presAssocID="{C1F68F19-94EA-4970-A79B-863E823848E5}" presName="LevelTwoTextNode" presStyleLbl="node4" presStyleIdx="7" presStyleCnt="9">
        <dgm:presLayoutVars>
          <dgm:chPref val="3"/>
        </dgm:presLayoutVars>
      </dgm:prSet>
      <dgm:spPr/>
    </dgm:pt>
    <dgm:pt modelId="{2EF723DA-603B-48F9-A950-71099D97A93D}" type="pres">
      <dgm:prSet presAssocID="{C1F68F19-94EA-4970-A79B-863E823848E5}" presName="level3hierChild" presStyleCnt="0"/>
      <dgm:spPr/>
    </dgm:pt>
    <dgm:pt modelId="{329CD9E0-9945-40C9-89A5-5929AA1A3A82}" type="pres">
      <dgm:prSet presAssocID="{87CDD4F3-E71F-44A9-B515-E47672A849B6}" presName="conn2-1" presStyleLbl="parChTrans1D4" presStyleIdx="8" presStyleCnt="9"/>
      <dgm:spPr/>
    </dgm:pt>
    <dgm:pt modelId="{27874C32-AAAE-43E2-B803-B20B1E2D7450}" type="pres">
      <dgm:prSet presAssocID="{87CDD4F3-E71F-44A9-B515-E47672A849B6}" presName="connTx" presStyleLbl="parChTrans1D4" presStyleIdx="8" presStyleCnt="9"/>
      <dgm:spPr/>
    </dgm:pt>
    <dgm:pt modelId="{413EDB34-EEB8-4846-8BF9-D4944F61EBD3}" type="pres">
      <dgm:prSet presAssocID="{3EC8FF9E-3113-473A-A5E5-ABD9C5F94794}" presName="root2" presStyleCnt="0"/>
      <dgm:spPr/>
    </dgm:pt>
    <dgm:pt modelId="{84D7F889-3498-48D8-ADC3-14251347C81B}" type="pres">
      <dgm:prSet presAssocID="{3EC8FF9E-3113-473A-A5E5-ABD9C5F94794}" presName="LevelTwoTextNode" presStyleLbl="node4" presStyleIdx="8" presStyleCnt="9">
        <dgm:presLayoutVars>
          <dgm:chPref val="3"/>
        </dgm:presLayoutVars>
      </dgm:prSet>
      <dgm:spPr/>
    </dgm:pt>
    <dgm:pt modelId="{E91235D0-FC5C-4DA2-AB29-EC075B3DCA81}" type="pres">
      <dgm:prSet presAssocID="{3EC8FF9E-3113-473A-A5E5-ABD9C5F94794}" presName="level3hierChild" presStyleCnt="0"/>
      <dgm:spPr/>
    </dgm:pt>
    <dgm:pt modelId="{A4E05C94-2209-4BF4-B627-606397BBC1C5}" type="pres">
      <dgm:prSet presAssocID="{BB72E3E4-7E20-4FF3-87BE-AD24CB2F12EE}" presName="conn2-1" presStyleLbl="parChTrans1D3" presStyleIdx="2" presStyleCnt="10"/>
      <dgm:spPr/>
    </dgm:pt>
    <dgm:pt modelId="{6DCFD290-34D5-45FC-84C5-03B4A3AFAD52}" type="pres">
      <dgm:prSet presAssocID="{BB72E3E4-7E20-4FF3-87BE-AD24CB2F12EE}" presName="connTx" presStyleLbl="parChTrans1D3" presStyleIdx="2" presStyleCnt="10"/>
      <dgm:spPr/>
    </dgm:pt>
    <dgm:pt modelId="{D6C31984-0B65-416F-A6B1-E0A22FFF6163}" type="pres">
      <dgm:prSet presAssocID="{DAFF3CB8-4780-4F42-8F5A-A2879CF5C5A6}" presName="root2" presStyleCnt="0"/>
      <dgm:spPr/>
    </dgm:pt>
    <dgm:pt modelId="{485D5E8B-1295-4B72-BF14-74B2BE7008EE}" type="pres">
      <dgm:prSet presAssocID="{DAFF3CB8-4780-4F42-8F5A-A2879CF5C5A6}" presName="LevelTwoTextNode" presStyleLbl="node3" presStyleIdx="2" presStyleCnt="10">
        <dgm:presLayoutVars>
          <dgm:chPref val="3"/>
        </dgm:presLayoutVars>
      </dgm:prSet>
      <dgm:spPr/>
    </dgm:pt>
    <dgm:pt modelId="{49EAA066-0495-427D-9425-BE1889EED5E1}" type="pres">
      <dgm:prSet presAssocID="{DAFF3CB8-4780-4F42-8F5A-A2879CF5C5A6}" presName="level3hierChild" presStyleCnt="0"/>
      <dgm:spPr/>
    </dgm:pt>
    <dgm:pt modelId="{460E764F-BDF5-4D22-9B4D-16DC71F64CAC}" type="pres">
      <dgm:prSet presAssocID="{2C61C4AB-FC34-4364-9323-4A9D6350BA1C}" presName="conn2-1" presStyleLbl="parChTrans1D3" presStyleIdx="3" presStyleCnt="10"/>
      <dgm:spPr/>
    </dgm:pt>
    <dgm:pt modelId="{D2085E56-A00C-4E27-A4A7-A2743FEDF1B5}" type="pres">
      <dgm:prSet presAssocID="{2C61C4AB-FC34-4364-9323-4A9D6350BA1C}" presName="connTx" presStyleLbl="parChTrans1D3" presStyleIdx="3" presStyleCnt="10"/>
      <dgm:spPr/>
    </dgm:pt>
    <dgm:pt modelId="{73186733-5E43-4E6A-80AF-948A00AAA9B5}" type="pres">
      <dgm:prSet presAssocID="{2FAED816-5ABD-44B8-9175-AD4921C3FE98}" presName="root2" presStyleCnt="0"/>
      <dgm:spPr/>
    </dgm:pt>
    <dgm:pt modelId="{43996E1E-6F52-4F8E-9F4B-77A56824C63C}" type="pres">
      <dgm:prSet presAssocID="{2FAED816-5ABD-44B8-9175-AD4921C3FE98}" presName="LevelTwoTextNode" presStyleLbl="node3" presStyleIdx="3" presStyleCnt="10">
        <dgm:presLayoutVars>
          <dgm:chPref val="3"/>
        </dgm:presLayoutVars>
      </dgm:prSet>
      <dgm:spPr/>
    </dgm:pt>
    <dgm:pt modelId="{41502682-1FC1-4B2B-BBB5-9A5540E7D736}" type="pres">
      <dgm:prSet presAssocID="{2FAED816-5ABD-44B8-9175-AD4921C3FE98}" presName="level3hierChild" presStyleCnt="0"/>
      <dgm:spPr/>
    </dgm:pt>
    <dgm:pt modelId="{690E36EE-5895-4B91-A347-3380A5FE5255}" type="pres">
      <dgm:prSet presAssocID="{D0F076D3-591F-4547-A436-4947EC5EA385}" presName="conn2-1" presStyleLbl="parChTrans1D3" presStyleIdx="4" presStyleCnt="10"/>
      <dgm:spPr/>
    </dgm:pt>
    <dgm:pt modelId="{ADBE13F2-10FA-4B06-99C7-09C6712A7646}" type="pres">
      <dgm:prSet presAssocID="{D0F076D3-591F-4547-A436-4947EC5EA385}" presName="connTx" presStyleLbl="parChTrans1D3" presStyleIdx="4" presStyleCnt="10"/>
      <dgm:spPr/>
    </dgm:pt>
    <dgm:pt modelId="{B6754EFB-425D-471A-9BC5-9299A6414551}" type="pres">
      <dgm:prSet presAssocID="{86A07196-5E8B-49B8-84A4-6DF135FCBFFC}" presName="root2" presStyleCnt="0"/>
      <dgm:spPr/>
    </dgm:pt>
    <dgm:pt modelId="{6E154881-954A-429F-9BBE-E92EEB4B1011}" type="pres">
      <dgm:prSet presAssocID="{86A07196-5E8B-49B8-84A4-6DF135FCBFFC}" presName="LevelTwoTextNode" presStyleLbl="node3" presStyleIdx="4" presStyleCnt="10">
        <dgm:presLayoutVars>
          <dgm:chPref val="3"/>
        </dgm:presLayoutVars>
      </dgm:prSet>
      <dgm:spPr/>
    </dgm:pt>
    <dgm:pt modelId="{5D1CB6D5-4D16-456C-80C8-8FB25291517B}" type="pres">
      <dgm:prSet presAssocID="{86A07196-5E8B-49B8-84A4-6DF135FCBFFC}" presName="level3hierChild" presStyleCnt="0"/>
      <dgm:spPr/>
    </dgm:pt>
    <dgm:pt modelId="{CD37291B-5548-4F1B-8F2F-200AE5B0DCAE}" type="pres">
      <dgm:prSet presAssocID="{17815460-B569-463A-BACE-734F709F874A}" presName="conn2-1" presStyleLbl="parChTrans1D2" presStyleIdx="1" presStyleCnt="3"/>
      <dgm:spPr/>
    </dgm:pt>
    <dgm:pt modelId="{D4121B60-61D6-41A4-AAB9-DE9671C8ED2F}" type="pres">
      <dgm:prSet presAssocID="{17815460-B569-463A-BACE-734F709F874A}" presName="connTx" presStyleLbl="parChTrans1D2" presStyleIdx="1" presStyleCnt="3"/>
      <dgm:spPr/>
    </dgm:pt>
    <dgm:pt modelId="{50975EFF-52F3-48CE-A104-6890DF2CCC15}" type="pres">
      <dgm:prSet presAssocID="{434F1058-EF12-4590-BD43-496B2D33656A}" presName="root2" presStyleCnt="0"/>
      <dgm:spPr/>
    </dgm:pt>
    <dgm:pt modelId="{E077FA3E-A654-4D27-8616-5CDDA43F8AF6}" type="pres">
      <dgm:prSet presAssocID="{434F1058-EF12-4590-BD43-496B2D33656A}" presName="LevelTwoTextNode" presStyleLbl="node2" presStyleIdx="1" presStyleCnt="3">
        <dgm:presLayoutVars>
          <dgm:chPref val="3"/>
        </dgm:presLayoutVars>
      </dgm:prSet>
      <dgm:spPr/>
    </dgm:pt>
    <dgm:pt modelId="{738BD333-0CAC-4970-A8E6-FA82D1202675}" type="pres">
      <dgm:prSet presAssocID="{434F1058-EF12-4590-BD43-496B2D33656A}" presName="level3hierChild" presStyleCnt="0"/>
      <dgm:spPr/>
    </dgm:pt>
    <dgm:pt modelId="{037062E2-BE96-4A8B-9D2F-1FA0857207C1}" type="pres">
      <dgm:prSet presAssocID="{DA62F256-25CF-4854-BFCD-F90F70E5F8D4}" presName="conn2-1" presStyleLbl="parChTrans1D3" presStyleIdx="5" presStyleCnt="10"/>
      <dgm:spPr/>
    </dgm:pt>
    <dgm:pt modelId="{48D9A2E1-2598-4B00-AD73-86E6047DFB3F}" type="pres">
      <dgm:prSet presAssocID="{DA62F256-25CF-4854-BFCD-F90F70E5F8D4}" presName="connTx" presStyleLbl="parChTrans1D3" presStyleIdx="5" presStyleCnt="10"/>
      <dgm:spPr/>
    </dgm:pt>
    <dgm:pt modelId="{B8CF9832-64BD-484C-B421-A0ECF20998B1}" type="pres">
      <dgm:prSet presAssocID="{4098A15D-6BE4-4258-B7C8-EC2A1354A4D6}" presName="root2" presStyleCnt="0"/>
      <dgm:spPr/>
    </dgm:pt>
    <dgm:pt modelId="{768C7647-12EF-40E9-94EB-C1868C4AFE59}" type="pres">
      <dgm:prSet presAssocID="{4098A15D-6BE4-4258-B7C8-EC2A1354A4D6}" presName="LevelTwoTextNode" presStyleLbl="node3" presStyleIdx="5" presStyleCnt="10">
        <dgm:presLayoutVars>
          <dgm:chPref val="3"/>
        </dgm:presLayoutVars>
      </dgm:prSet>
      <dgm:spPr/>
    </dgm:pt>
    <dgm:pt modelId="{66E40938-6C34-47FD-B792-4BEC9D41A30A}" type="pres">
      <dgm:prSet presAssocID="{4098A15D-6BE4-4258-B7C8-EC2A1354A4D6}" presName="level3hierChild" presStyleCnt="0"/>
      <dgm:spPr/>
    </dgm:pt>
    <dgm:pt modelId="{313DC26C-06DB-4098-B605-33485EFC9B29}" type="pres">
      <dgm:prSet presAssocID="{D937D902-C50B-4BEC-9C1F-D9880BCC701B}" presName="conn2-1" presStyleLbl="parChTrans1D3" presStyleIdx="6" presStyleCnt="10"/>
      <dgm:spPr/>
    </dgm:pt>
    <dgm:pt modelId="{30A455D9-9D31-498C-B006-B59A4D0FAC39}" type="pres">
      <dgm:prSet presAssocID="{D937D902-C50B-4BEC-9C1F-D9880BCC701B}" presName="connTx" presStyleLbl="parChTrans1D3" presStyleIdx="6" presStyleCnt="10"/>
      <dgm:spPr/>
    </dgm:pt>
    <dgm:pt modelId="{EB09E2DB-DC0B-4A48-BC00-788EB4BF2155}" type="pres">
      <dgm:prSet presAssocID="{CF5B8EE4-D285-4E9D-BBB6-5F2F77DD4689}" presName="root2" presStyleCnt="0"/>
      <dgm:spPr/>
    </dgm:pt>
    <dgm:pt modelId="{49B6876F-A108-4FF0-9A81-E34DBB9D0BD7}" type="pres">
      <dgm:prSet presAssocID="{CF5B8EE4-D285-4E9D-BBB6-5F2F77DD4689}" presName="LevelTwoTextNode" presStyleLbl="node3" presStyleIdx="6" presStyleCnt="10">
        <dgm:presLayoutVars>
          <dgm:chPref val="3"/>
        </dgm:presLayoutVars>
      </dgm:prSet>
      <dgm:spPr/>
    </dgm:pt>
    <dgm:pt modelId="{840A5199-0A8A-47C7-8B9A-920BC241225E}" type="pres">
      <dgm:prSet presAssocID="{CF5B8EE4-D285-4E9D-BBB6-5F2F77DD4689}" presName="level3hierChild" presStyleCnt="0"/>
      <dgm:spPr/>
    </dgm:pt>
    <dgm:pt modelId="{C4365B06-B9DB-4064-B93F-1043BD4B58B2}" type="pres">
      <dgm:prSet presAssocID="{8A26916C-03BF-4B0E-92AF-656A56CF8513}" presName="conn2-1" presStyleLbl="parChTrans1D2" presStyleIdx="2" presStyleCnt="3"/>
      <dgm:spPr/>
    </dgm:pt>
    <dgm:pt modelId="{0336C92A-933C-4B9A-8AAD-80A8DB51CB00}" type="pres">
      <dgm:prSet presAssocID="{8A26916C-03BF-4B0E-92AF-656A56CF8513}" presName="connTx" presStyleLbl="parChTrans1D2" presStyleIdx="2" presStyleCnt="3"/>
      <dgm:spPr/>
    </dgm:pt>
    <dgm:pt modelId="{1FB1112C-2171-4ECC-8EA0-911ADD3964A5}" type="pres">
      <dgm:prSet presAssocID="{C1D130BE-4BC5-481C-BADA-14A869727C0B}" presName="root2" presStyleCnt="0"/>
      <dgm:spPr/>
    </dgm:pt>
    <dgm:pt modelId="{B3E59FB2-885F-4B71-9DC5-B6F45C8017DE}" type="pres">
      <dgm:prSet presAssocID="{C1D130BE-4BC5-481C-BADA-14A869727C0B}" presName="LevelTwoTextNode" presStyleLbl="node2" presStyleIdx="2" presStyleCnt="3">
        <dgm:presLayoutVars>
          <dgm:chPref val="3"/>
        </dgm:presLayoutVars>
      </dgm:prSet>
      <dgm:spPr/>
    </dgm:pt>
    <dgm:pt modelId="{AF149B8F-23A2-48DF-9DB4-21319099B718}" type="pres">
      <dgm:prSet presAssocID="{C1D130BE-4BC5-481C-BADA-14A869727C0B}" presName="level3hierChild" presStyleCnt="0"/>
      <dgm:spPr/>
    </dgm:pt>
    <dgm:pt modelId="{60A0F5E7-D1D3-49F8-A254-CFFCBE54AAF0}" type="pres">
      <dgm:prSet presAssocID="{503510FB-9E52-432E-98AC-FEF28CA55F0D}" presName="conn2-1" presStyleLbl="parChTrans1D3" presStyleIdx="7" presStyleCnt="10"/>
      <dgm:spPr/>
    </dgm:pt>
    <dgm:pt modelId="{3325D373-008A-41E8-9EA1-B4B0FC90FCD2}" type="pres">
      <dgm:prSet presAssocID="{503510FB-9E52-432E-98AC-FEF28CA55F0D}" presName="connTx" presStyleLbl="parChTrans1D3" presStyleIdx="7" presStyleCnt="10"/>
      <dgm:spPr/>
    </dgm:pt>
    <dgm:pt modelId="{533688EB-FEF2-4244-B371-7A31A6275F9E}" type="pres">
      <dgm:prSet presAssocID="{CD6C8CAB-2DB8-4BEB-8794-D14E24B56239}" presName="root2" presStyleCnt="0"/>
      <dgm:spPr/>
    </dgm:pt>
    <dgm:pt modelId="{9E81B654-57F3-4178-8807-AB7AAC7BE08E}" type="pres">
      <dgm:prSet presAssocID="{CD6C8CAB-2DB8-4BEB-8794-D14E24B56239}" presName="LevelTwoTextNode" presStyleLbl="node3" presStyleIdx="7" presStyleCnt="10">
        <dgm:presLayoutVars>
          <dgm:chPref val="3"/>
        </dgm:presLayoutVars>
      </dgm:prSet>
      <dgm:spPr/>
    </dgm:pt>
    <dgm:pt modelId="{9EA1B074-9688-4BF6-BD3E-8C3B349784E8}" type="pres">
      <dgm:prSet presAssocID="{CD6C8CAB-2DB8-4BEB-8794-D14E24B56239}" presName="level3hierChild" presStyleCnt="0"/>
      <dgm:spPr/>
    </dgm:pt>
    <dgm:pt modelId="{1CD57466-73E5-43BB-AF51-980153E8039A}" type="pres">
      <dgm:prSet presAssocID="{B3C6A11E-10F5-433C-A0FB-1B185A7D12E0}" presName="conn2-1" presStyleLbl="parChTrans1D3" presStyleIdx="8" presStyleCnt="10"/>
      <dgm:spPr/>
    </dgm:pt>
    <dgm:pt modelId="{739E7D1A-06FA-43F4-82B6-C5B799BDD12A}" type="pres">
      <dgm:prSet presAssocID="{B3C6A11E-10F5-433C-A0FB-1B185A7D12E0}" presName="connTx" presStyleLbl="parChTrans1D3" presStyleIdx="8" presStyleCnt="10"/>
      <dgm:spPr/>
    </dgm:pt>
    <dgm:pt modelId="{08A18F09-5415-4D9A-A62E-8AA11F9AF3C4}" type="pres">
      <dgm:prSet presAssocID="{16945C89-930D-4764-8730-4F183F8B4C87}" presName="root2" presStyleCnt="0"/>
      <dgm:spPr/>
    </dgm:pt>
    <dgm:pt modelId="{0CCC40AA-D80B-4B90-9188-E5CA017E63B0}" type="pres">
      <dgm:prSet presAssocID="{16945C89-930D-4764-8730-4F183F8B4C87}" presName="LevelTwoTextNode" presStyleLbl="node3" presStyleIdx="8" presStyleCnt="10">
        <dgm:presLayoutVars>
          <dgm:chPref val="3"/>
        </dgm:presLayoutVars>
      </dgm:prSet>
      <dgm:spPr/>
    </dgm:pt>
    <dgm:pt modelId="{E40DD794-4E3C-4009-B357-94D69536E6F4}" type="pres">
      <dgm:prSet presAssocID="{16945C89-930D-4764-8730-4F183F8B4C87}" presName="level3hierChild" presStyleCnt="0"/>
      <dgm:spPr/>
    </dgm:pt>
    <dgm:pt modelId="{F9C34007-6CA8-4ABF-890A-47AA50B267EA}" type="pres">
      <dgm:prSet presAssocID="{858DE0EA-690E-49F0-9AFD-401C85E7FBB4}" presName="conn2-1" presStyleLbl="parChTrans1D3" presStyleIdx="9" presStyleCnt="10"/>
      <dgm:spPr/>
    </dgm:pt>
    <dgm:pt modelId="{D3331827-B92C-4419-96E8-793E8D653308}" type="pres">
      <dgm:prSet presAssocID="{858DE0EA-690E-49F0-9AFD-401C85E7FBB4}" presName="connTx" presStyleLbl="parChTrans1D3" presStyleIdx="9" presStyleCnt="10"/>
      <dgm:spPr/>
    </dgm:pt>
    <dgm:pt modelId="{9FBA0EDF-DFF1-4228-BD6C-29FFD841B413}" type="pres">
      <dgm:prSet presAssocID="{CA25E3C2-D53A-4DAC-A356-274163CFD791}" presName="root2" presStyleCnt="0"/>
      <dgm:spPr/>
    </dgm:pt>
    <dgm:pt modelId="{E51A201A-58C4-4839-BBF3-03A3D4BA1DE9}" type="pres">
      <dgm:prSet presAssocID="{CA25E3C2-D53A-4DAC-A356-274163CFD791}" presName="LevelTwoTextNode" presStyleLbl="node3" presStyleIdx="9" presStyleCnt="10">
        <dgm:presLayoutVars>
          <dgm:chPref val="3"/>
        </dgm:presLayoutVars>
      </dgm:prSet>
      <dgm:spPr/>
    </dgm:pt>
    <dgm:pt modelId="{E4E1A461-B02B-4354-8D34-5DF04939C4AC}" type="pres">
      <dgm:prSet presAssocID="{CA25E3C2-D53A-4DAC-A356-274163CFD791}" presName="level3hierChild" presStyleCnt="0"/>
      <dgm:spPr/>
    </dgm:pt>
  </dgm:ptLst>
  <dgm:cxnLst>
    <dgm:cxn modelId="{6A42BC00-DDC6-47EB-A1CB-E461CD9820FD}" type="presOf" srcId="{B3C6A11E-10F5-433C-A0FB-1B185A7D12E0}" destId="{739E7D1A-06FA-43F4-82B6-C5B799BDD12A}" srcOrd="1" destOrd="0" presId="urn:microsoft.com/office/officeart/2008/layout/HorizontalMultiLevelHierarchy"/>
    <dgm:cxn modelId="{2ED6F702-CE72-434F-A1BB-6BCE9E2DA2BA}" srcId="{434F1058-EF12-4590-BD43-496B2D33656A}" destId="{CF5B8EE4-D285-4E9D-BBB6-5F2F77DD4689}" srcOrd="1" destOrd="0" parTransId="{D937D902-C50B-4BEC-9C1F-D9880BCC701B}" sibTransId="{CADCD7D6-E889-4A66-B79B-3ACEEF43F075}"/>
    <dgm:cxn modelId="{35C72205-75AD-4836-A353-1A0A05F601B7}" type="presOf" srcId="{48CAF46E-7318-4269-B88D-4072C010818D}" destId="{571B8373-7DFF-4282-8AA6-80F7CC7EA7C8}" srcOrd="0" destOrd="0" presId="urn:microsoft.com/office/officeart/2008/layout/HorizontalMultiLevelHierarchy"/>
    <dgm:cxn modelId="{B8419706-D293-44F8-A5BF-071DA501D1C3}" type="presOf" srcId="{8ACEFE3D-DAAE-46D2-BF29-AF7B5FBB783D}" destId="{FCADF10C-D51C-403A-B095-E884F4771DA4}" srcOrd="1" destOrd="0" presId="urn:microsoft.com/office/officeart/2008/layout/HorizontalMultiLevelHierarchy"/>
    <dgm:cxn modelId="{A112C106-B21E-4F95-89F7-0D3BEDCA1632}" type="presOf" srcId="{0F1B911F-6353-4AE6-9EEF-D49625DE905E}" destId="{9458E52A-38CE-4EE6-A620-F703970B8164}" srcOrd="0" destOrd="0" presId="urn:microsoft.com/office/officeart/2008/layout/HorizontalMultiLevelHierarchy"/>
    <dgm:cxn modelId="{8446A509-270F-4D3B-89EF-435B1D412BDB}" type="presOf" srcId="{D937D902-C50B-4BEC-9C1F-D9880BCC701B}" destId="{313DC26C-06DB-4098-B605-33485EFC9B29}" srcOrd="0" destOrd="0" presId="urn:microsoft.com/office/officeart/2008/layout/HorizontalMultiLevelHierarchy"/>
    <dgm:cxn modelId="{F0DA410D-39AE-4CDE-A96D-4DBCFC233C7C}" type="presOf" srcId="{87CDD4F3-E71F-44A9-B515-E47672A849B6}" destId="{27874C32-AAAE-43E2-B803-B20B1E2D7450}" srcOrd="1" destOrd="0" presId="urn:microsoft.com/office/officeart/2008/layout/HorizontalMultiLevelHierarchy"/>
    <dgm:cxn modelId="{49027C13-60C7-4577-8E0D-34D35F65F784}" type="presOf" srcId="{16945C89-930D-4764-8730-4F183F8B4C87}" destId="{0CCC40AA-D80B-4B90-9188-E5CA017E63B0}" srcOrd="0" destOrd="0" presId="urn:microsoft.com/office/officeart/2008/layout/HorizontalMultiLevelHierarchy"/>
    <dgm:cxn modelId="{CDA45815-1784-47A7-87EB-A18294F174A6}" type="presOf" srcId="{CD6C8CAB-2DB8-4BEB-8794-D14E24B56239}" destId="{9E81B654-57F3-4178-8807-AB7AAC7BE08E}" srcOrd="0" destOrd="0" presId="urn:microsoft.com/office/officeart/2008/layout/HorizontalMultiLevelHierarchy"/>
    <dgm:cxn modelId="{FEC8D416-8216-4562-8549-24473B803C80}" srcId="{49A0BB83-CEA0-46AB-9D0B-B65F612AEE4A}" destId="{E0EC0A27-9EDB-47A4-8DED-CBD1A61B9BC9}" srcOrd="0" destOrd="0" parTransId="{42F96A8F-BB1E-4B89-AB8E-11A0F37EB1DB}" sibTransId="{C6050D19-3AE0-4870-8460-7297D5C8A50F}"/>
    <dgm:cxn modelId="{5782D41D-ECEA-499F-9D26-91E863B791BE}" type="presOf" srcId="{DA62F256-25CF-4854-BFCD-F90F70E5F8D4}" destId="{48D9A2E1-2598-4B00-AD73-86E6047DFB3F}" srcOrd="1" destOrd="0" presId="urn:microsoft.com/office/officeart/2008/layout/HorizontalMultiLevelHierarchy"/>
    <dgm:cxn modelId="{2F95D722-3985-45E4-9E5F-0F15FC8C1680}" type="presOf" srcId="{CF5B8EE4-D285-4E9D-BBB6-5F2F77DD4689}" destId="{49B6876F-A108-4FF0-9A81-E34DBB9D0BD7}" srcOrd="0" destOrd="0" presId="urn:microsoft.com/office/officeart/2008/layout/HorizontalMultiLevelHierarchy"/>
    <dgm:cxn modelId="{64FF5A2C-981D-4E3B-9D13-47B3852BF3E9}" type="presOf" srcId="{BB72E3E4-7E20-4FF3-87BE-AD24CB2F12EE}" destId="{6DCFD290-34D5-45FC-84C5-03B4A3AFAD52}" srcOrd="1" destOrd="0" presId="urn:microsoft.com/office/officeart/2008/layout/HorizontalMultiLevelHierarchy"/>
    <dgm:cxn modelId="{75353E2D-D5F4-4C4B-8BFF-3A25A17EC9FB}" srcId="{BF1B7062-91AB-4F1D-BD08-8D3EC4B33C1F}" destId="{48CAF46E-7318-4269-B88D-4072C010818D}" srcOrd="1" destOrd="0" parTransId="{81CB6F6D-48DA-416D-9426-0B6E4B5AD737}" sibTransId="{D0BFACD0-8F45-4F8C-9779-0AF1AE559907}"/>
    <dgm:cxn modelId="{0E885231-05A1-4118-83D8-9F076DDBEA1A}" type="presOf" srcId="{C7C06085-9DF0-469C-90B3-434C5E418A6D}" destId="{6D05A90F-5A8D-42F9-A2CB-82F28C0FF2BC}" srcOrd="0" destOrd="0" presId="urn:microsoft.com/office/officeart/2008/layout/HorizontalMultiLevelHierarchy"/>
    <dgm:cxn modelId="{5B99DD31-B3E6-465C-A8DB-0DF740AA5D7A}" srcId="{C1D130BE-4BC5-481C-BADA-14A869727C0B}" destId="{CA25E3C2-D53A-4DAC-A356-274163CFD791}" srcOrd="2" destOrd="0" parTransId="{858DE0EA-690E-49F0-9AFD-401C85E7FBB4}" sibTransId="{2D56470D-3197-4A03-90FE-5A65A52F7EFB}"/>
    <dgm:cxn modelId="{9486E231-E761-415A-A46A-B222DD3C9A89}" srcId="{96C9D5F4-FF4F-420D-8420-A926E166D7A2}" destId="{D0997319-AE2C-4C46-ADCB-BA43BE3F3F54}" srcOrd="0" destOrd="0" parTransId="{EDD69CBB-FC0D-413C-A203-D32C53DEA1CA}" sibTransId="{E975384C-827E-414A-AEB5-7C3391463B49}"/>
    <dgm:cxn modelId="{1222A638-0CF4-4D66-8E42-7794D8449649}" type="presOf" srcId="{3EC8FF9E-3113-473A-A5E5-ABD9C5F94794}" destId="{84D7F889-3498-48D8-ADC3-14251347C81B}" srcOrd="0" destOrd="0" presId="urn:microsoft.com/office/officeart/2008/layout/HorizontalMultiLevelHierarchy"/>
    <dgm:cxn modelId="{23DAEE42-3C32-4C83-A2A3-106A8D737507}" type="presOf" srcId="{AE65C2BF-225F-4643-AE59-9457E6820B24}" destId="{0C497864-2349-44C5-8D11-5F89748F0519}" srcOrd="1" destOrd="0" presId="urn:microsoft.com/office/officeart/2008/layout/HorizontalMultiLevelHierarchy"/>
    <dgm:cxn modelId="{0BE45343-E5ED-46E6-9E17-DA36296E3029}" srcId="{8E70AA8F-7583-4AFE-9EDE-87363894E1F8}" destId="{86A07196-5E8B-49B8-84A4-6DF135FCBFFC}" srcOrd="4" destOrd="0" parTransId="{D0F076D3-591F-4547-A436-4947EC5EA385}" sibTransId="{4B4DC438-D558-40CF-9151-49154A83FB16}"/>
    <dgm:cxn modelId="{3CE2794B-F419-4F40-BA80-F7E4E9B8CF58}" type="presOf" srcId="{0F1B911F-6353-4AE6-9EEF-D49625DE905E}" destId="{32DEAE14-947F-44E2-8D61-C101875AB07D}" srcOrd="1" destOrd="0" presId="urn:microsoft.com/office/officeart/2008/layout/HorizontalMultiLevelHierarchy"/>
    <dgm:cxn modelId="{41B7B24E-5BA1-4B2B-AC96-EBF5A4A1F03B}" type="presOf" srcId="{2C61C4AB-FC34-4364-9323-4A9D6350BA1C}" destId="{460E764F-BDF5-4D22-9B4D-16DC71F64CAC}" srcOrd="0" destOrd="0" presId="urn:microsoft.com/office/officeart/2008/layout/HorizontalMultiLevelHierarchy"/>
    <dgm:cxn modelId="{AA3E744F-10BA-4479-AF01-972C59BF3BCF}" type="presOf" srcId="{B164CB56-71EE-412E-A3A2-1509A3B08E05}" destId="{BE328E0A-C287-4B1A-BD90-C0F3098FFCD9}" srcOrd="0" destOrd="0" presId="urn:microsoft.com/office/officeart/2008/layout/HorizontalMultiLevelHierarchy"/>
    <dgm:cxn modelId="{464F8353-3A6D-43D6-B358-7ECC4F51C0BF}" type="presOf" srcId="{D0997319-AE2C-4C46-ADCB-BA43BE3F3F54}" destId="{DCF5B4EF-DE4F-4292-A3B2-724C163A44AB}" srcOrd="0" destOrd="0" presId="urn:microsoft.com/office/officeart/2008/layout/HorizontalMultiLevelHierarchy"/>
    <dgm:cxn modelId="{1A99FB53-EFA6-4851-937B-0604F7806F2F}" type="presOf" srcId="{434F1058-EF12-4590-BD43-496B2D33656A}" destId="{E077FA3E-A654-4D27-8616-5CDDA43F8AF6}" srcOrd="0" destOrd="0" presId="urn:microsoft.com/office/officeart/2008/layout/HorizontalMultiLevelHierarchy"/>
    <dgm:cxn modelId="{70378754-45CA-4C66-B5D5-B9C9C4EF8226}" type="presOf" srcId="{81CB6F6D-48DA-416D-9426-0B6E4B5AD737}" destId="{FD15021D-62B7-4A46-932A-654E778DB44B}" srcOrd="1" destOrd="0" presId="urn:microsoft.com/office/officeart/2008/layout/HorizontalMultiLevelHierarchy"/>
    <dgm:cxn modelId="{288CF456-3237-4FF7-BD86-048D8CA5EABD}" type="presOf" srcId="{17815460-B569-463A-BACE-734F709F874A}" destId="{CD37291B-5548-4F1B-8F2F-200AE5B0DCAE}" srcOrd="0" destOrd="0" presId="urn:microsoft.com/office/officeart/2008/layout/HorizontalMultiLevelHierarchy"/>
    <dgm:cxn modelId="{707B8E58-ABA5-4C9A-AFCF-298CB05D08DA}" srcId="{D0997319-AE2C-4C46-ADCB-BA43BE3F3F54}" destId="{8E70AA8F-7583-4AFE-9EDE-87363894E1F8}" srcOrd="0" destOrd="0" parTransId="{B164CB56-71EE-412E-A3A2-1509A3B08E05}" sibTransId="{50009256-33DA-4FAC-A050-2DE70DDCC26C}"/>
    <dgm:cxn modelId="{79AF8559-F7CD-44EF-8C13-1146412076CF}" type="presOf" srcId="{2C61C4AB-FC34-4364-9323-4A9D6350BA1C}" destId="{D2085E56-A00C-4E27-A4A7-A2743FEDF1B5}" srcOrd="1" destOrd="0" presId="urn:microsoft.com/office/officeart/2008/layout/HorizontalMultiLevelHierarchy"/>
    <dgm:cxn modelId="{BFB4B55A-7A59-4107-BBB3-3FFB27350CDD}" type="presOf" srcId="{8A26916C-03BF-4B0E-92AF-656A56CF8513}" destId="{C4365B06-B9DB-4064-B93F-1043BD4B58B2}" srcOrd="0" destOrd="0" presId="urn:microsoft.com/office/officeart/2008/layout/HorizontalMultiLevelHierarchy"/>
    <dgm:cxn modelId="{4C6F195C-0214-4CDA-A612-7D5235F062E8}" type="presOf" srcId="{DAFF3CB8-4780-4F42-8F5A-A2879CF5C5A6}" destId="{485D5E8B-1295-4B72-BF14-74B2BE7008EE}" srcOrd="0" destOrd="0" presId="urn:microsoft.com/office/officeart/2008/layout/HorizontalMultiLevelHierarchy"/>
    <dgm:cxn modelId="{3868705D-EADE-4179-913C-220656615F3B}" type="presOf" srcId="{CA25E3C2-D53A-4DAC-A356-274163CFD791}" destId="{E51A201A-58C4-4839-BBF3-03A3D4BA1DE9}" srcOrd="0" destOrd="0" presId="urn:microsoft.com/office/officeart/2008/layout/HorizontalMultiLevelHierarchy"/>
    <dgm:cxn modelId="{D6FED260-3C13-4D81-9786-0CA49E676F94}" type="presOf" srcId="{524ED0C4-9CC2-4C2A-B51C-974FA37A7FE7}" destId="{D9EA4352-69AB-4BEF-A3B8-25557C0E3D3D}" srcOrd="1" destOrd="0" presId="urn:microsoft.com/office/officeart/2008/layout/HorizontalMultiLevelHierarchy"/>
    <dgm:cxn modelId="{3679B762-699A-4AEB-956B-62A58B7F1948}" type="presOf" srcId="{23EDCDD5-F170-402F-A11E-15FD466C3CE5}" destId="{79D3B186-92E5-40C6-A995-4173A00C788D}" srcOrd="1" destOrd="0" presId="urn:microsoft.com/office/officeart/2008/layout/HorizontalMultiLevelHierarchy"/>
    <dgm:cxn modelId="{65A1D062-D707-4E05-848F-D1FC7D22343D}" type="presOf" srcId="{C1D130BE-4BC5-481C-BADA-14A869727C0B}" destId="{B3E59FB2-885F-4B71-9DC5-B6F45C8017DE}" srcOrd="0" destOrd="0" presId="urn:microsoft.com/office/officeart/2008/layout/HorizontalMultiLevelHierarchy"/>
    <dgm:cxn modelId="{218D7769-246E-4C78-8637-1FABBE9AA235}" type="presOf" srcId="{B164CB56-71EE-412E-A3A2-1509A3B08E05}" destId="{1EB559E9-DB95-4028-B960-01A592B99E92}" srcOrd="1" destOrd="0" presId="urn:microsoft.com/office/officeart/2008/layout/HorizontalMultiLevelHierarchy"/>
    <dgm:cxn modelId="{725FF76C-97C7-4E96-9DF4-060D491C229B}" type="presOf" srcId="{2FAED816-5ABD-44B8-9175-AD4921C3FE98}" destId="{43996E1E-6F52-4F8E-9F4B-77A56824C63C}" srcOrd="0" destOrd="0" presId="urn:microsoft.com/office/officeart/2008/layout/HorizontalMultiLevelHierarchy"/>
    <dgm:cxn modelId="{08C6FF6E-ED40-443D-B75C-6827A78AAE2F}" srcId="{C1D130BE-4BC5-481C-BADA-14A869727C0B}" destId="{CD6C8CAB-2DB8-4BEB-8794-D14E24B56239}" srcOrd="0" destOrd="0" parTransId="{503510FB-9E52-432E-98AC-FEF28CA55F0D}" sibTransId="{F6688289-1E3B-4C81-B097-4BC4F02DEEB1}"/>
    <dgm:cxn modelId="{59E12470-60E7-402D-AB70-780B62F88FFE}" type="presOf" srcId="{49A0BB83-CEA0-46AB-9D0B-B65F612AEE4A}" destId="{DC0B28EB-699E-45BB-87EC-30E574E72821}" srcOrd="0" destOrd="0" presId="urn:microsoft.com/office/officeart/2008/layout/HorizontalMultiLevelHierarchy"/>
    <dgm:cxn modelId="{4DFC2371-3525-4748-BBE7-8447590D404A}" type="presOf" srcId="{D0F076D3-591F-4547-A436-4947EC5EA385}" destId="{690E36EE-5895-4B91-A347-3380A5FE5255}" srcOrd="0" destOrd="0" presId="urn:microsoft.com/office/officeart/2008/layout/HorizontalMultiLevelHierarchy"/>
    <dgm:cxn modelId="{C6747171-AE68-4AE9-8919-6A36E0ACE2B0}" type="presOf" srcId="{81CB6F6D-48DA-416D-9426-0B6E4B5AD737}" destId="{8F0AA0AA-EF8D-43DE-82C5-2D7BFD08315F}" srcOrd="0" destOrd="0" presId="urn:microsoft.com/office/officeart/2008/layout/HorizontalMultiLevelHierarchy"/>
    <dgm:cxn modelId="{91124872-9F74-41C7-8C6A-D035370CD04A}" type="presOf" srcId="{858DE0EA-690E-49F0-9AFD-401C85E7FBB4}" destId="{F9C34007-6CA8-4ABF-890A-47AA50B267EA}" srcOrd="0" destOrd="0" presId="urn:microsoft.com/office/officeart/2008/layout/HorizontalMultiLevelHierarchy"/>
    <dgm:cxn modelId="{63723176-B8DC-4E93-B229-28FB65F16FAA}" type="presOf" srcId="{AE65C2BF-225F-4643-AE59-9457E6820B24}" destId="{5BC2DE1D-C4D7-4BFC-A0C1-3D282DC024CD}" srcOrd="0" destOrd="0" presId="urn:microsoft.com/office/officeart/2008/layout/HorizontalMultiLevelHierarchy"/>
    <dgm:cxn modelId="{AD49A77D-FFEC-46F9-AE75-9324F1652A36}" type="presOf" srcId="{4D897679-FA7C-48A2-A57F-5D0431886FF7}" destId="{F8A94DA1-2081-4A8B-816C-A9F98C2853F5}" srcOrd="0" destOrd="0" presId="urn:microsoft.com/office/officeart/2008/layout/HorizontalMultiLevelHierarchy"/>
    <dgm:cxn modelId="{21D8E081-3F51-4864-8D5D-F1BA8CEC852F}" srcId="{434F1058-EF12-4590-BD43-496B2D33656A}" destId="{4098A15D-6BE4-4258-B7C8-EC2A1354A4D6}" srcOrd="0" destOrd="0" parTransId="{DA62F256-25CF-4854-BFCD-F90F70E5F8D4}" sibTransId="{E1090322-3287-4D3C-A158-E43939F1FA7E}"/>
    <dgm:cxn modelId="{13B4BA82-E7EF-4FB5-98C9-D814F66B4BEF}" type="presOf" srcId="{ADED253C-6A2E-4631-B1D4-F5E1FE2B5B55}" destId="{9E59A063-5821-4E2B-8FD8-3EBA8922B98E}" srcOrd="0" destOrd="0" presId="urn:microsoft.com/office/officeart/2008/layout/HorizontalMultiLevelHierarchy"/>
    <dgm:cxn modelId="{93C58A86-3E38-4D08-BAE0-11418B22C1DB}" type="presOf" srcId="{8ACEFE3D-DAAE-46D2-BF29-AF7B5FBB783D}" destId="{A00DE1AA-92DF-4607-98DB-1C3BB048DCF5}" srcOrd="0" destOrd="0" presId="urn:microsoft.com/office/officeart/2008/layout/HorizontalMultiLevelHierarchy"/>
    <dgm:cxn modelId="{0B448A87-44AF-4367-8785-F0AC108ED2DD}" type="presOf" srcId="{4098A15D-6BE4-4258-B7C8-EC2A1354A4D6}" destId="{768C7647-12EF-40E9-94EB-C1868C4AFE59}" srcOrd="0" destOrd="0" presId="urn:microsoft.com/office/officeart/2008/layout/HorizontalMultiLevelHierarchy"/>
    <dgm:cxn modelId="{605CDB89-2698-4157-8E1F-4D6677C6D46F}" type="presOf" srcId="{4DA8AE24-A75C-40AE-A6A1-13FE57AE449D}" destId="{A732D3F1-1291-409E-9A7C-778CAE167F89}" srcOrd="0" destOrd="0" presId="urn:microsoft.com/office/officeart/2008/layout/HorizontalMultiLevelHierarchy"/>
    <dgm:cxn modelId="{82D60E8A-40D3-49BC-895D-3DAB17D8AD62}" type="presOf" srcId="{96C9D5F4-FF4F-420D-8420-A926E166D7A2}" destId="{50C4D88C-9CB0-4513-8456-755395491158}" srcOrd="0" destOrd="0" presId="urn:microsoft.com/office/officeart/2008/layout/HorizontalMultiLevelHierarchy"/>
    <dgm:cxn modelId="{EB6A4F8B-0076-4AA0-A81D-3E41E4C53187}" type="presOf" srcId="{8A26916C-03BF-4B0E-92AF-656A56CF8513}" destId="{0336C92A-933C-4B9A-8AAD-80A8DB51CB00}" srcOrd="1" destOrd="0" presId="urn:microsoft.com/office/officeart/2008/layout/HorizontalMultiLevelHierarchy"/>
    <dgm:cxn modelId="{4BDF838B-A489-4DE6-9003-7CF5CCBF8353}" srcId="{8E70AA8F-7583-4AFE-9EDE-87363894E1F8}" destId="{2FAED816-5ABD-44B8-9175-AD4921C3FE98}" srcOrd="3" destOrd="0" parTransId="{2C61C4AB-FC34-4364-9323-4A9D6350BA1C}" sibTransId="{4827AEAC-F6B1-4792-BB11-A609080D91CA}"/>
    <dgm:cxn modelId="{C77F5C8D-F4DE-4573-9FDE-EBB2F5F469F1}" type="presOf" srcId="{D0F076D3-591F-4547-A436-4947EC5EA385}" destId="{ADBE13F2-10FA-4B06-99C7-09C6712A7646}" srcOrd="1" destOrd="0" presId="urn:microsoft.com/office/officeart/2008/layout/HorizontalMultiLevelHierarchy"/>
    <dgm:cxn modelId="{C3BFF295-2D54-481B-947E-4480284A189F}" type="presOf" srcId="{31BDA904-A9EF-437C-9DAF-E5BDF8C1106E}" destId="{FAF45787-F807-4BB6-923D-0C0E2CD8C149}" srcOrd="0" destOrd="0" presId="urn:microsoft.com/office/officeart/2008/layout/HorizontalMultiLevelHierarchy"/>
    <dgm:cxn modelId="{99BBE096-3DF3-4255-89AC-24F727FF2F6A}" type="presOf" srcId="{42F96A8F-BB1E-4B89-AB8E-11A0F37EB1DB}" destId="{7F2C676C-E906-4B26-892E-C728B9239429}" srcOrd="0" destOrd="0" presId="urn:microsoft.com/office/officeart/2008/layout/HorizontalMultiLevelHierarchy"/>
    <dgm:cxn modelId="{3661A398-6699-493C-A604-957A73E01291}" type="presOf" srcId="{17815460-B569-463A-BACE-734F709F874A}" destId="{D4121B60-61D6-41A4-AAB9-DE9671C8ED2F}" srcOrd="1" destOrd="0" presId="urn:microsoft.com/office/officeart/2008/layout/HorizontalMultiLevelHierarchy"/>
    <dgm:cxn modelId="{3334C099-BCC2-4024-88CF-D77B492D91C8}" type="presOf" srcId="{BB72E3E4-7E20-4FF3-87BE-AD24CB2F12EE}" destId="{A4E05C94-2209-4BF4-B627-606397BBC1C5}" srcOrd="0" destOrd="0" presId="urn:microsoft.com/office/officeart/2008/layout/HorizontalMultiLevelHierarchy"/>
    <dgm:cxn modelId="{FA7F7B9B-BCD6-48E4-84B7-A00266E14053}" type="presOf" srcId="{B3C6A11E-10F5-433C-A0FB-1B185A7D12E0}" destId="{1CD57466-73E5-43BB-AF51-980153E8039A}" srcOrd="0" destOrd="0" presId="urn:microsoft.com/office/officeart/2008/layout/HorizontalMultiLevelHierarchy"/>
    <dgm:cxn modelId="{E07BE79E-7865-47DB-84AF-7F7057F85761}" type="presOf" srcId="{8E70AA8F-7583-4AFE-9EDE-87363894E1F8}" destId="{49ADAAAB-354D-4968-9DE9-378E6595E5BB}" srcOrd="0" destOrd="0" presId="urn:microsoft.com/office/officeart/2008/layout/HorizontalMultiLevelHierarchy"/>
    <dgm:cxn modelId="{9E137BA1-2E21-43A2-A338-650B162A3662}" srcId="{D0997319-AE2C-4C46-ADCB-BA43BE3F3F54}" destId="{434F1058-EF12-4590-BD43-496B2D33656A}" srcOrd="1" destOrd="0" parTransId="{17815460-B569-463A-BACE-734F709F874A}" sibTransId="{BC8F1DC2-66B6-4B6F-BD02-84C41DB8AF5C}"/>
    <dgm:cxn modelId="{C996C3A8-B8F4-411F-B641-37F469185B57}" type="presOf" srcId="{524ED0C4-9CC2-4C2A-B51C-974FA37A7FE7}" destId="{C5F46441-018D-4AD0-9984-278FB6B3653F}" srcOrd="0" destOrd="0" presId="urn:microsoft.com/office/officeart/2008/layout/HorizontalMultiLevelHierarchy"/>
    <dgm:cxn modelId="{449FB1AA-FE60-423F-AD7C-959A05592410}" type="presOf" srcId="{858DE0EA-690E-49F0-9AFD-401C85E7FBB4}" destId="{D3331827-B92C-4419-96E8-793E8D653308}" srcOrd="1" destOrd="0" presId="urn:microsoft.com/office/officeart/2008/layout/HorizontalMultiLevelHierarchy"/>
    <dgm:cxn modelId="{00DC05AB-0E87-4D69-9934-9D14BE1C2731}" type="presOf" srcId="{503510FB-9E52-432E-98AC-FEF28CA55F0D}" destId="{60A0F5E7-D1D3-49F8-A254-CFFCBE54AAF0}" srcOrd="0" destOrd="0" presId="urn:microsoft.com/office/officeart/2008/layout/HorizontalMultiLevelHierarchy"/>
    <dgm:cxn modelId="{540F67B5-7CE8-4325-88C3-2ECA7ED151B5}" type="presOf" srcId="{E0EC0A27-9EDB-47A4-8DED-CBD1A61B9BC9}" destId="{81473451-3FF3-474B-98FB-6869E5682468}" srcOrd="0" destOrd="0" presId="urn:microsoft.com/office/officeart/2008/layout/HorizontalMultiLevelHierarchy"/>
    <dgm:cxn modelId="{7DC022B6-EC7E-4248-8376-A4A4C0054F1A}" type="presOf" srcId="{503510FB-9E52-432E-98AC-FEF28CA55F0D}" destId="{3325D373-008A-41E8-9EA1-B4B0FC90FCD2}" srcOrd="1" destOrd="0" presId="urn:microsoft.com/office/officeart/2008/layout/HorizontalMultiLevelHierarchy"/>
    <dgm:cxn modelId="{5EE5F9B8-E535-490A-81D6-FE6068C5F94F}" type="presOf" srcId="{86A07196-5E8B-49B8-84A4-6DF135FCBFFC}" destId="{6E154881-954A-429F-9BBE-E92EEB4B1011}" srcOrd="0" destOrd="0" presId="urn:microsoft.com/office/officeart/2008/layout/HorizontalMultiLevelHierarchy"/>
    <dgm:cxn modelId="{21BC0ABF-D33B-4704-99A0-AC6C60960517}" type="presOf" srcId="{87CDD4F3-E71F-44A9-B515-E47672A849B6}" destId="{329CD9E0-9945-40C9-89A5-5929AA1A3A82}" srcOrd="0" destOrd="0" presId="urn:microsoft.com/office/officeart/2008/layout/HorizontalMultiLevelHierarchy"/>
    <dgm:cxn modelId="{626342BF-3559-4137-A851-ACB1710B13E3}" srcId="{8E70AA8F-7583-4AFE-9EDE-87363894E1F8}" destId="{BF1B7062-91AB-4F1D-BD08-8D3EC4B33C1F}" srcOrd="0" destOrd="0" parTransId="{8ACEFE3D-DAAE-46D2-BF29-AF7B5FBB783D}" sibTransId="{0FF6A2D2-189B-4085-A91C-E4641E47ACCE}"/>
    <dgm:cxn modelId="{221AD8BF-6539-43E4-9EB1-23AF138D0EE2}" srcId="{D0997319-AE2C-4C46-ADCB-BA43BE3F3F54}" destId="{C1D130BE-4BC5-481C-BADA-14A869727C0B}" srcOrd="2" destOrd="0" parTransId="{8A26916C-03BF-4B0E-92AF-656A56CF8513}" sibTransId="{4F4BE6FE-AE34-4934-8B0D-8FDF04C5765F}"/>
    <dgm:cxn modelId="{25BD37C3-2196-49F3-AD2A-B163574CADC5}" type="presOf" srcId="{42F96A8F-BB1E-4B89-AB8E-11A0F37EB1DB}" destId="{F614A676-E312-4A6F-BE9F-B6E2993177B6}" srcOrd="1" destOrd="0" presId="urn:microsoft.com/office/officeart/2008/layout/HorizontalMultiLevelHierarchy"/>
    <dgm:cxn modelId="{06533EC6-3B33-4FE2-B092-DBD1E23AB973}" type="presOf" srcId="{2DCC687C-BE9B-4DD8-8A80-E970635437CA}" destId="{2B4072C3-2623-4EA4-94B7-025A9DCD72E9}" srcOrd="0" destOrd="0" presId="urn:microsoft.com/office/officeart/2008/layout/HorizontalMultiLevelHierarchy"/>
    <dgm:cxn modelId="{0419F4C6-C72F-44E5-856A-7A5E20A609B0}" srcId="{8E70AA8F-7583-4AFE-9EDE-87363894E1F8}" destId="{49A0BB83-CEA0-46AB-9D0B-B65F612AEE4A}" srcOrd="1" destOrd="0" parTransId="{AE65C2BF-225F-4643-AE59-9457E6820B24}" sibTransId="{2328B74F-4929-49C4-A401-C9585D838753}"/>
    <dgm:cxn modelId="{FA31A5C7-F378-42C8-A9AD-F864553E6C8E}" type="presOf" srcId="{23EDCDD5-F170-402F-A11E-15FD466C3CE5}" destId="{709C936E-7E65-4B5A-AC40-4548A25152AC}" srcOrd="0" destOrd="0" presId="urn:microsoft.com/office/officeart/2008/layout/HorizontalMultiLevelHierarchy"/>
    <dgm:cxn modelId="{19B9B5C9-B669-4991-9912-383473355532}" type="presOf" srcId="{33587DE4-8F92-4CA4-A011-892138D47DA7}" destId="{8F47A465-73D6-48E5-83FD-F149301C3BBD}" srcOrd="0" destOrd="0" presId="urn:microsoft.com/office/officeart/2008/layout/HorizontalMultiLevelHierarchy"/>
    <dgm:cxn modelId="{587DEAC9-60C3-45DB-9C9F-C26256D35C0F}" srcId="{C1D130BE-4BC5-481C-BADA-14A869727C0B}" destId="{16945C89-930D-4764-8730-4F183F8B4C87}" srcOrd="1" destOrd="0" parTransId="{B3C6A11E-10F5-433C-A0FB-1B185A7D12E0}" sibTransId="{5C8BCF49-4277-47C2-9543-A10467E88E20}"/>
    <dgm:cxn modelId="{EDD069CE-E724-4C0A-92C6-2204B289CF24}" type="presOf" srcId="{DA62F256-25CF-4854-BFCD-F90F70E5F8D4}" destId="{037062E2-BE96-4A8B-9D2F-1FA0857207C1}" srcOrd="0" destOrd="0" presId="urn:microsoft.com/office/officeart/2008/layout/HorizontalMultiLevelHierarchy"/>
    <dgm:cxn modelId="{46C105CF-449F-4F1C-B399-CE70EC74C4C8}" srcId="{BF1B7062-91AB-4F1D-BD08-8D3EC4B33C1F}" destId="{D11BAA21-3D0E-4BFE-97F1-F349F96BB7F2}" srcOrd="3" destOrd="0" parTransId="{524ED0C4-9CC2-4C2A-B51C-974FA37A7FE7}" sibTransId="{632B7E11-8BCB-44BB-80A1-C58DA59BDECF}"/>
    <dgm:cxn modelId="{4A7380CF-8162-4F2E-9F90-B51642631E94}" srcId="{49A0BB83-CEA0-46AB-9D0B-B65F612AEE4A}" destId="{C1F68F19-94EA-4970-A79B-863E823848E5}" srcOrd="2" destOrd="0" parTransId="{0F1B911F-6353-4AE6-9EEF-D49625DE905E}" sibTransId="{60DB14D8-838D-4A63-A334-C12EB1C7625D}"/>
    <dgm:cxn modelId="{983AD7DE-4E8D-496F-BCB8-C95CB034A01D}" type="presOf" srcId="{C7C06085-9DF0-469C-90B3-434C5E418A6D}" destId="{799FD5E4-5D76-4338-BDA8-9F7F790A3A29}" srcOrd="1" destOrd="0" presId="urn:microsoft.com/office/officeart/2008/layout/HorizontalMultiLevelHierarchy"/>
    <dgm:cxn modelId="{C5BE0DE1-3793-4C23-A900-78112F2919D4}" srcId="{8E70AA8F-7583-4AFE-9EDE-87363894E1F8}" destId="{DAFF3CB8-4780-4F42-8F5A-A2879CF5C5A6}" srcOrd="2" destOrd="0" parTransId="{BB72E3E4-7E20-4FF3-87BE-AD24CB2F12EE}" sibTransId="{1E1C3655-4299-4282-B808-C53E3FABF68D}"/>
    <dgm:cxn modelId="{32BA70E3-2B88-4E2B-9094-EE86858857DA}" srcId="{BF1B7062-91AB-4F1D-BD08-8D3EC4B33C1F}" destId="{33587DE4-8F92-4CA4-A011-892138D47DA7}" srcOrd="4" destOrd="0" parTransId="{31BDA904-A9EF-437C-9DAF-E5BDF8C1106E}" sibTransId="{359CEDC3-C134-4529-AEBB-BBDE1EA7D255}"/>
    <dgm:cxn modelId="{870D94E8-9751-454A-BABA-EA45EF84CC1C}" type="presOf" srcId="{C1F68F19-94EA-4970-A79B-863E823848E5}" destId="{42C465EB-33D9-4AD2-A33B-930C8E39ED41}" srcOrd="0" destOrd="0" presId="urn:microsoft.com/office/officeart/2008/layout/HorizontalMultiLevelHierarchy"/>
    <dgm:cxn modelId="{B7674FEE-4F81-43E5-A853-47CF1B66D2AD}" type="presOf" srcId="{BF1B7062-91AB-4F1D-BD08-8D3EC4B33C1F}" destId="{F9F18759-F577-4686-9C34-EB964D732C77}" srcOrd="0" destOrd="0" presId="urn:microsoft.com/office/officeart/2008/layout/HorizontalMultiLevelHierarchy"/>
    <dgm:cxn modelId="{8D6DF9EE-A2D8-412C-887B-0C054D51DFA0}" type="presOf" srcId="{2DCC687C-BE9B-4DD8-8A80-E970635437CA}" destId="{7260B369-A7E2-44EA-98FE-B408D79B13A6}" srcOrd="1" destOrd="0" presId="urn:microsoft.com/office/officeart/2008/layout/HorizontalMultiLevelHierarchy"/>
    <dgm:cxn modelId="{7CDA6FEF-3872-4337-84FA-0DD423E0FBC5}" srcId="{BF1B7062-91AB-4F1D-BD08-8D3EC4B33C1F}" destId="{ADED253C-6A2E-4631-B1D4-F5E1FE2B5B55}" srcOrd="2" destOrd="0" parTransId="{23EDCDD5-F170-402F-A11E-15FD466C3CE5}" sibTransId="{074D77D4-B07D-447C-B97C-356C65F95759}"/>
    <dgm:cxn modelId="{F4D4E3EF-4C7A-4DD4-B693-2A68087757F8}" srcId="{49A0BB83-CEA0-46AB-9D0B-B65F612AEE4A}" destId="{4DA8AE24-A75C-40AE-A6A1-13FE57AE449D}" srcOrd="1" destOrd="0" parTransId="{2DCC687C-BE9B-4DD8-8A80-E970635437CA}" sibTransId="{DF4C3ABC-A688-4048-91A3-DFE9CE606182}"/>
    <dgm:cxn modelId="{0A8FCBF8-AD1F-4CF4-8568-2F5CBABA5157}" srcId="{49A0BB83-CEA0-46AB-9D0B-B65F612AEE4A}" destId="{3EC8FF9E-3113-473A-A5E5-ABD9C5F94794}" srcOrd="3" destOrd="0" parTransId="{87CDD4F3-E71F-44A9-B515-E47672A849B6}" sibTransId="{25369813-4686-4B37-9746-915D5E2ABB1B}"/>
    <dgm:cxn modelId="{2279FAFA-FB88-4C2D-B0C1-6B2ACC4BBF39}" type="presOf" srcId="{D937D902-C50B-4BEC-9C1F-D9880BCC701B}" destId="{30A455D9-9D31-498C-B006-B59A4D0FAC39}" srcOrd="1" destOrd="0" presId="urn:microsoft.com/office/officeart/2008/layout/HorizontalMultiLevelHierarchy"/>
    <dgm:cxn modelId="{A3A0BCFB-D8D9-4632-B5AB-CF4EFA2E3C41}" srcId="{BF1B7062-91AB-4F1D-BD08-8D3EC4B33C1F}" destId="{4D897679-FA7C-48A2-A57F-5D0431886FF7}" srcOrd="0" destOrd="0" parTransId="{C7C06085-9DF0-469C-90B3-434C5E418A6D}" sibTransId="{D55B2488-3E22-41F8-99B8-F1276460587D}"/>
    <dgm:cxn modelId="{6B84BBFC-A091-4525-A53A-310AE57146D4}" type="presOf" srcId="{D11BAA21-3D0E-4BFE-97F1-F349F96BB7F2}" destId="{E35C2840-DB93-493D-B275-166B0E0C4A9D}" srcOrd="0" destOrd="0" presId="urn:microsoft.com/office/officeart/2008/layout/HorizontalMultiLevelHierarchy"/>
    <dgm:cxn modelId="{BC1D60FE-A17A-4459-A412-7BD781EE41A1}" type="presOf" srcId="{31BDA904-A9EF-437C-9DAF-E5BDF8C1106E}" destId="{8B0AB1CA-7D19-4139-820F-FBEA5B4373F8}" srcOrd="1" destOrd="0" presId="urn:microsoft.com/office/officeart/2008/layout/HorizontalMultiLevelHierarchy"/>
    <dgm:cxn modelId="{3E8C5480-73D9-4EE3-932D-82721BB1E7B2}" type="presParOf" srcId="{50C4D88C-9CB0-4513-8456-755395491158}" destId="{506FBA0B-6598-4404-B87A-56869B8718E3}" srcOrd="0" destOrd="0" presId="urn:microsoft.com/office/officeart/2008/layout/HorizontalMultiLevelHierarchy"/>
    <dgm:cxn modelId="{AD087DA0-5EB4-49EE-82D3-F6C47200DD79}" type="presParOf" srcId="{506FBA0B-6598-4404-B87A-56869B8718E3}" destId="{DCF5B4EF-DE4F-4292-A3B2-724C163A44AB}" srcOrd="0" destOrd="0" presId="urn:microsoft.com/office/officeart/2008/layout/HorizontalMultiLevelHierarchy"/>
    <dgm:cxn modelId="{AD864577-5B7E-4328-AC26-287C80C6BEA3}" type="presParOf" srcId="{506FBA0B-6598-4404-B87A-56869B8718E3}" destId="{7E8A6FC8-F240-4C27-8F75-0549E9D1CE4E}" srcOrd="1" destOrd="0" presId="urn:microsoft.com/office/officeart/2008/layout/HorizontalMultiLevelHierarchy"/>
    <dgm:cxn modelId="{0D5824EC-96D2-4284-930C-3DC3234577D3}" type="presParOf" srcId="{7E8A6FC8-F240-4C27-8F75-0549E9D1CE4E}" destId="{BE328E0A-C287-4B1A-BD90-C0F3098FFCD9}" srcOrd="0" destOrd="0" presId="urn:microsoft.com/office/officeart/2008/layout/HorizontalMultiLevelHierarchy"/>
    <dgm:cxn modelId="{FF3EDB3F-3E5D-484F-B7EB-2D9D119CC084}" type="presParOf" srcId="{BE328E0A-C287-4B1A-BD90-C0F3098FFCD9}" destId="{1EB559E9-DB95-4028-B960-01A592B99E92}" srcOrd="0" destOrd="0" presId="urn:microsoft.com/office/officeart/2008/layout/HorizontalMultiLevelHierarchy"/>
    <dgm:cxn modelId="{6E796F25-24CC-4F5D-8AB9-96C968A94D86}" type="presParOf" srcId="{7E8A6FC8-F240-4C27-8F75-0549E9D1CE4E}" destId="{9893F228-CFAA-415F-97D9-8C8EA9FB1BC5}" srcOrd="1" destOrd="0" presId="urn:microsoft.com/office/officeart/2008/layout/HorizontalMultiLevelHierarchy"/>
    <dgm:cxn modelId="{F5FE272E-5A1A-4232-A41E-5E8F96E754E7}" type="presParOf" srcId="{9893F228-CFAA-415F-97D9-8C8EA9FB1BC5}" destId="{49ADAAAB-354D-4968-9DE9-378E6595E5BB}" srcOrd="0" destOrd="0" presId="urn:microsoft.com/office/officeart/2008/layout/HorizontalMultiLevelHierarchy"/>
    <dgm:cxn modelId="{480D07D8-1F1B-4569-80CC-321A6295D639}" type="presParOf" srcId="{9893F228-CFAA-415F-97D9-8C8EA9FB1BC5}" destId="{46E2FE2A-A747-4DEE-AAF5-53A8EE84B06B}" srcOrd="1" destOrd="0" presId="urn:microsoft.com/office/officeart/2008/layout/HorizontalMultiLevelHierarchy"/>
    <dgm:cxn modelId="{50D16AF4-5755-49CA-8CD2-80B55C410D0F}" type="presParOf" srcId="{46E2FE2A-A747-4DEE-AAF5-53A8EE84B06B}" destId="{A00DE1AA-92DF-4607-98DB-1C3BB048DCF5}" srcOrd="0" destOrd="0" presId="urn:microsoft.com/office/officeart/2008/layout/HorizontalMultiLevelHierarchy"/>
    <dgm:cxn modelId="{431D5585-68BC-402E-A1E8-6AA95F6C7608}" type="presParOf" srcId="{A00DE1AA-92DF-4607-98DB-1C3BB048DCF5}" destId="{FCADF10C-D51C-403A-B095-E884F4771DA4}" srcOrd="0" destOrd="0" presId="urn:microsoft.com/office/officeart/2008/layout/HorizontalMultiLevelHierarchy"/>
    <dgm:cxn modelId="{15D334E0-0A38-4F4E-ADC1-2877693952AA}" type="presParOf" srcId="{46E2FE2A-A747-4DEE-AAF5-53A8EE84B06B}" destId="{82114EE1-887C-431E-AFFD-6C4277E5953D}" srcOrd="1" destOrd="0" presId="urn:microsoft.com/office/officeart/2008/layout/HorizontalMultiLevelHierarchy"/>
    <dgm:cxn modelId="{8C9D2DBB-76FF-4B29-A8BF-76E1595D5F7B}" type="presParOf" srcId="{82114EE1-887C-431E-AFFD-6C4277E5953D}" destId="{F9F18759-F577-4686-9C34-EB964D732C77}" srcOrd="0" destOrd="0" presId="urn:microsoft.com/office/officeart/2008/layout/HorizontalMultiLevelHierarchy"/>
    <dgm:cxn modelId="{24FAD8B7-4C36-4713-89C8-0B0C5F8DE428}" type="presParOf" srcId="{82114EE1-887C-431E-AFFD-6C4277E5953D}" destId="{54BDE115-2A0C-4217-89B4-E7E8586234DB}" srcOrd="1" destOrd="0" presId="urn:microsoft.com/office/officeart/2008/layout/HorizontalMultiLevelHierarchy"/>
    <dgm:cxn modelId="{3D372E14-A8FD-44D7-8131-FA6D9CF22B67}" type="presParOf" srcId="{54BDE115-2A0C-4217-89B4-E7E8586234DB}" destId="{6D05A90F-5A8D-42F9-A2CB-82F28C0FF2BC}" srcOrd="0" destOrd="0" presId="urn:microsoft.com/office/officeart/2008/layout/HorizontalMultiLevelHierarchy"/>
    <dgm:cxn modelId="{F40CABF1-22E9-41F5-8B23-F27E5206AE95}" type="presParOf" srcId="{6D05A90F-5A8D-42F9-A2CB-82F28C0FF2BC}" destId="{799FD5E4-5D76-4338-BDA8-9F7F790A3A29}" srcOrd="0" destOrd="0" presId="urn:microsoft.com/office/officeart/2008/layout/HorizontalMultiLevelHierarchy"/>
    <dgm:cxn modelId="{DFBDF78B-1D23-455B-94D1-7FEC00C888AD}" type="presParOf" srcId="{54BDE115-2A0C-4217-89B4-E7E8586234DB}" destId="{1C875D8C-6779-45C7-9DF1-E38374A18533}" srcOrd="1" destOrd="0" presId="urn:microsoft.com/office/officeart/2008/layout/HorizontalMultiLevelHierarchy"/>
    <dgm:cxn modelId="{00ED9729-0AF6-4E65-A263-4A217F294ED2}" type="presParOf" srcId="{1C875D8C-6779-45C7-9DF1-E38374A18533}" destId="{F8A94DA1-2081-4A8B-816C-A9F98C2853F5}" srcOrd="0" destOrd="0" presId="urn:microsoft.com/office/officeart/2008/layout/HorizontalMultiLevelHierarchy"/>
    <dgm:cxn modelId="{44FDD24A-6CFB-46B1-BEB2-69DCD38B52E4}" type="presParOf" srcId="{1C875D8C-6779-45C7-9DF1-E38374A18533}" destId="{BE78AA36-14CC-406D-9CAF-F23AD3DFDFED}" srcOrd="1" destOrd="0" presId="urn:microsoft.com/office/officeart/2008/layout/HorizontalMultiLevelHierarchy"/>
    <dgm:cxn modelId="{944A07B4-171F-46FD-9A9A-D9F32623A61F}" type="presParOf" srcId="{54BDE115-2A0C-4217-89B4-E7E8586234DB}" destId="{8F0AA0AA-EF8D-43DE-82C5-2D7BFD08315F}" srcOrd="2" destOrd="0" presId="urn:microsoft.com/office/officeart/2008/layout/HorizontalMultiLevelHierarchy"/>
    <dgm:cxn modelId="{8E6E216A-B20D-4FF2-9976-6A4AD97AA5AD}" type="presParOf" srcId="{8F0AA0AA-EF8D-43DE-82C5-2D7BFD08315F}" destId="{FD15021D-62B7-4A46-932A-654E778DB44B}" srcOrd="0" destOrd="0" presId="urn:microsoft.com/office/officeart/2008/layout/HorizontalMultiLevelHierarchy"/>
    <dgm:cxn modelId="{35774EDF-2194-4938-91A1-C2CF1298126D}" type="presParOf" srcId="{54BDE115-2A0C-4217-89B4-E7E8586234DB}" destId="{92C6DF90-94C7-417B-A0B7-472D3330DFC6}" srcOrd="3" destOrd="0" presId="urn:microsoft.com/office/officeart/2008/layout/HorizontalMultiLevelHierarchy"/>
    <dgm:cxn modelId="{62003EF5-E134-419F-A088-B5DDC40A2688}" type="presParOf" srcId="{92C6DF90-94C7-417B-A0B7-472D3330DFC6}" destId="{571B8373-7DFF-4282-8AA6-80F7CC7EA7C8}" srcOrd="0" destOrd="0" presId="urn:microsoft.com/office/officeart/2008/layout/HorizontalMultiLevelHierarchy"/>
    <dgm:cxn modelId="{E322A04F-806C-4932-A9A0-D0423C9769E7}" type="presParOf" srcId="{92C6DF90-94C7-417B-A0B7-472D3330DFC6}" destId="{2E395B4D-D351-4809-A97B-BD1545D151D6}" srcOrd="1" destOrd="0" presId="urn:microsoft.com/office/officeart/2008/layout/HorizontalMultiLevelHierarchy"/>
    <dgm:cxn modelId="{F777DE2D-E80D-4EA4-B833-A3841CA97B4B}" type="presParOf" srcId="{54BDE115-2A0C-4217-89B4-E7E8586234DB}" destId="{709C936E-7E65-4B5A-AC40-4548A25152AC}" srcOrd="4" destOrd="0" presId="urn:microsoft.com/office/officeart/2008/layout/HorizontalMultiLevelHierarchy"/>
    <dgm:cxn modelId="{32E88D2B-0DC3-47DF-8E3C-D73500CC12ED}" type="presParOf" srcId="{709C936E-7E65-4B5A-AC40-4548A25152AC}" destId="{79D3B186-92E5-40C6-A995-4173A00C788D}" srcOrd="0" destOrd="0" presId="urn:microsoft.com/office/officeart/2008/layout/HorizontalMultiLevelHierarchy"/>
    <dgm:cxn modelId="{3F754718-EE57-49C1-BB11-DB71B1789707}" type="presParOf" srcId="{54BDE115-2A0C-4217-89B4-E7E8586234DB}" destId="{288D4D72-A885-421E-B53B-89BEC0A8E191}" srcOrd="5" destOrd="0" presId="urn:microsoft.com/office/officeart/2008/layout/HorizontalMultiLevelHierarchy"/>
    <dgm:cxn modelId="{7057AA4D-B137-41ED-BB23-97CC6A463ECC}" type="presParOf" srcId="{288D4D72-A885-421E-B53B-89BEC0A8E191}" destId="{9E59A063-5821-4E2B-8FD8-3EBA8922B98E}" srcOrd="0" destOrd="0" presId="urn:microsoft.com/office/officeart/2008/layout/HorizontalMultiLevelHierarchy"/>
    <dgm:cxn modelId="{B1430112-47C7-421A-A831-AD9432EA9447}" type="presParOf" srcId="{288D4D72-A885-421E-B53B-89BEC0A8E191}" destId="{A60165E3-8C06-4086-B11F-0E702421E440}" srcOrd="1" destOrd="0" presId="urn:microsoft.com/office/officeart/2008/layout/HorizontalMultiLevelHierarchy"/>
    <dgm:cxn modelId="{4606825E-DF7B-4A4B-970B-90A4366FCD75}" type="presParOf" srcId="{54BDE115-2A0C-4217-89B4-E7E8586234DB}" destId="{C5F46441-018D-4AD0-9984-278FB6B3653F}" srcOrd="6" destOrd="0" presId="urn:microsoft.com/office/officeart/2008/layout/HorizontalMultiLevelHierarchy"/>
    <dgm:cxn modelId="{2195A6B6-C0E7-4925-B522-ECD20392777B}" type="presParOf" srcId="{C5F46441-018D-4AD0-9984-278FB6B3653F}" destId="{D9EA4352-69AB-4BEF-A3B8-25557C0E3D3D}" srcOrd="0" destOrd="0" presId="urn:microsoft.com/office/officeart/2008/layout/HorizontalMultiLevelHierarchy"/>
    <dgm:cxn modelId="{76A9F908-999F-4A91-9814-EDE65165187B}" type="presParOf" srcId="{54BDE115-2A0C-4217-89B4-E7E8586234DB}" destId="{0E92266F-6127-4D65-BB11-33FD467F105D}" srcOrd="7" destOrd="0" presId="urn:microsoft.com/office/officeart/2008/layout/HorizontalMultiLevelHierarchy"/>
    <dgm:cxn modelId="{F306A3C1-7973-4F7A-943B-6ADCD306A7F6}" type="presParOf" srcId="{0E92266F-6127-4D65-BB11-33FD467F105D}" destId="{E35C2840-DB93-493D-B275-166B0E0C4A9D}" srcOrd="0" destOrd="0" presId="urn:microsoft.com/office/officeart/2008/layout/HorizontalMultiLevelHierarchy"/>
    <dgm:cxn modelId="{A835B48E-3A8E-4008-A8CE-A71601018F84}" type="presParOf" srcId="{0E92266F-6127-4D65-BB11-33FD467F105D}" destId="{D8A053A6-8CD3-465F-9ECC-7C0D113893EE}" srcOrd="1" destOrd="0" presId="urn:microsoft.com/office/officeart/2008/layout/HorizontalMultiLevelHierarchy"/>
    <dgm:cxn modelId="{8D24C396-9E55-4005-8D86-DB4BF7EBCB4D}" type="presParOf" srcId="{54BDE115-2A0C-4217-89B4-E7E8586234DB}" destId="{FAF45787-F807-4BB6-923D-0C0E2CD8C149}" srcOrd="8" destOrd="0" presId="urn:microsoft.com/office/officeart/2008/layout/HorizontalMultiLevelHierarchy"/>
    <dgm:cxn modelId="{B8C3ED00-AC23-46BD-B1D0-119DB40B33C6}" type="presParOf" srcId="{FAF45787-F807-4BB6-923D-0C0E2CD8C149}" destId="{8B0AB1CA-7D19-4139-820F-FBEA5B4373F8}" srcOrd="0" destOrd="0" presId="urn:microsoft.com/office/officeart/2008/layout/HorizontalMultiLevelHierarchy"/>
    <dgm:cxn modelId="{CEE7DFA3-513B-4D24-A57B-0052FB3C207F}" type="presParOf" srcId="{54BDE115-2A0C-4217-89B4-E7E8586234DB}" destId="{C3306D52-2437-4385-ACA3-7D8CE9EB0569}" srcOrd="9" destOrd="0" presId="urn:microsoft.com/office/officeart/2008/layout/HorizontalMultiLevelHierarchy"/>
    <dgm:cxn modelId="{08DF73F5-ABF4-4C8B-834F-6A47AAB5E318}" type="presParOf" srcId="{C3306D52-2437-4385-ACA3-7D8CE9EB0569}" destId="{8F47A465-73D6-48E5-83FD-F149301C3BBD}" srcOrd="0" destOrd="0" presId="urn:microsoft.com/office/officeart/2008/layout/HorizontalMultiLevelHierarchy"/>
    <dgm:cxn modelId="{1CF8F74E-E989-4A3F-908A-DCDB6D590139}" type="presParOf" srcId="{C3306D52-2437-4385-ACA3-7D8CE9EB0569}" destId="{E32E857A-F3CD-4263-AB35-D59E97F83B1D}" srcOrd="1" destOrd="0" presId="urn:microsoft.com/office/officeart/2008/layout/HorizontalMultiLevelHierarchy"/>
    <dgm:cxn modelId="{88639E4F-31C1-497A-AD08-8F53C1B0472D}" type="presParOf" srcId="{46E2FE2A-A747-4DEE-AAF5-53A8EE84B06B}" destId="{5BC2DE1D-C4D7-4BFC-A0C1-3D282DC024CD}" srcOrd="2" destOrd="0" presId="urn:microsoft.com/office/officeart/2008/layout/HorizontalMultiLevelHierarchy"/>
    <dgm:cxn modelId="{BC66EAF4-D03A-4B97-B08C-7F76CC2F9B24}" type="presParOf" srcId="{5BC2DE1D-C4D7-4BFC-A0C1-3D282DC024CD}" destId="{0C497864-2349-44C5-8D11-5F89748F0519}" srcOrd="0" destOrd="0" presId="urn:microsoft.com/office/officeart/2008/layout/HorizontalMultiLevelHierarchy"/>
    <dgm:cxn modelId="{40D40725-FA7B-4511-B16E-C1EFB81A0750}" type="presParOf" srcId="{46E2FE2A-A747-4DEE-AAF5-53A8EE84B06B}" destId="{9DEE4079-5D60-4753-AEAE-EF1343D66E8F}" srcOrd="3" destOrd="0" presId="urn:microsoft.com/office/officeart/2008/layout/HorizontalMultiLevelHierarchy"/>
    <dgm:cxn modelId="{6042F3FD-F18F-4D46-8EC2-9066A06C2B78}" type="presParOf" srcId="{9DEE4079-5D60-4753-AEAE-EF1343D66E8F}" destId="{DC0B28EB-699E-45BB-87EC-30E574E72821}" srcOrd="0" destOrd="0" presId="urn:microsoft.com/office/officeart/2008/layout/HorizontalMultiLevelHierarchy"/>
    <dgm:cxn modelId="{608302F7-1EC7-4ADD-8AE7-438FDE7034DF}" type="presParOf" srcId="{9DEE4079-5D60-4753-AEAE-EF1343D66E8F}" destId="{F96545F6-99BC-46B9-929F-A49863AE73CF}" srcOrd="1" destOrd="0" presId="urn:microsoft.com/office/officeart/2008/layout/HorizontalMultiLevelHierarchy"/>
    <dgm:cxn modelId="{A053F520-2BFF-4D78-ABA3-085B38E9BB46}" type="presParOf" srcId="{F96545F6-99BC-46B9-929F-A49863AE73CF}" destId="{7F2C676C-E906-4B26-892E-C728B9239429}" srcOrd="0" destOrd="0" presId="urn:microsoft.com/office/officeart/2008/layout/HorizontalMultiLevelHierarchy"/>
    <dgm:cxn modelId="{DC63E4DA-2911-48A2-B45E-2A3F7F320F95}" type="presParOf" srcId="{7F2C676C-E906-4B26-892E-C728B9239429}" destId="{F614A676-E312-4A6F-BE9F-B6E2993177B6}" srcOrd="0" destOrd="0" presId="urn:microsoft.com/office/officeart/2008/layout/HorizontalMultiLevelHierarchy"/>
    <dgm:cxn modelId="{98791E69-7D35-4CF1-9761-6C24C2696866}" type="presParOf" srcId="{F96545F6-99BC-46B9-929F-A49863AE73CF}" destId="{BDC558D4-E8FE-4402-98B6-954B2DED52D1}" srcOrd="1" destOrd="0" presId="urn:microsoft.com/office/officeart/2008/layout/HorizontalMultiLevelHierarchy"/>
    <dgm:cxn modelId="{FDBEFCAE-1435-4A02-93C8-6822FB954273}" type="presParOf" srcId="{BDC558D4-E8FE-4402-98B6-954B2DED52D1}" destId="{81473451-3FF3-474B-98FB-6869E5682468}" srcOrd="0" destOrd="0" presId="urn:microsoft.com/office/officeart/2008/layout/HorizontalMultiLevelHierarchy"/>
    <dgm:cxn modelId="{B5D9CD1B-6DBD-4706-A7AF-2E52473396EC}" type="presParOf" srcId="{BDC558D4-E8FE-4402-98B6-954B2DED52D1}" destId="{FA9000AC-D9F7-467D-A35D-DAD03D5FE186}" srcOrd="1" destOrd="0" presId="urn:microsoft.com/office/officeart/2008/layout/HorizontalMultiLevelHierarchy"/>
    <dgm:cxn modelId="{796470D6-7D1B-4420-B116-3CDECA6C4332}" type="presParOf" srcId="{F96545F6-99BC-46B9-929F-A49863AE73CF}" destId="{2B4072C3-2623-4EA4-94B7-025A9DCD72E9}" srcOrd="2" destOrd="0" presId="urn:microsoft.com/office/officeart/2008/layout/HorizontalMultiLevelHierarchy"/>
    <dgm:cxn modelId="{26C198F0-9097-4B40-A099-0CF7BB5FE30B}" type="presParOf" srcId="{2B4072C3-2623-4EA4-94B7-025A9DCD72E9}" destId="{7260B369-A7E2-44EA-98FE-B408D79B13A6}" srcOrd="0" destOrd="0" presId="urn:microsoft.com/office/officeart/2008/layout/HorizontalMultiLevelHierarchy"/>
    <dgm:cxn modelId="{561417E8-7976-4A1C-A015-08E3E4F64664}" type="presParOf" srcId="{F96545F6-99BC-46B9-929F-A49863AE73CF}" destId="{1FAAD552-F495-4DB6-9E8B-FAAEB560B2F6}" srcOrd="3" destOrd="0" presId="urn:microsoft.com/office/officeart/2008/layout/HorizontalMultiLevelHierarchy"/>
    <dgm:cxn modelId="{EA019D1A-3F95-4D56-9997-0C9D24A997C5}" type="presParOf" srcId="{1FAAD552-F495-4DB6-9E8B-FAAEB560B2F6}" destId="{A732D3F1-1291-409E-9A7C-778CAE167F89}" srcOrd="0" destOrd="0" presId="urn:microsoft.com/office/officeart/2008/layout/HorizontalMultiLevelHierarchy"/>
    <dgm:cxn modelId="{166A27F3-4442-45CA-8BA6-9A502B1E32B0}" type="presParOf" srcId="{1FAAD552-F495-4DB6-9E8B-FAAEB560B2F6}" destId="{AB597740-6E08-435C-B03D-74A3C28F6C7A}" srcOrd="1" destOrd="0" presId="urn:microsoft.com/office/officeart/2008/layout/HorizontalMultiLevelHierarchy"/>
    <dgm:cxn modelId="{B13D283A-3BF4-4186-8B35-E30A1BFCB7DD}" type="presParOf" srcId="{F96545F6-99BC-46B9-929F-A49863AE73CF}" destId="{9458E52A-38CE-4EE6-A620-F703970B8164}" srcOrd="4" destOrd="0" presId="urn:microsoft.com/office/officeart/2008/layout/HorizontalMultiLevelHierarchy"/>
    <dgm:cxn modelId="{CBEB0CDE-7383-4B68-B06E-63692D94162C}" type="presParOf" srcId="{9458E52A-38CE-4EE6-A620-F703970B8164}" destId="{32DEAE14-947F-44E2-8D61-C101875AB07D}" srcOrd="0" destOrd="0" presId="urn:microsoft.com/office/officeart/2008/layout/HorizontalMultiLevelHierarchy"/>
    <dgm:cxn modelId="{268498D5-D929-4DAB-AC0F-7C00397892F8}" type="presParOf" srcId="{F96545F6-99BC-46B9-929F-A49863AE73CF}" destId="{69E10A20-FCE4-4D83-88A1-14D71635473C}" srcOrd="5" destOrd="0" presId="urn:microsoft.com/office/officeart/2008/layout/HorizontalMultiLevelHierarchy"/>
    <dgm:cxn modelId="{C53C4149-E278-4B46-8FC3-6C96C874D326}" type="presParOf" srcId="{69E10A20-FCE4-4D83-88A1-14D71635473C}" destId="{42C465EB-33D9-4AD2-A33B-930C8E39ED41}" srcOrd="0" destOrd="0" presId="urn:microsoft.com/office/officeart/2008/layout/HorizontalMultiLevelHierarchy"/>
    <dgm:cxn modelId="{148DD049-D5F2-44AA-9110-DDD80E88C1F7}" type="presParOf" srcId="{69E10A20-FCE4-4D83-88A1-14D71635473C}" destId="{2EF723DA-603B-48F9-A950-71099D97A93D}" srcOrd="1" destOrd="0" presId="urn:microsoft.com/office/officeart/2008/layout/HorizontalMultiLevelHierarchy"/>
    <dgm:cxn modelId="{E6A09153-7C65-4D54-AF4C-8F005668B195}" type="presParOf" srcId="{F96545F6-99BC-46B9-929F-A49863AE73CF}" destId="{329CD9E0-9945-40C9-89A5-5929AA1A3A82}" srcOrd="6" destOrd="0" presId="urn:microsoft.com/office/officeart/2008/layout/HorizontalMultiLevelHierarchy"/>
    <dgm:cxn modelId="{6218AF02-8BFB-41EC-94F2-A7B83BEFA856}" type="presParOf" srcId="{329CD9E0-9945-40C9-89A5-5929AA1A3A82}" destId="{27874C32-AAAE-43E2-B803-B20B1E2D7450}" srcOrd="0" destOrd="0" presId="urn:microsoft.com/office/officeart/2008/layout/HorizontalMultiLevelHierarchy"/>
    <dgm:cxn modelId="{5191E024-DDD0-405C-A806-A32820FD8CC5}" type="presParOf" srcId="{F96545F6-99BC-46B9-929F-A49863AE73CF}" destId="{413EDB34-EEB8-4846-8BF9-D4944F61EBD3}" srcOrd="7" destOrd="0" presId="urn:microsoft.com/office/officeart/2008/layout/HorizontalMultiLevelHierarchy"/>
    <dgm:cxn modelId="{A545499C-31A8-4879-8B70-422B8B7E16E8}" type="presParOf" srcId="{413EDB34-EEB8-4846-8BF9-D4944F61EBD3}" destId="{84D7F889-3498-48D8-ADC3-14251347C81B}" srcOrd="0" destOrd="0" presId="urn:microsoft.com/office/officeart/2008/layout/HorizontalMultiLevelHierarchy"/>
    <dgm:cxn modelId="{A0A19357-EB8B-4612-A7DA-0BAC1172C650}" type="presParOf" srcId="{413EDB34-EEB8-4846-8BF9-D4944F61EBD3}" destId="{E91235D0-FC5C-4DA2-AB29-EC075B3DCA81}" srcOrd="1" destOrd="0" presId="urn:microsoft.com/office/officeart/2008/layout/HorizontalMultiLevelHierarchy"/>
    <dgm:cxn modelId="{726D319B-7F9C-410A-923E-E7D70D1E9BE5}" type="presParOf" srcId="{46E2FE2A-A747-4DEE-AAF5-53A8EE84B06B}" destId="{A4E05C94-2209-4BF4-B627-606397BBC1C5}" srcOrd="4" destOrd="0" presId="urn:microsoft.com/office/officeart/2008/layout/HorizontalMultiLevelHierarchy"/>
    <dgm:cxn modelId="{BC8E1C1E-4F81-4EDB-B206-0F9F561D1BE3}" type="presParOf" srcId="{A4E05C94-2209-4BF4-B627-606397BBC1C5}" destId="{6DCFD290-34D5-45FC-84C5-03B4A3AFAD52}" srcOrd="0" destOrd="0" presId="urn:microsoft.com/office/officeart/2008/layout/HorizontalMultiLevelHierarchy"/>
    <dgm:cxn modelId="{C24C0CF1-8773-4C67-935E-616A1C69F1B6}" type="presParOf" srcId="{46E2FE2A-A747-4DEE-AAF5-53A8EE84B06B}" destId="{D6C31984-0B65-416F-A6B1-E0A22FFF6163}" srcOrd="5" destOrd="0" presId="urn:microsoft.com/office/officeart/2008/layout/HorizontalMultiLevelHierarchy"/>
    <dgm:cxn modelId="{BF5C4A11-F9CD-408A-9CA8-15A0D2A36E35}" type="presParOf" srcId="{D6C31984-0B65-416F-A6B1-E0A22FFF6163}" destId="{485D5E8B-1295-4B72-BF14-74B2BE7008EE}" srcOrd="0" destOrd="0" presId="urn:microsoft.com/office/officeart/2008/layout/HorizontalMultiLevelHierarchy"/>
    <dgm:cxn modelId="{F6BDEA0C-9395-46B8-B4A0-F02379190F75}" type="presParOf" srcId="{D6C31984-0B65-416F-A6B1-E0A22FFF6163}" destId="{49EAA066-0495-427D-9425-BE1889EED5E1}" srcOrd="1" destOrd="0" presId="urn:microsoft.com/office/officeart/2008/layout/HorizontalMultiLevelHierarchy"/>
    <dgm:cxn modelId="{D41C7959-272E-4EBA-8328-6A420A7753D6}" type="presParOf" srcId="{46E2FE2A-A747-4DEE-AAF5-53A8EE84B06B}" destId="{460E764F-BDF5-4D22-9B4D-16DC71F64CAC}" srcOrd="6" destOrd="0" presId="urn:microsoft.com/office/officeart/2008/layout/HorizontalMultiLevelHierarchy"/>
    <dgm:cxn modelId="{9E3C5359-D3AF-471A-A4EB-632E9E1FFFED}" type="presParOf" srcId="{460E764F-BDF5-4D22-9B4D-16DC71F64CAC}" destId="{D2085E56-A00C-4E27-A4A7-A2743FEDF1B5}" srcOrd="0" destOrd="0" presId="urn:microsoft.com/office/officeart/2008/layout/HorizontalMultiLevelHierarchy"/>
    <dgm:cxn modelId="{E9C36CB9-A5C3-4B2E-8690-8C27F406F889}" type="presParOf" srcId="{46E2FE2A-A747-4DEE-AAF5-53A8EE84B06B}" destId="{73186733-5E43-4E6A-80AF-948A00AAA9B5}" srcOrd="7" destOrd="0" presId="urn:microsoft.com/office/officeart/2008/layout/HorizontalMultiLevelHierarchy"/>
    <dgm:cxn modelId="{3DE4C77A-92C4-499B-A96E-6812CB8CF9E7}" type="presParOf" srcId="{73186733-5E43-4E6A-80AF-948A00AAA9B5}" destId="{43996E1E-6F52-4F8E-9F4B-77A56824C63C}" srcOrd="0" destOrd="0" presId="urn:microsoft.com/office/officeart/2008/layout/HorizontalMultiLevelHierarchy"/>
    <dgm:cxn modelId="{0F21ABEF-B7AA-44AC-A89A-91EB275FF44F}" type="presParOf" srcId="{73186733-5E43-4E6A-80AF-948A00AAA9B5}" destId="{41502682-1FC1-4B2B-BBB5-9A5540E7D736}" srcOrd="1" destOrd="0" presId="urn:microsoft.com/office/officeart/2008/layout/HorizontalMultiLevelHierarchy"/>
    <dgm:cxn modelId="{D6EB78A0-A34D-4723-9332-CDC12F78869A}" type="presParOf" srcId="{46E2FE2A-A747-4DEE-AAF5-53A8EE84B06B}" destId="{690E36EE-5895-4B91-A347-3380A5FE5255}" srcOrd="8" destOrd="0" presId="urn:microsoft.com/office/officeart/2008/layout/HorizontalMultiLevelHierarchy"/>
    <dgm:cxn modelId="{E55A1800-8DD6-4853-A0D4-E4B94395683D}" type="presParOf" srcId="{690E36EE-5895-4B91-A347-3380A5FE5255}" destId="{ADBE13F2-10FA-4B06-99C7-09C6712A7646}" srcOrd="0" destOrd="0" presId="urn:microsoft.com/office/officeart/2008/layout/HorizontalMultiLevelHierarchy"/>
    <dgm:cxn modelId="{0DEBCA27-CE2E-409D-8652-B03064A5A0BD}" type="presParOf" srcId="{46E2FE2A-A747-4DEE-AAF5-53A8EE84B06B}" destId="{B6754EFB-425D-471A-9BC5-9299A6414551}" srcOrd="9" destOrd="0" presId="urn:microsoft.com/office/officeart/2008/layout/HorizontalMultiLevelHierarchy"/>
    <dgm:cxn modelId="{827B1068-D035-4351-8FA7-E96A12C46B8D}" type="presParOf" srcId="{B6754EFB-425D-471A-9BC5-9299A6414551}" destId="{6E154881-954A-429F-9BBE-E92EEB4B1011}" srcOrd="0" destOrd="0" presId="urn:microsoft.com/office/officeart/2008/layout/HorizontalMultiLevelHierarchy"/>
    <dgm:cxn modelId="{CF5796C7-4017-4D28-84C5-F23B50B601E5}" type="presParOf" srcId="{B6754EFB-425D-471A-9BC5-9299A6414551}" destId="{5D1CB6D5-4D16-456C-80C8-8FB25291517B}" srcOrd="1" destOrd="0" presId="urn:microsoft.com/office/officeart/2008/layout/HorizontalMultiLevelHierarchy"/>
    <dgm:cxn modelId="{8C48EBB2-861E-4B2B-84F8-7FD8866630A9}" type="presParOf" srcId="{7E8A6FC8-F240-4C27-8F75-0549E9D1CE4E}" destId="{CD37291B-5548-4F1B-8F2F-200AE5B0DCAE}" srcOrd="2" destOrd="0" presId="urn:microsoft.com/office/officeart/2008/layout/HorizontalMultiLevelHierarchy"/>
    <dgm:cxn modelId="{1EAA7291-3D7E-4E1D-BFA5-466FBB9231BE}" type="presParOf" srcId="{CD37291B-5548-4F1B-8F2F-200AE5B0DCAE}" destId="{D4121B60-61D6-41A4-AAB9-DE9671C8ED2F}" srcOrd="0" destOrd="0" presId="urn:microsoft.com/office/officeart/2008/layout/HorizontalMultiLevelHierarchy"/>
    <dgm:cxn modelId="{30BF0797-9DFC-4143-9934-65A925553B04}" type="presParOf" srcId="{7E8A6FC8-F240-4C27-8F75-0549E9D1CE4E}" destId="{50975EFF-52F3-48CE-A104-6890DF2CCC15}" srcOrd="3" destOrd="0" presId="urn:microsoft.com/office/officeart/2008/layout/HorizontalMultiLevelHierarchy"/>
    <dgm:cxn modelId="{B1E72420-C269-47B9-8826-4F40BF90D27F}" type="presParOf" srcId="{50975EFF-52F3-48CE-A104-6890DF2CCC15}" destId="{E077FA3E-A654-4D27-8616-5CDDA43F8AF6}" srcOrd="0" destOrd="0" presId="urn:microsoft.com/office/officeart/2008/layout/HorizontalMultiLevelHierarchy"/>
    <dgm:cxn modelId="{2984DC2A-8109-4C03-B00F-93C41BC46DCB}" type="presParOf" srcId="{50975EFF-52F3-48CE-A104-6890DF2CCC15}" destId="{738BD333-0CAC-4970-A8E6-FA82D1202675}" srcOrd="1" destOrd="0" presId="urn:microsoft.com/office/officeart/2008/layout/HorizontalMultiLevelHierarchy"/>
    <dgm:cxn modelId="{701C9470-548A-4BE2-BFE5-EA05C36188CF}" type="presParOf" srcId="{738BD333-0CAC-4970-A8E6-FA82D1202675}" destId="{037062E2-BE96-4A8B-9D2F-1FA0857207C1}" srcOrd="0" destOrd="0" presId="urn:microsoft.com/office/officeart/2008/layout/HorizontalMultiLevelHierarchy"/>
    <dgm:cxn modelId="{A85CA7AE-0B05-415C-879A-E60AE08B5C38}" type="presParOf" srcId="{037062E2-BE96-4A8B-9D2F-1FA0857207C1}" destId="{48D9A2E1-2598-4B00-AD73-86E6047DFB3F}" srcOrd="0" destOrd="0" presId="urn:microsoft.com/office/officeart/2008/layout/HorizontalMultiLevelHierarchy"/>
    <dgm:cxn modelId="{C4A41739-1868-4E6C-8999-7C6171F40DDB}" type="presParOf" srcId="{738BD333-0CAC-4970-A8E6-FA82D1202675}" destId="{B8CF9832-64BD-484C-B421-A0ECF20998B1}" srcOrd="1" destOrd="0" presId="urn:microsoft.com/office/officeart/2008/layout/HorizontalMultiLevelHierarchy"/>
    <dgm:cxn modelId="{48303E24-0767-49ED-9ED9-ABE66A3F8EB4}" type="presParOf" srcId="{B8CF9832-64BD-484C-B421-A0ECF20998B1}" destId="{768C7647-12EF-40E9-94EB-C1868C4AFE59}" srcOrd="0" destOrd="0" presId="urn:microsoft.com/office/officeart/2008/layout/HorizontalMultiLevelHierarchy"/>
    <dgm:cxn modelId="{5A3DA604-9904-4F44-9882-A2E63AE76B38}" type="presParOf" srcId="{B8CF9832-64BD-484C-B421-A0ECF20998B1}" destId="{66E40938-6C34-47FD-B792-4BEC9D41A30A}" srcOrd="1" destOrd="0" presId="urn:microsoft.com/office/officeart/2008/layout/HorizontalMultiLevelHierarchy"/>
    <dgm:cxn modelId="{55446B2F-4034-42F1-8435-46B9BE44613A}" type="presParOf" srcId="{738BD333-0CAC-4970-A8E6-FA82D1202675}" destId="{313DC26C-06DB-4098-B605-33485EFC9B29}" srcOrd="2" destOrd="0" presId="urn:microsoft.com/office/officeart/2008/layout/HorizontalMultiLevelHierarchy"/>
    <dgm:cxn modelId="{4A033A29-C601-4F84-BFD7-622B89FB96DB}" type="presParOf" srcId="{313DC26C-06DB-4098-B605-33485EFC9B29}" destId="{30A455D9-9D31-498C-B006-B59A4D0FAC39}" srcOrd="0" destOrd="0" presId="urn:microsoft.com/office/officeart/2008/layout/HorizontalMultiLevelHierarchy"/>
    <dgm:cxn modelId="{B93B707E-B961-4BA7-B3CF-63ACD0FF66B1}" type="presParOf" srcId="{738BD333-0CAC-4970-A8E6-FA82D1202675}" destId="{EB09E2DB-DC0B-4A48-BC00-788EB4BF2155}" srcOrd="3" destOrd="0" presId="urn:microsoft.com/office/officeart/2008/layout/HorizontalMultiLevelHierarchy"/>
    <dgm:cxn modelId="{6CBDF43C-70BD-4409-9DF9-9CA7F57EB17C}" type="presParOf" srcId="{EB09E2DB-DC0B-4A48-BC00-788EB4BF2155}" destId="{49B6876F-A108-4FF0-9A81-E34DBB9D0BD7}" srcOrd="0" destOrd="0" presId="urn:microsoft.com/office/officeart/2008/layout/HorizontalMultiLevelHierarchy"/>
    <dgm:cxn modelId="{2686E0A6-F092-4AAA-926C-60D6DAFD0249}" type="presParOf" srcId="{EB09E2DB-DC0B-4A48-BC00-788EB4BF2155}" destId="{840A5199-0A8A-47C7-8B9A-920BC241225E}" srcOrd="1" destOrd="0" presId="urn:microsoft.com/office/officeart/2008/layout/HorizontalMultiLevelHierarchy"/>
    <dgm:cxn modelId="{25D58353-0D81-4A8A-94ED-93CDC7E7186B}" type="presParOf" srcId="{7E8A6FC8-F240-4C27-8F75-0549E9D1CE4E}" destId="{C4365B06-B9DB-4064-B93F-1043BD4B58B2}" srcOrd="4" destOrd="0" presId="urn:microsoft.com/office/officeart/2008/layout/HorizontalMultiLevelHierarchy"/>
    <dgm:cxn modelId="{7A9066B8-6414-422E-BFD9-738E8455C555}" type="presParOf" srcId="{C4365B06-B9DB-4064-B93F-1043BD4B58B2}" destId="{0336C92A-933C-4B9A-8AAD-80A8DB51CB00}" srcOrd="0" destOrd="0" presId="urn:microsoft.com/office/officeart/2008/layout/HorizontalMultiLevelHierarchy"/>
    <dgm:cxn modelId="{8B26E937-4058-4513-8A0F-CFE594B0876E}" type="presParOf" srcId="{7E8A6FC8-F240-4C27-8F75-0549E9D1CE4E}" destId="{1FB1112C-2171-4ECC-8EA0-911ADD3964A5}" srcOrd="5" destOrd="0" presId="urn:microsoft.com/office/officeart/2008/layout/HorizontalMultiLevelHierarchy"/>
    <dgm:cxn modelId="{C26F454F-9AD3-4024-89FF-46146E45546E}" type="presParOf" srcId="{1FB1112C-2171-4ECC-8EA0-911ADD3964A5}" destId="{B3E59FB2-885F-4B71-9DC5-B6F45C8017DE}" srcOrd="0" destOrd="0" presId="urn:microsoft.com/office/officeart/2008/layout/HorizontalMultiLevelHierarchy"/>
    <dgm:cxn modelId="{D088637E-3313-42FD-BF6C-2731986EDBD5}" type="presParOf" srcId="{1FB1112C-2171-4ECC-8EA0-911ADD3964A5}" destId="{AF149B8F-23A2-48DF-9DB4-21319099B718}" srcOrd="1" destOrd="0" presId="urn:microsoft.com/office/officeart/2008/layout/HorizontalMultiLevelHierarchy"/>
    <dgm:cxn modelId="{BE9866F0-9F68-43A1-A842-DB93EF04DC1F}" type="presParOf" srcId="{AF149B8F-23A2-48DF-9DB4-21319099B718}" destId="{60A0F5E7-D1D3-49F8-A254-CFFCBE54AAF0}" srcOrd="0" destOrd="0" presId="urn:microsoft.com/office/officeart/2008/layout/HorizontalMultiLevelHierarchy"/>
    <dgm:cxn modelId="{C0E974FA-E049-45C2-93A2-BDBEC3178337}" type="presParOf" srcId="{60A0F5E7-D1D3-49F8-A254-CFFCBE54AAF0}" destId="{3325D373-008A-41E8-9EA1-B4B0FC90FCD2}" srcOrd="0" destOrd="0" presId="urn:microsoft.com/office/officeart/2008/layout/HorizontalMultiLevelHierarchy"/>
    <dgm:cxn modelId="{9EFC154F-E0C3-4C05-B0CB-69653AF0C3B6}" type="presParOf" srcId="{AF149B8F-23A2-48DF-9DB4-21319099B718}" destId="{533688EB-FEF2-4244-B371-7A31A6275F9E}" srcOrd="1" destOrd="0" presId="urn:microsoft.com/office/officeart/2008/layout/HorizontalMultiLevelHierarchy"/>
    <dgm:cxn modelId="{E257AAD2-4B95-4624-89C1-BE814C0D3710}" type="presParOf" srcId="{533688EB-FEF2-4244-B371-7A31A6275F9E}" destId="{9E81B654-57F3-4178-8807-AB7AAC7BE08E}" srcOrd="0" destOrd="0" presId="urn:microsoft.com/office/officeart/2008/layout/HorizontalMultiLevelHierarchy"/>
    <dgm:cxn modelId="{89945E56-01F6-4A3F-9837-20D5AC4310BC}" type="presParOf" srcId="{533688EB-FEF2-4244-B371-7A31A6275F9E}" destId="{9EA1B074-9688-4BF6-BD3E-8C3B349784E8}" srcOrd="1" destOrd="0" presId="urn:microsoft.com/office/officeart/2008/layout/HorizontalMultiLevelHierarchy"/>
    <dgm:cxn modelId="{81CF8646-6190-4B20-9C2D-153F30112CA2}" type="presParOf" srcId="{AF149B8F-23A2-48DF-9DB4-21319099B718}" destId="{1CD57466-73E5-43BB-AF51-980153E8039A}" srcOrd="2" destOrd="0" presId="urn:microsoft.com/office/officeart/2008/layout/HorizontalMultiLevelHierarchy"/>
    <dgm:cxn modelId="{79F3A2F2-77F4-4E34-9449-6B5826AE4D1A}" type="presParOf" srcId="{1CD57466-73E5-43BB-AF51-980153E8039A}" destId="{739E7D1A-06FA-43F4-82B6-C5B799BDD12A}" srcOrd="0" destOrd="0" presId="urn:microsoft.com/office/officeart/2008/layout/HorizontalMultiLevelHierarchy"/>
    <dgm:cxn modelId="{27C613A4-BB0F-4597-B8FD-A17EEF5F9CA1}" type="presParOf" srcId="{AF149B8F-23A2-48DF-9DB4-21319099B718}" destId="{08A18F09-5415-4D9A-A62E-8AA11F9AF3C4}" srcOrd="3" destOrd="0" presId="urn:microsoft.com/office/officeart/2008/layout/HorizontalMultiLevelHierarchy"/>
    <dgm:cxn modelId="{6A9B847B-CAF0-4938-B455-CC25A2C7546A}" type="presParOf" srcId="{08A18F09-5415-4D9A-A62E-8AA11F9AF3C4}" destId="{0CCC40AA-D80B-4B90-9188-E5CA017E63B0}" srcOrd="0" destOrd="0" presId="urn:microsoft.com/office/officeart/2008/layout/HorizontalMultiLevelHierarchy"/>
    <dgm:cxn modelId="{6C3BEF47-B999-4C4E-82B1-8E7A48264A7C}" type="presParOf" srcId="{08A18F09-5415-4D9A-A62E-8AA11F9AF3C4}" destId="{E40DD794-4E3C-4009-B357-94D69536E6F4}" srcOrd="1" destOrd="0" presId="urn:microsoft.com/office/officeart/2008/layout/HorizontalMultiLevelHierarchy"/>
    <dgm:cxn modelId="{9786B997-D56E-4BF4-AC74-4CAA5AB104E8}" type="presParOf" srcId="{AF149B8F-23A2-48DF-9DB4-21319099B718}" destId="{F9C34007-6CA8-4ABF-890A-47AA50B267EA}" srcOrd="4" destOrd="0" presId="urn:microsoft.com/office/officeart/2008/layout/HorizontalMultiLevelHierarchy"/>
    <dgm:cxn modelId="{41C2E213-C4DA-4CDB-B4FB-76B4C3D388D6}" type="presParOf" srcId="{F9C34007-6CA8-4ABF-890A-47AA50B267EA}" destId="{D3331827-B92C-4419-96E8-793E8D653308}" srcOrd="0" destOrd="0" presId="urn:microsoft.com/office/officeart/2008/layout/HorizontalMultiLevelHierarchy"/>
    <dgm:cxn modelId="{1738D637-F2D5-42C9-AD21-243F1342B2AC}" type="presParOf" srcId="{AF149B8F-23A2-48DF-9DB4-21319099B718}" destId="{9FBA0EDF-DFF1-4228-BD6C-29FFD841B413}" srcOrd="5" destOrd="0" presId="urn:microsoft.com/office/officeart/2008/layout/HorizontalMultiLevelHierarchy"/>
    <dgm:cxn modelId="{B0363929-8710-42A8-B169-AB09A28B29CB}" type="presParOf" srcId="{9FBA0EDF-DFF1-4228-BD6C-29FFD841B413}" destId="{E51A201A-58C4-4839-BBF3-03A3D4BA1DE9}" srcOrd="0" destOrd="0" presId="urn:microsoft.com/office/officeart/2008/layout/HorizontalMultiLevelHierarchy"/>
    <dgm:cxn modelId="{ABA51267-B8A0-43BC-B1DC-3B671101344E}" type="presParOf" srcId="{9FBA0EDF-DFF1-4228-BD6C-29FFD841B413}" destId="{E4E1A461-B02B-4354-8D34-5DF04939C4AC}" srcOrd="1" destOrd="0" presId="urn:microsoft.com/office/officeart/2008/layout/HorizontalMultiLevelHierarchy"/>
  </dgm:cxnLst>
  <dgm:bg/>
  <dgm:whole/>
  <dgm:extLst>
    <a:ext uri="http://schemas.microsoft.com/office/drawing/2008/diagram">
      <dsp:dataModelExt xmlns:dsp="http://schemas.microsoft.com/office/drawing/2008/diagram" relId="rId12" minVer="http://schemas.openxmlformats.org/drawingml/2006/diagram"/>
    </a:ext>
  </dgm:extLst>
</dgm:dataModel>
</file>

<file path=ppt/diagrams/data7.xml><?xml version="1.0" encoding="utf-8"?>
<dgm:dataModel xmlns:dgm="http://schemas.openxmlformats.org/drawingml/2006/diagram" xmlns:a="http://schemas.openxmlformats.org/drawingml/2006/main">
  <dgm:ptLst>
    <dgm:pt modelId="{96C9D5F4-FF4F-420D-8420-A926E166D7A2}" type="doc">
      <dgm:prSet loTypeId="urn:microsoft.com/office/officeart/2008/layout/HorizontalMultiLevelHierarchy" loCatId="hierarchy" qsTypeId="urn:microsoft.com/office/officeart/2005/8/quickstyle/simple1" qsCatId="simple" csTypeId="urn:microsoft.com/office/officeart/2005/8/colors/colorful3" csCatId="colorful" phldr="1"/>
      <dgm:spPr/>
      <dgm:t>
        <a:bodyPr/>
        <a:lstStyle/>
        <a:p>
          <a:endParaRPr lang="en-US"/>
        </a:p>
      </dgm:t>
    </dgm:pt>
    <dgm:pt modelId="{D0997319-AE2C-4C46-ADCB-BA43BE3F3F54}">
      <dgm:prSet phldrT="[Text]" custT="1"/>
      <dgm:spPr/>
      <dgm:t>
        <a:bodyPr/>
        <a:lstStyle/>
        <a:p>
          <a:r>
            <a:rPr lang="de-DE" sz="1400" b="0" i="0" dirty="0">
              <a:latin typeface="Myriad Pro" panose="020B0503030403020204" pitchFamily="34" charset="0"/>
            </a:rPr>
            <a:t>Eingabebild </a:t>
          </a:r>
        </a:p>
      </dgm:t>
    </dgm:pt>
    <dgm:pt modelId="{EDD69CBB-FC0D-413C-A203-D32C53DEA1CA}" type="parTrans" cxnId="{9486E231-E761-415A-A46A-B222DD3C9A89}">
      <dgm:prSet/>
      <dgm:spPr/>
      <dgm:t>
        <a:bodyPr/>
        <a:lstStyle/>
        <a:p>
          <a:endParaRPr lang="en-US" sz="1600"/>
        </a:p>
      </dgm:t>
    </dgm:pt>
    <dgm:pt modelId="{E975384C-827E-414A-AEB5-7C3391463B49}" type="sibTrans" cxnId="{9486E231-E761-415A-A46A-B222DD3C9A89}">
      <dgm:prSet/>
      <dgm:spPr/>
      <dgm:t>
        <a:bodyPr/>
        <a:lstStyle/>
        <a:p>
          <a:endParaRPr lang="en-US" sz="1600"/>
        </a:p>
      </dgm:t>
    </dgm:pt>
    <dgm:pt modelId="{8E70AA8F-7583-4AFE-9EDE-87363894E1F8}">
      <dgm:prSet phldrT="[Text]" custT="1"/>
      <dgm:spPr/>
      <dgm:t>
        <a:bodyPr/>
        <a:lstStyle/>
        <a:p>
          <a:r>
            <a:rPr lang="de-DE" sz="1000" b="0" i="0" cap="none" baseline="0" dirty="0" err="1">
              <a:latin typeface="Myriad Pro" panose="020B0503030403020204" pitchFamily="34" charset="0"/>
            </a:rPr>
            <a:t>Supervised</a:t>
          </a:r>
          <a:endParaRPr lang="de-DE" sz="1000" b="0" i="0" cap="none" baseline="0" dirty="0">
            <a:latin typeface="Myriad Pro" panose="020B0503030403020204" pitchFamily="34" charset="0"/>
          </a:endParaRPr>
        </a:p>
      </dgm:t>
    </dgm:pt>
    <dgm:pt modelId="{B164CB56-71EE-412E-A3A2-1509A3B08E05}" type="parTrans" cxnId="{707B8E58-ABA5-4C9A-AFCF-298CB05D08DA}">
      <dgm:prSet/>
      <dgm:spPr/>
      <dgm:t>
        <a:bodyPr/>
        <a:lstStyle/>
        <a:p>
          <a:endParaRPr lang="en-US" sz="1600"/>
        </a:p>
      </dgm:t>
    </dgm:pt>
    <dgm:pt modelId="{50009256-33DA-4FAC-A050-2DE70DDCC26C}" type="sibTrans" cxnId="{707B8E58-ABA5-4C9A-AFCF-298CB05D08DA}">
      <dgm:prSet/>
      <dgm:spPr/>
      <dgm:t>
        <a:bodyPr/>
        <a:lstStyle/>
        <a:p>
          <a:endParaRPr lang="en-US" sz="1600"/>
        </a:p>
      </dgm:t>
    </dgm:pt>
    <dgm:pt modelId="{434F1058-EF12-4590-BD43-496B2D33656A}">
      <dgm:prSet phldrT="[Text]" custT="1"/>
      <dgm:spPr/>
      <dgm:t>
        <a:bodyPr/>
        <a:lstStyle/>
        <a:p>
          <a:r>
            <a:rPr lang="de-DE" sz="1000" b="0" i="0" dirty="0" err="1">
              <a:latin typeface="Myriad Pro" panose="020B0503030403020204" pitchFamily="34" charset="0"/>
            </a:rPr>
            <a:t>Unsupervised</a:t>
          </a:r>
          <a:endParaRPr lang="de-DE" sz="1000" b="0" i="0" dirty="0">
            <a:latin typeface="Myriad Pro" panose="020B0503030403020204" pitchFamily="34" charset="0"/>
          </a:endParaRPr>
        </a:p>
      </dgm:t>
    </dgm:pt>
    <dgm:pt modelId="{17815460-B569-463A-BACE-734F709F874A}" type="parTrans" cxnId="{9E137BA1-2E21-43A2-A338-650B162A3662}">
      <dgm:prSet/>
      <dgm:spPr/>
      <dgm:t>
        <a:bodyPr/>
        <a:lstStyle/>
        <a:p>
          <a:endParaRPr lang="en-US" sz="1600"/>
        </a:p>
      </dgm:t>
    </dgm:pt>
    <dgm:pt modelId="{BC8F1DC2-66B6-4B6F-BD02-84C41DB8AF5C}" type="sibTrans" cxnId="{9E137BA1-2E21-43A2-A338-650B162A3662}">
      <dgm:prSet/>
      <dgm:spPr/>
      <dgm:t>
        <a:bodyPr/>
        <a:lstStyle/>
        <a:p>
          <a:endParaRPr lang="en-US" sz="1600"/>
        </a:p>
      </dgm:t>
    </dgm:pt>
    <dgm:pt modelId="{50C4D88C-9CB0-4513-8456-755395491158}" type="pres">
      <dgm:prSet presAssocID="{96C9D5F4-FF4F-420D-8420-A926E166D7A2}" presName="Name0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</dgm:pt>
    <dgm:pt modelId="{506FBA0B-6598-4404-B87A-56869B8718E3}" type="pres">
      <dgm:prSet presAssocID="{D0997319-AE2C-4C46-ADCB-BA43BE3F3F54}" presName="root1" presStyleCnt="0"/>
      <dgm:spPr/>
    </dgm:pt>
    <dgm:pt modelId="{DCF5B4EF-DE4F-4292-A3B2-724C163A44AB}" type="pres">
      <dgm:prSet presAssocID="{D0997319-AE2C-4C46-ADCB-BA43BE3F3F54}" presName="LevelOneTextNode" presStyleLbl="node0" presStyleIdx="0" presStyleCnt="1">
        <dgm:presLayoutVars>
          <dgm:chPref val="3"/>
        </dgm:presLayoutVars>
      </dgm:prSet>
      <dgm:spPr/>
    </dgm:pt>
    <dgm:pt modelId="{7E8A6FC8-F240-4C27-8F75-0549E9D1CE4E}" type="pres">
      <dgm:prSet presAssocID="{D0997319-AE2C-4C46-ADCB-BA43BE3F3F54}" presName="level2hierChild" presStyleCnt="0"/>
      <dgm:spPr/>
    </dgm:pt>
    <dgm:pt modelId="{BE328E0A-C287-4B1A-BD90-C0F3098FFCD9}" type="pres">
      <dgm:prSet presAssocID="{B164CB56-71EE-412E-A3A2-1509A3B08E05}" presName="conn2-1" presStyleLbl="parChTrans1D2" presStyleIdx="0" presStyleCnt="2"/>
      <dgm:spPr/>
    </dgm:pt>
    <dgm:pt modelId="{1EB559E9-DB95-4028-B960-01A592B99E92}" type="pres">
      <dgm:prSet presAssocID="{B164CB56-71EE-412E-A3A2-1509A3B08E05}" presName="connTx" presStyleLbl="parChTrans1D2" presStyleIdx="0" presStyleCnt="2"/>
      <dgm:spPr/>
    </dgm:pt>
    <dgm:pt modelId="{9893F228-CFAA-415F-97D9-8C8EA9FB1BC5}" type="pres">
      <dgm:prSet presAssocID="{8E70AA8F-7583-4AFE-9EDE-87363894E1F8}" presName="root2" presStyleCnt="0"/>
      <dgm:spPr/>
    </dgm:pt>
    <dgm:pt modelId="{49ADAAAB-354D-4968-9DE9-378E6595E5BB}" type="pres">
      <dgm:prSet presAssocID="{8E70AA8F-7583-4AFE-9EDE-87363894E1F8}" presName="LevelTwoTextNode" presStyleLbl="node2" presStyleIdx="0" presStyleCnt="2" custLinFactY="-46619" custLinFactNeighborX="-825" custLinFactNeighborY="-100000">
        <dgm:presLayoutVars>
          <dgm:chPref val="3"/>
        </dgm:presLayoutVars>
      </dgm:prSet>
      <dgm:spPr/>
    </dgm:pt>
    <dgm:pt modelId="{46E2FE2A-A747-4DEE-AAF5-53A8EE84B06B}" type="pres">
      <dgm:prSet presAssocID="{8E70AA8F-7583-4AFE-9EDE-87363894E1F8}" presName="level3hierChild" presStyleCnt="0"/>
      <dgm:spPr/>
    </dgm:pt>
    <dgm:pt modelId="{CD37291B-5548-4F1B-8F2F-200AE5B0DCAE}" type="pres">
      <dgm:prSet presAssocID="{17815460-B569-463A-BACE-734F709F874A}" presName="conn2-1" presStyleLbl="parChTrans1D2" presStyleIdx="1" presStyleCnt="2"/>
      <dgm:spPr/>
    </dgm:pt>
    <dgm:pt modelId="{D4121B60-61D6-41A4-AAB9-DE9671C8ED2F}" type="pres">
      <dgm:prSet presAssocID="{17815460-B569-463A-BACE-734F709F874A}" presName="connTx" presStyleLbl="parChTrans1D2" presStyleIdx="1" presStyleCnt="2"/>
      <dgm:spPr/>
    </dgm:pt>
    <dgm:pt modelId="{50975EFF-52F3-48CE-A104-6890DF2CCC15}" type="pres">
      <dgm:prSet presAssocID="{434F1058-EF12-4590-BD43-496B2D33656A}" presName="root2" presStyleCnt="0"/>
      <dgm:spPr/>
    </dgm:pt>
    <dgm:pt modelId="{E077FA3E-A654-4D27-8616-5CDDA43F8AF6}" type="pres">
      <dgm:prSet presAssocID="{434F1058-EF12-4590-BD43-496B2D33656A}" presName="LevelTwoTextNode" presStyleLbl="node2" presStyleIdx="1" presStyleCnt="2" custLinFactY="43061" custLinFactNeighborX="-1050" custLinFactNeighborY="100000">
        <dgm:presLayoutVars>
          <dgm:chPref val="3"/>
        </dgm:presLayoutVars>
      </dgm:prSet>
      <dgm:spPr/>
    </dgm:pt>
    <dgm:pt modelId="{738BD333-0CAC-4970-A8E6-FA82D1202675}" type="pres">
      <dgm:prSet presAssocID="{434F1058-EF12-4590-BD43-496B2D33656A}" presName="level3hierChild" presStyleCnt="0"/>
      <dgm:spPr/>
    </dgm:pt>
  </dgm:ptLst>
  <dgm:cxnLst>
    <dgm:cxn modelId="{9486E231-E761-415A-A46A-B222DD3C9A89}" srcId="{96C9D5F4-FF4F-420D-8420-A926E166D7A2}" destId="{D0997319-AE2C-4C46-ADCB-BA43BE3F3F54}" srcOrd="0" destOrd="0" parTransId="{EDD69CBB-FC0D-413C-A203-D32C53DEA1CA}" sibTransId="{E975384C-827E-414A-AEB5-7C3391463B49}"/>
    <dgm:cxn modelId="{AA3E744F-10BA-4479-AF01-972C59BF3BCF}" type="presOf" srcId="{B164CB56-71EE-412E-A3A2-1509A3B08E05}" destId="{BE328E0A-C287-4B1A-BD90-C0F3098FFCD9}" srcOrd="0" destOrd="0" presId="urn:microsoft.com/office/officeart/2008/layout/HorizontalMultiLevelHierarchy"/>
    <dgm:cxn modelId="{464F8353-3A6D-43D6-B358-7ECC4F51C0BF}" type="presOf" srcId="{D0997319-AE2C-4C46-ADCB-BA43BE3F3F54}" destId="{DCF5B4EF-DE4F-4292-A3B2-724C163A44AB}" srcOrd="0" destOrd="0" presId="urn:microsoft.com/office/officeart/2008/layout/HorizontalMultiLevelHierarchy"/>
    <dgm:cxn modelId="{707B8E58-ABA5-4C9A-AFCF-298CB05D08DA}" srcId="{D0997319-AE2C-4C46-ADCB-BA43BE3F3F54}" destId="{8E70AA8F-7583-4AFE-9EDE-87363894E1F8}" srcOrd="0" destOrd="0" parTransId="{B164CB56-71EE-412E-A3A2-1509A3B08E05}" sibTransId="{50009256-33DA-4FAC-A050-2DE70DDCC26C}"/>
    <dgm:cxn modelId="{218D7769-246E-4C78-8637-1FABBE9AA235}" type="presOf" srcId="{B164CB56-71EE-412E-A3A2-1509A3B08E05}" destId="{1EB559E9-DB95-4028-B960-01A592B99E92}" srcOrd="1" destOrd="0" presId="urn:microsoft.com/office/officeart/2008/layout/HorizontalMultiLevelHierarchy"/>
    <dgm:cxn modelId="{82D60E8A-40D3-49BC-895D-3DAB17D8AD62}" type="presOf" srcId="{96C9D5F4-FF4F-420D-8420-A926E166D7A2}" destId="{50C4D88C-9CB0-4513-8456-755395491158}" srcOrd="0" destOrd="0" presId="urn:microsoft.com/office/officeart/2008/layout/HorizontalMultiLevelHierarchy"/>
    <dgm:cxn modelId="{E07BE79E-7865-47DB-84AF-7F7057F85761}" type="presOf" srcId="{8E70AA8F-7583-4AFE-9EDE-87363894E1F8}" destId="{49ADAAAB-354D-4968-9DE9-378E6595E5BB}" srcOrd="0" destOrd="0" presId="urn:microsoft.com/office/officeart/2008/layout/HorizontalMultiLevelHierarchy"/>
    <dgm:cxn modelId="{9E137BA1-2E21-43A2-A338-650B162A3662}" srcId="{D0997319-AE2C-4C46-ADCB-BA43BE3F3F54}" destId="{434F1058-EF12-4590-BD43-496B2D33656A}" srcOrd="1" destOrd="0" parTransId="{17815460-B569-463A-BACE-734F709F874A}" sibTransId="{BC8F1DC2-66B6-4B6F-BD02-84C41DB8AF5C}"/>
    <dgm:cxn modelId="{99E7BEA2-9C9E-4C52-ABF3-613AE796E93C}" type="presOf" srcId="{17815460-B569-463A-BACE-734F709F874A}" destId="{D4121B60-61D6-41A4-AAB9-DE9671C8ED2F}" srcOrd="1" destOrd="0" presId="urn:microsoft.com/office/officeart/2008/layout/HorizontalMultiLevelHierarchy"/>
    <dgm:cxn modelId="{BAACB6A7-B0F8-46C4-B719-34EE449D4921}" type="presOf" srcId="{434F1058-EF12-4590-BD43-496B2D33656A}" destId="{E077FA3E-A654-4D27-8616-5CDDA43F8AF6}" srcOrd="0" destOrd="0" presId="urn:microsoft.com/office/officeart/2008/layout/HorizontalMultiLevelHierarchy"/>
    <dgm:cxn modelId="{54CC19B8-2159-4474-B71E-58B32A9BAD74}" type="presOf" srcId="{17815460-B569-463A-BACE-734F709F874A}" destId="{CD37291B-5548-4F1B-8F2F-200AE5B0DCAE}" srcOrd="0" destOrd="0" presId="urn:microsoft.com/office/officeart/2008/layout/HorizontalMultiLevelHierarchy"/>
    <dgm:cxn modelId="{3E8C5480-73D9-4EE3-932D-82721BB1E7B2}" type="presParOf" srcId="{50C4D88C-9CB0-4513-8456-755395491158}" destId="{506FBA0B-6598-4404-B87A-56869B8718E3}" srcOrd="0" destOrd="0" presId="urn:microsoft.com/office/officeart/2008/layout/HorizontalMultiLevelHierarchy"/>
    <dgm:cxn modelId="{AD087DA0-5EB4-49EE-82D3-F6C47200DD79}" type="presParOf" srcId="{506FBA0B-6598-4404-B87A-56869B8718E3}" destId="{DCF5B4EF-DE4F-4292-A3B2-724C163A44AB}" srcOrd="0" destOrd="0" presId="urn:microsoft.com/office/officeart/2008/layout/HorizontalMultiLevelHierarchy"/>
    <dgm:cxn modelId="{AD864577-5B7E-4328-AC26-287C80C6BEA3}" type="presParOf" srcId="{506FBA0B-6598-4404-B87A-56869B8718E3}" destId="{7E8A6FC8-F240-4C27-8F75-0549E9D1CE4E}" srcOrd="1" destOrd="0" presId="urn:microsoft.com/office/officeart/2008/layout/HorizontalMultiLevelHierarchy"/>
    <dgm:cxn modelId="{0D5824EC-96D2-4284-930C-3DC3234577D3}" type="presParOf" srcId="{7E8A6FC8-F240-4C27-8F75-0549E9D1CE4E}" destId="{BE328E0A-C287-4B1A-BD90-C0F3098FFCD9}" srcOrd="0" destOrd="0" presId="urn:microsoft.com/office/officeart/2008/layout/HorizontalMultiLevelHierarchy"/>
    <dgm:cxn modelId="{FF3EDB3F-3E5D-484F-B7EB-2D9D119CC084}" type="presParOf" srcId="{BE328E0A-C287-4B1A-BD90-C0F3098FFCD9}" destId="{1EB559E9-DB95-4028-B960-01A592B99E92}" srcOrd="0" destOrd="0" presId="urn:microsoft.com/office/officeart/2008/layout/HorizontalMultiLevelHierarchy"/>
    <dgm:cxn modelId="{6E796F25-24CC-4F5D-8AB9-96C968A94D86}" type="presParOf" srcId="{7E8A6FC8-F240-4C27-8F75-0549E9D1CE4E}" destId="{9893F228-CFAA-415F-97D9-8C8EA9FB1BC5}" srcOrd="1" destOrd="0" presId="urn:microsoft.com/office/officeart/2008/layout/HorizontalMultiLevelHierarchy"/>
    <dgm:cxn modelId="{F5FE272E-5A1A-4232-A41E-5E8F96E754E7}" type="presParOf" srcId="{9893F228-CFAA-415F-97D9-8C8EA9FB1BC5}" destId="{49ADAAAB-354D-4968-9DE9-378E6595E5BB}" srcOrd="0" destOrd="0" presId="urn:microsoft.com/office/officeart/2008/layout/HorizontalMultiLevelHierarchy"/>
    <dgm:cxn modelId="{480D07D8-1F1B-4569-80CC-321A6295D639}" type="presParOf" srcId="{9893F228-CFAA-415F-97D9-8C8EA9FB1BC5}" destId="{46E2FE2A-A747-4DEE-AAF5-53A8EE84B06B}" srcOrd="1" destOrd="0" presId="urn:microsoft.com/office/officeart/2008/layout/HorizontalMultiLevelHierarchy"/>
    <dgm:cxn modelId="{5C580CC4-3C81-446F-9295-70B119E1F4D6}" type="presParOf" srcId="{7E8A6FC8-F240-4C27-8F75-0549E9D1CE4E}" destId="{CD37291B-5548-4F1B-8F2F-200AE5B0DCAE}" srcOrd="2" destOrd="0" presId="urn:microsoft.com/office/officeart/2008/layout/HorizontalMultiLevelHierarchy"/>
    <dgm:cxn modelId="{3FF4D288-216B-4CA1-A646-865AA9CAB482}" type="presParOf" srcId="{CD37291B-5548-4F1B-8F2F-200AE5B0DCAE}" destId="{D4121B60-61D6-41A4-AAB9-DE9671C8ED2F}" srcOrd="0" destOrd="0" presId="urn:microsoft.com/office/officeart/2008/layout/HorizontalMultiLevelHierarchy"/>
    <dgm:cxn modelId="{D011A705-277B-4D74-85CE-4360C9A9B047}" type="presParOf" srcId="{7E8A6FC8-F240-4C27-8F75-0549E9D1CE4E}" destId="{50975EFF-52F3-48CE-A104-6890DF2CCC15}" srcOrd="3" destOrd="0" presId="urn:microsoft.com/office/officeart/2008/layout/HorizontalMultiLevelHierarchy"/>
    <dgm:cxn modelId="{2465617A-D0D5-439C-AECA-3D0DD03F2CB2}" type="presParOf" srcId="{50975EFF-52F3-48CE-A104-6890DF2CCC15}" destId="{E077FA3E-A654-4D27-8616-5CDDA43F8AF6}" srcOrd="0" destOrd="0" presId="urn:microsoft.com/office/officeart/2008/layout/HorizontalMultiLevelHierarchy"/>
    <dgm:cxn modelId="{13FC7BEC-0977-47F7-8C84-FE5819A8C215}" type="presParOf" srcId="{50975EFF-52F3-48CE-A104-6890DF2CCC15}" destId="{738BD333-0CAC-4970-A8E6-FA82D1202675}" srcOrd="1" destOrd="0" presId="urn:microsoft.com/office/officeart/2008/layout/HorizontalMultiLevelHierarchy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8.xml><?xml version="1.0" encoding="utf-8"?>
<dgm:dataModel xmlns:dgm="http://schemas.openxmlformats.org/drawingml/2006/diagram" xmlns:a="http://schemas.openxmlformats.org/drawingml/2006/main">
  <dgm:ptLst>
    <dgm:pt modelId="{96C9D5F4-FF4F-420D-8420-A926E166D7A2}" type="doc">
      <dgm:prSet loTypeId="urn:microsoft.com/office/officeart/2008/layout/HorizontalMultiLevelHierarchy" loCatId="hierarchy" qsTypeId="urn:microsoft.com/office/officeart/2005/8/quickstyle/simple1" qsCatId="simple" csTypeId="urn:microsoft.com/office/officeart/2005/8/colors/colorful3" csCatId="colorful" phldr="1"/>
      <dgm:spPr/>
      <dgm:t>
        <a:bodyPr/>
        <a:lstStyle/>
        <a:p>
          <a:endParaRPr lang="en-US"/>
        </a:p>
      </dgm:t>
    </dgm:pt>
    <dgm:pt modelId="{D0997319-AE2C-4C46-ADCB-BA43BE3F3F54}">
      <dgm:prSet phldrT="[Text]" custT="1"/>
      <dgm:spPr/>
      <dgm:t>
        <a:bodyPr/>
        <a:lstStyle/>
        <a:p>
          <a:r>
            <a:rPr lang="de-DE" sz="1400" b="0" i="0" dirty="0">
              <a:latin typeface="Myriad Pro" panose="020B0503030403020204" pitchFamily="34" charset="0"/>
            </a:rPr>
            <a:t>Eingabebild </a:t>
          </a:r>
        </a:p>
      </dgm:t>
    </dgm:pt>
    <dgm:pt modelId="{EDD69CBB-FC0D-413C-A203-D32C53DEA1CA}" type="parTrans" cxnId="{9486E231-E761-415A-A46A-B222DD3C9A89}">
      <dgm:prSet/>
      <dgm:spPr/>
      <dgm:t>
        <a:bodyPr/>
        <a:lstStyle/>
        <a:p>
          <a:endParaRPr lang="en-US" sz="1600"/>
        </a:p>
      </dgm:t>
    </dgm:pt>
    <dgm:pt modelId="{E975384C-827E-414A-AEB5-7C3391463B49}" type="sibTrans" cxnId="{9486E231-E761-415A-A46A-B222DD3C9A89}">
      <dgm:prSet/>
      <dgm:spPr/>
      <dgm:t>
        <a:bodyPr/>
        <a:lstStyle/>
        <a:p>
          <a:endParaRPr lang="en-US" sz="1600"/>
        </a:p>
      </dgm:t>
    </dgm:pt>
    <dgm:pt modelId="{8E70AA8F-7583-4AFE-9EDE-87363894E1F8}">
      <dgm:prSet phldrT="[Text]" custT="1"/>
      <dgm:spPr/>
      <dgm:t>
        <a:bodyPr/>
        <a:lstStyle/>
        <a:p>
          <a:r>
            <a:rPr lang="de-DE" sz="1000" b="1" i="0" cap="none" baseline="0" dirty="0">
              <a:latin typeface="Myriad Pro" panose="020B0503030403020204" pitchFamily="34" charset="0"/>
            </a:rPr>
            <a:t>Einzel Netzwerk</a:t>
          </a:r>
          <a:endParaRPr lang="de-DE" sz="1000" b="0" i="0" cap="none" baseline="0" dirty="0">
            <a:latin typeface="Myriad Pro" panose="020B0503030403020204" pitchFamily="34" charset="0"/>
          </a:endParaRPr>
        </a:p>
      </dgm:t>
    </dgm:pt>
    <dgm:pt modelId="{B164CB56-71EE-412E-A3A2-1509A3B08E05}" type="parTrans" cxnId="{707B8E58-ABA5-4C9A-AFCF-298CB05D08DA}">
      <dgm:prSet/>
      <dgm:spPr/>
      <dgm:t>
        <a:bodyPr/>
        <a:lstStyle/>
        <a:p>
          <a:endParaRPr lang="en-US" sz="1600"/>
        </a:p>
      </dgm:t>
    </dgm:pt>
    <dgm:pt modelId="{50009256-33DA-4FAC-A050-2DE70DDCC26C}" type="sibTrans" cxnId="{707B8E58-ABA5-4C9A-AFCF-298CB05D08DA}">
      <dgm:prSet/>
      <dgm:spPr/>
      <dgm:t>
        <a:bodyPr/>
        <a:lstStyle/>
        <a:p>
          <a:endParaRPr lang="en-US" sz="1600"/>
        </a:p>
      </dgm:t>
    </dgm:pt>
    <dgm:pt modelId="{434F1058-EF12-4590-BD43-496B2D33656A}">
      <dgm:prSet phldrT="[Text]" custT="1"/>
      <dgm:spPr/>
      <dgm:t>
        <a:bodyPr/>
        <a:lstStyle/>
        <a:p>
          <a:r>
            <a:rPr lang="de-DE" sz="1000" b="1" i="0" cap="none" baseline="0" dirty="0">
              <a:latin typeface="Myriad Pro" panose="020B0503030403020204" pitchFamily="34" charset="0"/>
            </a:rPr>
            <a:t>Multi-Netzwerk </a:t>
          </a:r>
          <a:endParaRPr lang="de-DE" sz="1000" b="0" i="0" dirty="0">
            <a:latin typeface="Myriad Pro" panose="020B0503030403020204" pitchFamily="34" charset="0"/>
          </a:endParaRPr>
        </a:p>
      </dgm:t>
    </dgm:pt>
    <dgm:pt modelId="{17815460-B569-463A-BACE-734F709F874A}" type="parTrans" cxnId="{9E137BA1-2E21-43A2-A338-650B162A3662}">
      <dgm:prSet/>
      <dgm:spPr/>
      <dgm:t>
        <a:bodyPr/>
        <a:lstStyle/>
        <a:p>
          <a:endParaRPr lang="en-US" sz="1600"/>
        </a:p>
      </dgm:t>
    </dgm:pt>
    <dgm:pt modelId="{BC8F1DC2-66B6-4B6F-BD02-84C41DB8AF5C}" type="sibTrans" cxnId="{9E137BA1-2E21-43A2-A338-650B162A3662}">
      <dgm:prSet/>
      <dgm:spPr/>
      <dgm:t>
        <a:bodyPr/>
        <a:lstStyle/>
        <a:p>
          <a:endParaRPr lang="en-US" sz="1600"/>
        </a:p>
      </dgm:t>
    </dgm:pt>
    <dgm:pt modelId="{4098A15D-6BE4-4258-B7C8-EC2A1354A4D6}">
      <dgm:prSet phldrT="[Text]" custT="1"/>
      <dgm:spPr/>
      <dgm:t>
        <a:bodyPr/>
        <a:lstStyle/>
        <a:p>
          <a:r>
            <a:rPr lang="de-DE" sz="1000" b="0" i="0" dirty="0">
              <a:latin typeface="Myriad Pro" panose="020B0503030403020204" pitchFamily="34" charset="0"/>
            </a:rPr>
            <a:t>U-Net</a:t>
          </a:r>
        </a:p>
      </dgm:t>
    </dgm:pt>
    <dgm:pt modelId="{DA62F256-25CF-4854-BFCD-F90F70E5F8D4}" type="parTrans" cxnId="{21D8E081-3F51-4864-8D5D-F1BA8CEC852F}">
      <dgm:prSet/>
      <dgm:spPr/>
      <dgm:t>
        <a:bodyPr/>
        <a:lstStyle/>
        <a:p>
          <a:endParaRPr lang="en-US" sz="1600"/>
        </a:p>
      </dgm:t>
    </dgm:pt>
    <dgm:pt modelId="{E1090322-3287-4D3C-A158-E43939F1FA7E}" type="sibTrans" cxnId="{21D8E081-3F51-4864-8D5D-F1BA8CEC852F}">
      <dgm:prSet/>
      <dgm:spPr/>
      <dgm:t>
        <a:bodyPr/>
        <a:lstStyle/>
        <a:p>
          <a:endParaRPr lang="en-US" sz="1600"/>
        </a:p>
      </dgm:t>
    </dgm:pt>
    <dgm:pt modelId="{C1D130BE-4BC5-481C-BADA-14A869727C0B}">
      <dgm:prSet phldrT="[Text]" custT="1"/>
      <dgm:spPr/>
      <dgm:t>
        <a:bodyPr/>
        <a:lstStyle/>
        <a:p>
          <a:r>
            <a:rPr lang="de-DE" sz="1000" b="1" i="0" cap="none" baseline="0" dirty="0">
              <a:latin typeface="Myriad Pro" panose="020B0503030403020204" pitchFamily="34" charset="0"/>
            </a:rPr>
            <a:t>Ensembles </a:t>
          </a:r>
          <a:endParaRPr lang="de-DE" sz="1000" b="0" i="0" cap="none" baseline="0" dirty="0">
            <a:latin typeface="Myriad Pro" panose="020B0503030403020204" pitchFamily="34" charset="0"/>
          </a:endParaRPr>
        </a:p>
      </dgm:t>
    </dgm:pt>
    <dgm:pt modelId="{8A26916C-03BF-4B0E-92AF-656A56CF8513}" type="parTrans" cxnId="{221AD8BF-6539-43E4-9EB1-23AF138D0EE2}">
      <dgm:prSet/>
      <dgm:spPr/>
      <dgm:t>
        <a:bodyPr/>
        <a:lstStyle/>
        <a:p>
          <a:endParaRPr lang="en-US" sz="1600"/>
        </a:p>
      </dgm:t>
    </dgm:pt>
    <dgm:pt modelId="{4F4BE6FE-AE34-4934-8B0D-8FDF04C5765F}" type="sibTrans" cxnId="{221AD8BF-6539-43E4-9EB1-23AF138D0EE2}">
      <dgm:prSet/>
      <dgm:spPr/>
      <dgm:t>
        <a:bodyPr/>
        <a:lstStyle/>
        <a:p>
          <a:endParaRPr lang="en-US" sz="1600"/>
        </a:p>
      </dgm:t>
    </dgm:pt>
    <dgm:pt modelId="{CD6C8CAB-2DB8-4BEB-8794-D14E24B56239}">
      <dgm:prSet phldrT="[Text]" custT="1"/>
      <dgm:spPr/>
      <dgm:t>
        <a:bodyPr/>
        <a:lstStyle/>
        <a:p>
          <a:r>
            <a:rPr lang="de-DE" sz="1000" b="0" i="0" dirty="0">
              <a:latin typeface="Myriad Pro" panose="020B0503030403020204" pitchFamily="34" charset="0"/>
            </a:rPr>
            <a:t>Homogen</a:t>
          </a:r>
        </a:p>
      </dgm:t>
    </dgm:pt>
    <dgm:pt modelId="{503510FB-9E52-432E-98AC-FEF28CA55F0D}" type="parTrans" cxnId="{08C6FF6E-ED40-443D-B75C-6827A78AAE2F}">
      <dgm:prSet/>
      <dgm:spPr/>
      <dgm:t>
        <a:bodyPr/>
        <a:lstStyle/>
        <a:p>
          <a:endParaRPr lang="en-US" sz="1600"/>
        </a:p>
      </dgm:t>
    </dgm:pt>
    <dgm:pt modelId="{F6688289-1E3B-4C81-B097-4BC4F02DEEB1}" type="sibTrans" cxnId="{08C6FF6E-ED40-443D-B75C-6827A78AAE2F}">
      <dgm:prSet/>
      <dgm:spPr/>
      <dgm:t>
        <a:bodyPr/>
        <a:lstStyle/>
        <a:p>
          <a:endParaRPr lang="en-US" sz="1600"/>
        </a:p>
      </dgm:t>
    </dgm:pt>
    <dgm:pt modelId="{16945C89-930D-4764-8730-4F183F8B4C87}">
      <dgm:prSet phldrT="[Text]" custT="1"/>
      <dgm:spPr/>
      <dgm:t>
        <a:bodyPr/>
        <a:lstStyle/>
        <a:p>
          <a:r>
            <a:rPr lang="de-DE" sz="1000" b="0" i="0" dirty="0">
              <a:latin typeface="Myriad Pro" panose="020B0503030403020204" pitchFamily="34" charset="0"/>
            </a:rPr>
            <a:t>Heterogen</a:t>
          </a:r>
        </a:p>
      </dgm:t>
    </dgm:pt>
    <dgm:pt modelId="{B3C6A11E-10F5-433C-A0FB-1B185A7D12E0}" type="parTrans" cxnId="{587DEAC9-60C3-45DB-9C9F-C26256D35C0F}">
      <dgm:prSet/>
      <dgm:spPr/>
      <dgm:t>
        <a:bodyPr/>
        <a:lstStyle/>
        <a:p>
          <a:endParaRPr lang="en-US" sz="1600"/>
        </a:p>
      </dgm:t>
    </dgm:pt>
    <dgm:pt modelId="{5C8BCF49-4277-47C2-9543-A10467E88E20}" type="sibTrans" cxnId="{587DEAC9-60C3-45DB-9C9F-C26256D35C0F}">
      <dgm:prSet/>
      <dgm:spPr/>
      <dgm:t>
        <a:bodyPr/>
        <a:lstStyle/>
        <a:p>
          <a:endParaRPr lang="en-US" sz="1600"/>
        </a:p>
      </dgm:t>
    </dgm:pt>
    <dgm:pt modelId="{CF5B8EE4-D285-4E9D-BBB6-5F2F77DD4689}">
      <dgm:prSet phldrT="[Text]" custT="1"/>
      <dgm:spPr/>
      <dgm:t>
        <a:bodyPr/>
        <a:lstStyle/>
        <a:p>
          <a:r>
            <a:rPr lang="de-DE" sz="1000" b="0" i="0" dirty="0">
              <a:latin typeface="Myriad Pro" panose="020B0503030403020204" pitchFamily="34" charset="0"/>
            </a:rPr>
            <a:t>YOLO</a:t>
          </a:r>
        </a:p>
      </dgm:t>
    </dgm:pt>
    <dgm:pt modelId="{D937D902-C50B-4BEC-9C1F-D9880BCC701B}" type="parTrans" cxnId="{2ED6F702-CE72-434F-A1BB-6BCE9E2DA2BA}">
      <dgm:prSet/>
      <dgm:spPr/>
      <dgm:t>
        <a:bodyPr/>
        <a:lstStyle/>
        <a:p>
          <a:endParaRPr lang="en-US" sz="1600"/>
        </a:p>
      </dgm:t>
    </dgm:pt>
    <dgm:pt modelId="{CADCD7D6-E889-4A66-B79B-3ACEEF43F075}" type="sibTrans" cxnId="{2ED6F702-CE72-434F-A1BB-6BCE9E2DA2BA}">
      <dgm:prSet/>
      <dgm:spPr/>
      <dgm:t>
        <a:bodyPr/>
        <a:lstStyle/>
        <a:p>
          <a:endParaRPr lang="en-US" sz="1600"/>
        </a:p>
      </dgm:t>
    </dgm:pt>
    <dgm:pt modelId="{CA25E3C2-D53A-4DAC-A356-274163CFD791}">
      <dgm:prSet phldrT="[Text]" custT="1"/>
      <dgm:spPr/>
      <dgm:t>
        <a:bodyPr/>
        <a:lstStyle/>
        <a:p>
          <a:r>
            <a:rPr lang="de-DE" sz="1000" b="0" i="0" dirty="0" err="1">
              <a:latin typeface="Myriad Pro" panose="020B0503030403020204" pitchFamily="34" charset="0"/>
            </a:rPr>
            <a:t>Expizit</a:t>
          </a:r>
          <a:r>
            <a:rPr lang="de-DE" sz="1000" b="0" i="0" dirty="0">
              <a:latin typeface="Myriad Pro" panose="020B0503030403020204" pitchFamily="34" charset="0"/>
            </a:rPr>
            <a:t> </a:t>
          </a:r>
        </a:p>
      </dgm:t>
    </dgm:pt>
    <dgm:pt modelId="{858DE0EA-690E-49F0-9AFD-401C85E7FBB4}" type="parTrans" cxnId="{5B99DD31-B3E6-465C-A8DB-0DF740AA5D7A}">
      <dgm:prSet/>
      <dgm:spPr/>
      <dgm:t>
        <a:bodyPr/>
        <a:lstStyle/>
        <a:p>
          <a:endParaRPr lang="de-DE"/>
        </a:p>
      </dgm:t>
    </dgm:pt>
    <dgm:pt modelId="{2D56470D-3197-4A03-90FE-5A65A52F7EFB}" type="sibTrans" cxnId="{5B99DD31-B3E6-465C-A8DB-0DF740AA5D7A}">
      <dgm:prSet/>
      <dgm:spPr/>
      <dgm:t>
        <a:bodyPr/>
        <a:lstStyle/>
        <a:p>
          <a:endParaRPr lang="de-DE"/>
        </a:p>
      </dgm:t>
    </dgm:pt>
    <dgm:pt modelId="{2FAED816-5ABD-44B8-9175-AD4921C3FE98}">
      <dgm:prSet phldrT="[Text]" custT="1"/>
      <dgm:spPr/>
      <dgm:t>
        <a:bodyPr/>
        <a:lstStyle/>
        <a:p>
          <a:r>
            <a:rPr lang="de-DE" sz="1000" b="0" i="0" dirty="0" err="1">
              <a:latin typeface="Myriad Pro" panose="020B0503030403020204" pitchFamily="34" charset="0"/>
            </a:rPr>
            <a:t>Augmentierung</a:t>
          </a:r>
          <a:endParaRPr lang="de-DE" sz="1000" b="0" i="0" dirty="0">
            <a:latin typeface="Myriad Pro" panose="020B0503030403020204" pitchFamily="34" charset="0"/>
          </a:endParaRPr>
        </a:p>
      </dgm:t>
    </dgm:pt>
    <dgm:pt modelId="{4827AEAC-F6B1-4792-BB11-A609080D91CA}" type="sibTrans" cxnId="{4BDF838B-A489-4DE6-9003-7CF5CCBF8353}">
      <dgm:prSet/>
      <dgm:spPr/>
      <dgm:t>
        <a:bodyPr/>
        <a:lstStyle/>
        <a:p>
          <a:endParaRPr lang="de-DE"/>
        </a:p>
      </dgm:t>
    </dgm:pt>
    <dgm:pt modelId="{2C61C4AB-FC34-4364-9323-4A9D6350BA1C}" type="parTrans" cxnId="{4BDF838B-A489-4DE6-9003-7CF5CCBF8353}">
      <dgm:prSet/>
      <dgm:spPr/>
      <dgm:t>
        <a:bodyPr/>
        <a:lstStyle/>
        <a:p>
          <a:endParaRPr lang="de-DE"/>
        </a:p>
      </dgm:t>
    </dgm:pt>
    <dgm:pt modelId="{86A07196-5E8B-49B8-84A4-6DF135FCBFFC}">
      <dgm:prSet phldrT="[Text]" custT="1"/>
      <dgm:spPr/>
      <dgm:t>
        <a:bodyPr/>
        <a:lstStyle/>
        <a:p>
          <a:r>
            <a:rPr lang="de-DE" sz="1000" b="0" i="0" dirty="0">
              <a:latin typeface="Myriad Pro" panose="020B0503030403020204" pitchFamily="34" charset="0"/>
            </a:rPr>
            <a:t>Loss-Funktion </a:t>
          </a:r>
        </a:p>
      </dgm:t>
    </dgm:pt>
    <dgm:pt modelId="{4B4DC438-D558-40CF-9151-49154A83FB16}" type="sibTrans" cxnId="{0BE45343-E5ED-46E6-9E17-DA36296E3029}">
      <dgm:prSet/>
      <dgm:spPr/>
      <dgm:t>
        <a:bodyPr/>
        <a:lstStyle/>
        <a:p>
          <a:endParaRPr lang="de-DE"/>
        </a:p>
      </dgm:t>
    </dgm:pt>
    <dgm:pt modelId="{D0F076D3-591F-4547-A436-4947EC5EA385}" type="parTrans" cxnId="{0BE45343-E5ED-46E6-9E17-DA36296E3029}">
      <dgm:prSet/>
      <dgm:spPr/>
      <dgm:t>
        <a:bodyPr/>
        <a:lstStyle/>
        <a:p>
          <a:endParaRPr lang="de-DE"/>
        </a:p>
      </dgm:t>
    </dgm:pt>
    <dgm:pt modelId="{BF1B7062-91AB-4F1D-BD08-8D3EC4B33C1F}">
      <dgm:prSet phldrT="[Text]" custT="1"/>
      <dgm:spPr/>
      <dgm:t>
        <a:bodyPr/>
        <a:lstStyle/>
        <a:p>
          <a:r>
            <a:rPr lang="de-DE" sz="1000" b="0" i="0" dirty="0">
              <a:latin typeface="Myriad Pro" panose="020B0503030403020204" pitchFamily="34" charset="0"/>
            </a:rPr>
            <a:t>Architektur</a:t>
          </a:r>
        </a:p>
      </dgm:t>
    </dgm:pt>
    <dgm:pt modelId="{8ACEFE3D-DAAE-46D2-BF29-AF7B5FBB783D}" type="parTrans" cxnId="{626342BF-3559-4137-A851-ACB1710B13E3}">
      <dgm:prSet/>
      <dgm:spPr/>
      <dgm:t>
        <a:bodyPr/>
        <a:lstStyle/>
        <a:p>
          <a:endParaRPr lang="de-DE"/>
        </a:p>
      </dgm:t>
    </dgm:pt>
    <dgm:pt modelId="{0FF6A2D2-189B-4085-A91C-E4641E47ACCE}" type="sibTrans" cxnId="{626342BF-3559-4137-A851-ACB1710B13E3}">
      <dgm:prSet/>
      <dgm:spPr/>
      <dgm:t>
        <a:bodyPr/>
        <a:lstStyle/>
        <a:p>
          <a:endParaRPr lang="de-DE"/>
        </a:p>
      </dgm:t>
    </dgm:pt>
    <dgm:pt modelId="{4D897679-FA7C-48A2-A57F-5D0431886FF7}">
      <dgm:prSet phldrT="[Text]" custT="1"/>
      <dgm:spPr/>
      <dgm:t>
        <a:bodyPr/>
        <a:lstStyle/>
        <a:p>
          <a:r>
            <a:rPr lang="de-DE" sz="800" b="0" i="0" dirty="0">
              <a:latin typeface="Myriad Pro" panose="020B0503030403020204" pitchFamily="34" charset="0"/>
            </a:rPr>
            <a:t>U-Net</a:t>
          </a:r>
        </a:p>
      </dgm:t>
    </dgm:pt>
    <dgm:pt modelId="{C7C06085-9DF0-469C-90B3-434C5E418A6D}" type="parTrans" cxnId="{A3A0BCFB-D8D9-4632-B5AB-CF4EFA2E3C41}">
      <dgm:prSet/>
      <dgm:spPr/>
      <dgm:t>
        <a:bodyPr/>
        <a:lstStyle/>
        <a:p>
          <a:endParaRPr lang="de-DE"/>
        </a:p>
      </dgm:t>
    </dgm:pt>
    <dgm:pt modelId="{D55B2488-3E22-41F8-99B8-F1276460587D}" type="sibTrans" cxnId="{A3A0BCFB-D8D9-4632-B5AB-CF4EFA2E3C41}">
      <dgm:prSet/>
      <dgm:spPr/>
      <dgm:t>
        <a:bodyPr/>
        <a:lstStyle/>
        <a:p>
          <a:endParaRPr lang="de-DE"/>
        </a:p>
      </dgm:t>
    </dgm:pt>
    <dgm:pt modelId="{48CAF46E-7318-4269-B88D-4072C010818D}">
      <dgm:prSet phldrT="[Text]" custT="1"/>
      <dgm:spPr/>
      <dgm:t>
        <a:bodyPr/>
        <a:lstStyle/>
        <a:p>
          <a:r>
            <a:rPr lang="de-DE" sz="800" b="0" i="0" dirty="0">
              <a:latin typeface="Myriad Pro" panose="020B0503030403020204" pitchFamily="34" charset="0"/>
            </a:rPr>
            <a:t>U-Net++</a:t>
          </a:r>
        </a:p>
      </dgm:t>
    </dgm:pt>
    <dgm:pt modelId="{81CB6F6D-48DA-416D-9426-0B6E4B5AD737}" type="parTrans" cxnId="{75353E2D-D5F4-4C4B-8BFF-3A25A17EC9FB}">
      <dgm:prSet/>
      <dgm:spPr/>
      <dgm:t>
        <a:bodyPr/>
        <a:lstStyle/>
        <a:p>
          <a:endParaRPr lang="de-DE"/>
        </a:p>
      </dgm:t>
    </dgm:pt>
    <dgm:pt modelId="{D0BFACD0-8F45-4F8C-9779-0AF1AE559907}" type="sibTrans" cxnId="{75353E2D-D5F4-4C4B-8BFF-3A25A17EC9FB}">
      <dgm:prSet/>
      <dgm:spPr/>
      <dgm:t>
        <a:bodyPr/>
        <a:lstStyle/>
        <a:p>
          <a:endParaRPr lang="de-DE"/>
        </a:p>
      </dgm:t>
    </dgm:pt>
    <dgm:pt modelId="{ADED253C-6A2E-4631-B1D4-F5E1FE2B5B55}">
      <dgm:prSet phldrT="[Text]" custT="1"/>
      <dgm:spPr/>
      <dgm:t>
        <a:bodyPr/>
        <a:lstStyle/>
        <a:p>
          <a:r>
            <a:rPr lang="de-DE" sz="800" b="0" i="0" dirty="0">
              <a:latin typeface="Myriad Pro" panose="020B0503030403020204" pitchFamily="34" charset="0"/>
            </a:rPr>
            <a:t>FPN</a:t>
          </a:r>
        </a:p>
      </dgm:t>
    </dgm:pt>
    <dgm:pt modelId="{23EDCDD5-F170-402F-A11E-15FD466C3CE5}" type="parTrans" cxnId="{7CDA6FEF-3872-4337-84FA-0DD423E0FBC5}">
      <dgm:prSet/>
      <dgm:spPr/>
      <dgm:t>
        <a:bodyPr/>
        <a:lstStyle/>
        <a:p>
          <a:endParaRPr lang="de-DE"/>
        </a:p>
      </dgm:t>
    </dgm:pt>
    <dgm:pt modelId="{074D77D4-B07D-447C-B97C-356C65F95759}" type="sibTrans" cxnId="{7CDA6FEF-3872-4337-84FA-0DD423E0FBC5}">
      <dgm:prSet/>
      <dgm:spPr/>
      <dgm:t>
        <a:bodyPr/>
        <a:lstStyle/>
        <a:p>
          <a:endParaRPr lang="de-DE"/>
        </a:p>
      </dgm:t>
    </dgm:pt>
    <dgm:pt modelId="{D11BAA21-3D0E-4BFE-97F1-F349F96BB7F2}">
      <dgm:prSet phldrT="[Text]" custT="1"/>
      <dgm:spPr/>
      <dgm:t>
        <a:bodyPr/>
        <a:lstStyle/>
        <a:p>
          <a:r>
            <a:rPr lang="de-DE" sz="800" b="0" i="0" dirty="0">
              <a:latin typeface="Myriad Pro" panose="020B0503030403020204" pitchFamily="34" charset="0"/>
            </a:rPr>
            <a:t>PSPN</a:t>
          </a:r>
        </a:p>
      </dgm:t>
    </dgm:pt>
    <dgm:pt modelId="{524ED0C4-9CC2-4C2A-B51C-974FA37A7FE7}" type="parTrans" cxnId="{46C105CF-449F-4F1C-B399-CE70EC74C4C8}">
      <dgm:prSet/>
      <dgm:spPr/>
      <dgm:t>
        <a:bodyPr/>
        <a:lstStyle/>
        <a:p>
          <a:endParaRPr lang="de-DE"/>
        </a:p>
      </dgm:t>
    </dgm:pt>
    <dgm:pt modelId="{632B7E11-8BCB-44BB-80A1-C58DA59BDECF}" type="sibTrans" cxnId="{46C105CF-449F-4F1C-B399-CE70EC74C4C8}">
      <dgm:prSet/>
      <dgm:spPr/>
      <dgm:t>
        <a:bodyPr/>
        <a:lstStyle/>
        <a:p>
          <a:endParaRPr lang="de-DE"/>
        </a:p>
      </dgm:t>
    </dgm:pt>
    <dgm:pt modelId="{33587DE4-8F92-4CA4-A011-892138D47DA7}">
      <dgm:prSet phldrT="[Text]" custT="1"/>
      <dgm:spPr/>
      <dgm:t>
        <a:bodyPr/>
        <a:lstStyle/>
        <a:p>
          <a:r>
            <a:rPr lang="de-DE" sz="800" b="0" i="0" dirty="0">
              <a:latin typeface="Myriad Pro" panose="020B0503030403020204" pitchFamily="34" charset="0"/>
            </a:rPr>
            <a:t>PAN</a:t>
          </a:r>
        </a:p>
      </dgm:t>
    </dgm:pt>
    <dgm:pt modelId="{31BDA904-A9EF-437C-9DAF-E5BDF8C1106E}" type="parTrans" cxnId="{32BA70E3-2B88-4E2B-9094-EE86858857DA}">
      <dgm:prSet/>
      <dgm:spPr/>
      <dgm:t>
        <a:bodyPr/>
        <a:lstStyle/>
        <a:p>
          <a:endParaRPr lang="de-DE"/>
        </a:p>
      </dgm:t>
    </dgm:pt>
    <dgm:pt modelId="{359CEDC3-C134-4529-AEBB-BBDE1EA7D255}" type="sibTrans" cxnId="{32BA70E3-2B88-4E2B-9094-EE86858857DA}">
      <dgm:prSet/>
      <dgm:spPr/>
      <dgm:t>
        <a:bodyPr/>
        <a:lstStyle/>
        <a:p>
          <a:endParaRPr lang="de-DE"/>
        </a:p>
      </dgm:t>
    </dgm:pt>
    <dgm:pt modelId="{DAFF3CB8-4780-4F42-8F5A-A2879CF5C5A6}">
      <dgm:prSet phldrT="[Text]" custT="1"/>
      <dgm:spPr/>
      <dgm:t>
        <a:bodyPr/>
        <a:lstStyle/>
        <a:p>
          <a:r>
            <a:rPr lang="de-DE" sz="1000" b="0" i="0" dirty="0" err="1">
              <a:latin typeface="Myriad Pro" panose="020B0503030403020204" pitchFamily="34" charset="0"/>
            </a:rPr>
            <a:t>Lernrate</a:t>
          </a:r>
          <a:endParaRPr lang="de-DE" sz="1000" b="0" i="0" dirty="0">
            <a:latin typeface="Myriad Pro" panose="020B0503030403020204" pitchFamily="34" charset="0"/>
          </a:endParaRPr>
        </a:p>
      </dgm:t>
    </dgm:pt>
    <dgm:pt modelId="{BB72E3E4-7E20-4FF3-87BE-AD24CB2F12EE}" type="parTrans" cxnId="{C5BE0DE1-3793-4C23-A900-78112F2919D4}">
      <dgm:prSet/>
      <dgm:spPr/>
      <dgm:t>
        <a:bodyPr/>
        <a:lstStyle/>
        <a:p>
          <a:endParaRPr lang="de-DE"/>
        </a:p>
      </dgm:t>
    </dgm:pt>
    <dgm:pt modelId="{1E1C3655-4299-4282-B808-C53E3FABF68D}" type="sibTrans" cxnId="{C5BE0DE1-3793-4C23-A900-78112F2919D4}">
      <dgm:prSet/>
      <dgm:spPr/>
      <dgm:t>
        <a:bodyPr/>
        <a:lstStyle/>
        <a:p>
          <a:endParaRPr lang="de-DE"/>
        </a:p>
      </dgm:t>
    </dgm:pt>
    <dgm:pt modelId="{49A0BB83-CEA0-46AB-9D0B-B65F612AEE4A}">
      <dgm:prSet phldrT="[Text]" custT="1"/>
      <dgm:spPr/>
      <dgm:t>
        <a:bodyPr/>
        <a:lstStyle/>
        <a:p>
          <a:r>
            <a:rPr lang="de-DE" sz="1000" b="0" i="0" dirty="0">
              <a:latin typeface="Myriad Pro" panose="020B0503030403020204" pitchFamily="34" charset="0"/>
            </a:rPr>
            <a:t>Encoder</a:t>
          </a:r>
        </a:p>
      </dgm:t>
    </dgm:pt>
    <dgm:pt modelId="{AE65C2BF-225F-4643-AE59-9457E6820B24}" type="parTrans" cxnId="{0419F4C6-C72F-44E5-856A-7A5E20A609B0}">
      <dgm:prSet/>
      <dgm:spPr/>
      <dgm:t>
        <a:bodyPr/>
        <a:lstStyle/>
        <a:p>
          <a:endParaRPr lang="de-DE"/>
        </a:p>
      </dgm:t>
    </dgm:pt>
    <dgm:pt modelId="{2328B74F-4929-49C4-A401-C9585D838753}" type="sibTrans" cxnId="{0419F4C6-C72F-44E5-856A-7A5E20A609B0}">
      <dgm:prSet/>
      <dgm:spPr/>
      <dgm:t>
        <a:bodyPr/>
        <a:lstStyle/>
        <a:p>
          <a:endParaRPr lang="de-DE"/>
        </a:p>
      </dgm:t>
    </dgm:pt>
    <dgm:pt modelId="{C1F68F19-94EA-4970-A79B-863E823848E5}">
      <dgm:prSet phldrT="[Text]" custT="1"/>
      <dgm:spPr/>
      <dgm:t>
        <a:bodyPr/>
        <a:lstStyle/>
        <a:p>
          <a:r>
            <a:rPr lang="de-DE" sz="800" b="0" i="0" dirty="0" err="1">
              <a:latin typeface="Myriad Pro" panose="020B0503030403020204" pitchFamily="34" charset="0"/>
            </a:rPr>
            <a:t>ResNet</a:t>
          </a:r>
          <a:endParaRPr lang="de-DE" sz="800" b="0" i="0" dirty="0">
            <a:latin typeface="Myriad Pro" panose="020B0503030403020204" pitchFamily="34" charset="0"/>
          </a:endParaRPr>
        </a:p>
      </dgm:t>
    </dgm:pt>
    <dgm:pt modelId="{0F1B911F-6353-4AE6-9EEF-D49625DE905E}" type="parTrans" cxnId="{4A7380CF-8162-4F2E-9F90-B51642631E94}">
      <dgm:prSet/>
      <dgm:spPr/>
      <dgm:t>
        <a:bodyPr/>
        <a:lstStyle/>
        <a:p>
          <a:endParaRPr lang="de-DE"/>
        </a:p>
      </dgm:t>
    </dgm:pt>
    <dgm:pt modelId="{60DB14D8-838D-4A63-A334-C12EB1C7625D}" type="sibTrans" cxnId="{4A7380CF-8162-4F2E-9F90-B51642631E94}">
      <dgm:prSet/>
      <dgm:spPr/>
      <dgm:t>
        <a:bodyPr/>
        <a:lstStyle/>
        <a:p>
          <a:endParaRPr lang="de-DE"/>
        </a:p>
      </dgm:t>
    </dgm:pt>
    <dgm:pt modelId="{3EC8FF9E-3113-473A-A5E5-ABD9C5F94794}">
      <dgm:prSet phldrT="[Text]" custT="1"/>
      <dgm:spPr/>
      <dgm:t>
        <a:bodyPr/>
        <a:lstStyle/>
        <a:p>
          <a:r>
            <a:rPr lang="de-DE" sz="800" b="0" i="0" dirty="0" err="1">
              <a:latin typeface="Myriad Pro" panose="020B0503030403020204" pitchFamily="34" charset="0"/>
            </a:rPr>
            <a:t>ResNext</a:t>
          </a:r>
          <a:endParaRPr lang="de-DE" sz="800" b="0" i="0" dirty="0">
            <a:latin typeface="Myriad Pro" panose="020B0503030403020204" pitchFamily="34" charset="0"/>
          </a:endParaRPr>
        </a:p>
      </dgm:t>
    </dgm:pt>
    <dgm:pt modelId="{87CDD4F3-E71F-44A9-B515-E47672A849B6}" type="parTrans" cxnId="{0A8FCBF8-AD1F-4CF4-8568-2F5CBABA5157}">
      <dgm:prSet/>
      <dgm:spPr/>
      <dgm:t>
        <a:bodyPr/>
        <a:lstStyle/>
        <a:p>
          <a:endParaRPr lang="de-DE"/>
        </a:p>
      </dgm:t>
    </dgm:pt>
    <dgm:pt modelId="{25369813-4686-4B37-9746-915D5E2ABB1B}" type="sibTrans" cxnId="{0A8FCBF8-AD1F-4CF4-8568-2F5CBABA5157}">
      <dgm:prSet/>
      <dgm:spPr/>
      <dgm:t>
        <a:bodyPr/>
        <a:lstStyle/>
        <a:p>
          <a:endParaRPr lang="de-DE"/>
        </a:p>
      </dgm:t>
    </dgm:pt>
    <dgm:pt modelId="{E0EC0A27-9EDB-47A4-8DED-CBD1A61B9BC9}">
      <dgm:prSet phldrT="[Text]" custT="1"/>
      <dgm:spPr/>
      <dgm:t>
        <a:bodyPr/>
        <a:lstStyle/>
        <a:p>
          <a:r>
            <a:rPr lang="de-DE" sz="800" b="0" i="0" dirty="0">
              <a:latin typeface="Myriad Pro" panose="020B0503030403020204" pitchFamily="34" charset="0"/>
            </a:rPr>
            <a:t>Inception-V4</a:t>
          </a:r>
        </a:p>
      </dgm:t>
    </dgm:pt>
    <dgm:pt modelId="{C6050D19-3AE0-4870-8460-7297D5C8A50F}" type="sibTrans" cxnId="{FEC8D416-8216-4562-8549-24473B803C80}">
      <dgm:prSet/>
      <dgm:spPr/>
      <dgm:t>
        <a:bodyPr/>
        <a:lstStyle/>
        <a:p>
          <a:endParaRPr lang="de-DE"/>
        </a:p>
      </dgm:t>
    </dgm:pt>
    <dgm:pt modelId="{42F96A8F-BB1E-4B89-AB8E-11A0F37EB1DB}" type="parTrans" cxnId="{FEC8D416-8216-4562-8549-24473B803C80}">
      <dgm:prSet/>
      <dgm:spPr/>
      <dgm:t>
        <a:bodyPr/>
        <a:lstStyle/>
        <a:p>
          <a:endParaRPr lang="de-DE"/>
        </a:p>
      </dgm:t>
    </dgm:pt>
    <dgm:pt modelId="{4DA8AE24-A75C-40AE-A6A1-13FE57AE449D}">
      <dgm:prSet phldrT="[Text]" custT="1"/>
      <dgm:spPr/>
      <dgm:t>
        <a:bodyPr/>
        <a:lstStyle/>
        <a:p>
          <a:r>
            <a:rPr lang="de-DE" sz="800" b="0" i="0" dirty="0">
              <a:latin typeface="Myriad Pro" panose="020B0503030403020204" pitchFamily="34" charset="0"/>
            </a:rPr>
            <a:t>Inception-</a:t>
          </a:r>
          <a:r>
            <a:rPr lang="de-DE" sz="800" b="0" i="0" dirty="0" err="1">
              <a:latin typeface="Myriad Pro" panose="020B0503030403020204" pitchFamily="34" charset="0"/>
            </a:rPr>
            <a:t>ResNet</a:t>
          </a:r>
          <a:endParaRPr lang="de-DE" sz="800" b="0" i="0" dirty="0">
            <a:latin typeface="Myriad Pro" panose="020B0503030403020204" pitchFamily="34" charset="0"/>
          </a:endParaRPr>
        </a:p>
      </dgm:t>
    </dgm:pt>
    <dgm:pt modelId="{DF4C3ABC-A688-4048-91A3-DFE9CE606182}" type="sibTrans" cxnId="{F4D4E3EF-4C7A-4DD4-B693-2A68087757F8}">
      <dgm:prSet/>
      <dgm:spPr/>
      <dgm:t>
        <a:bodyPr/>
        <a:lstStyle/>
        <a:p>
          <a:endParaRPr lang="de-DE"/>
        </a:p>
      </dgm:t>
    </dgm:pt>
    <dgm:pt modelId="{2DCC687C-BE9B-4DD8-8A80-E970635437CA}" type="parTrans" cxnId="{F4D4E3EF-4C7A-4DD4-B693-2A68087757F8}">
      <dgm:prSet/>
      <dgm:spPr/>
      <dgm:t>
        <a:bodyPr/>
        <a:lstStyle/>
        <a:p>
          <a:endParaRPr lang="de-DE"/>
        </a:p>
      </dgm:t>
    </dgm:pt>
    <dgm:pt modelId="{50C4D88C-9CB0-4513-8456-755395491158}" type="pres">
      <dgm:prSet presAssocID="{96C9D5F4-FF4F-420D-8420-A926E166D7A2}" presName="Name0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</dgm:pt>
    <dgm:pt modelId="{506FBA0B-6598-4404-B87A-56869B8718E3}" type="pres">
      <dgm:prSet presAssocID="{D0997319-AE2C-4C46-ADCB-BA43BE3F3F54}" presName="root1" presStyleCnt="0"/>
      <dgm:spPr/>
    </dgm:pt>
    <dgm:pt modelId="{DCF5B4EF-DE4F-4292-A3B2-724C163A44AB}" type="pres">
      <dgm:prSet presAssocID="{D0997319-AE2C-4C46-ADCB-BA43BE3F3F54}" presName="LevelOneTextNode" presStyleLbl="node0" presStyleIdx="0" presStyleCnt="1">
        <dgm:presLayoutVars>
          <dgm:chPref val="3"/>
        </dgm:presLayoutVars>
      </dgm:prSet>
      <dgm:spPr/>
    </dgm:pt>
    <dgm:pt modelId="{7E8A6FC8-F240-4C27-8F75-0549E9D1CE4E}" type="pres">
      <dgm:prSet presAssocID="{D0997319-AE2C-4C46-ADCB-BA43BE3F3F54}" presName="level2hierChild" presStyleCnt="0"/>
      <dgm:spPr/>
    </dgm:pt>
    <dgm:pt modelId="{BE328E0A-C287-4B1A-BD90-C0F3098FFCD9}" type="pres">
      <dgm:prSet presAssocID="{B164CB56-71EE-412E-A3A2-1509A3B08E05}" presName="conn2-1" presStyleLbl="parChTrans1D2" presStyleIdx="0" presStyleCnt="3"/>
      <dgm:spPr/>
    </dgm:pt>
    <dgm:pt modelId="{1EB559E9-DB95-4028-B960-01A592B99E92}" type="pres">
      <dgm:prSet presAssocID="{B164CB56-71EE-412E-A3A2-1509A3B08E05}" presName="connTx" presStyleLbl="parChTrans1D2" presStyleIdx="0" presStyleCnt="3"/>
      <dgm:spPr/>
    </dgm:pt>
    <dgm:pt modelId="{9893F228-CFAA-415F-97D9-8C8EA9FB1BC5}" type="pres">
      <dgm:prSet presAssocID="{8E70AA8F-7583-4AFE-9EDE-87363894E1F8}" presName="root2" presStyleCnt="0"/>
      <dgm:spPr/>
    </dgm:pt>
    <dgm:pt modelId="{49ADAAAB-354D-4968-9DE9-378E6595E5BB}" type="pres">
      <dgm:prSet presAssocID="{8E70AA8F-7583-4AFE-9EDE-87363894E1F8}" presName="LevelTwoTextNode" presStyleLbl="node2" presStyleIdx="0" presStyleCnt="3">
        <dgm:presLayoutVars>
          <dgm:chPref val="3"/>
        </dgm:presLayoutVars>
      </dgm:prSet>
      <dgm:spPr/>
    </dgm:pt>
    <dgm:pt modelId="{46E2FE2A-A747-4DEE-AAF5-53A8EE84B06B}" type="pres">
      <dgm:prSet presAssocID="{8E70AA8F-7583-4AFE-9EDE-87363894E1F8}" presName="level3hierChild" presStyleCnt="0"/>
      <dgm:spPr/>
    </dgm:pt>
    <dgm:pt modelId="{A00DE1AA-92DF-4607-98DB-1C3BB048DCF5}" type="pres">
      <dgm:prSet presAssocID="{8ACEFE3D-DAAE-46D2-BF29-AF7B5FBB783D}" presName="conn2-1" presStyleLbl="parChTrans1D3" presStyleIdx="0" presStyleCnt="10"/>
      <dgm:spPr/>
    </dgm:pt>
    <dgm:pt modelId="{FCADF10C-D51C-403A-B095-E884F4771DA4}" type="pres">
      <dgm:prSet presAssocID="{8ACEFE3D-DAAE-46D2-BF29-AF7B5FBB783D}" presName="connTx" presStyleLbl="parChTrans1D3" presStyleIdx="0" presStyleCnt="10"/>
      <dgm:spPr/>
    </dgm:pt>
    <dgm:pt modelId="{82114EE1-887C-431E-AFFD-6C4277E5953D}" type="pres">
      <dgm:prSet presAssocID="{BF1B7062-91AB-4F1D-BD08-8D3EC4B33C1F}" presName="root2" presStyleCnt="0"/>
      <dgm:spPr/>
    </dgm:pt>
    <dgm:pt modelId="{F9F18759-F577-4686-9C34-EB964D732C77}" type="pres">
      <dgm:prSet presAssocID="{BF1B7062-91AB-4F1D-BD08-8D3EC4B33C1F}" presName="LevelTwoTextNode" presStyleLbl="node3" presStyleIdx="0" presStyleCnt="10">
        <dgm:presLayoutVars>
          <dgm:chPref val="3"/>
        </dgm:presLayoutVars>
      </dgm:prSet>
      <dgm:spPr/>
    </dgm:pt>
    <dgm:pt modelId="{54BDE115-2A0C-4217-89B4-E7E8586234DB}" type="pres">
      <dgm:prSet presAssocID="{BF1B7062-91AB-4F1D-BD08-8D3EC4B33C1F}" presName="level3hierChild" presStyleCnt="0"/>
      <dgm:spPr/>
    </dgm:pt>
    <dgm:pt modelId="{6D05A90F-5A8D-42F9-A2CB-82F28C0FF2BC}" type="pres">
      <dgm:prSet presAssocID="{C7C06085-9DF0-469C-90B3-434C5E418A6D}" presName="conn2-1" presStyleLbl="parChTrans1D4" presStyleIdx="0" presStyleCnt="9"/>
      <dgm:spPr/>
    </dgm:pt>
    <dgm:pt modelId="{799FD5E4-5D76-4338-BDA8-9F7F790A3A29}" type="pres">
      <dgm:prSet presAssocID="{C7C06085-9DF0-469C-90B3-434C5E418A6D}" presName="connTx" presStyleLbl="parChTrans1D4" presStyleIdx="0" presStyleCnt="9"/>
      <dgm:spPr/>
    </dgm:pt>
    <dgm:pt modelId="{1C875D8C-6779-45C7-9DF1-E38374A18533}" type="pres">
      <dgm:prSet presAssocID="{4D897679-FA7C-48A2-A57F-5D0431886FF7}" presName="root2" presStyleCnt="0"/>
      <dgm:spPr/>
    </dgm:pt>
    <dgm:pt modelId="{F8A94DA1-2081-4A8B-816C-A9F98C2853F5}" type="pres">
      <dgm:prSet presAssocID="{4D897679-FA7C-48A2-A57F-5D0431886FF7}" presName="LevelTwoTextNode" presStyleLbl="node4" presStyleIdx="0" presStyleCnt="9">
        <dgm:presLayoutVars>
          <dgm:chPref val="3"/>
        </dgm:presLayoutVars>
      </dgm:prSet>
      <dgm:spPr/>
    </dgm:pt>
    <dgm:pt modelId="{BE78AA36-14CC-406D-9CAF-F23AD3DFDFED}" type="pres">
      <dgm:prSet presAssocID="{4D897679-FA7C-48A2-A57F-5D0431886FF7}" presName="level3hierChild" presStyleCnt="0"/>
      <dgm:spPr/>
    </dgm:pt>
    <dgm:pt modelId="{8F0AA0AA-EF8D-43DE-82C5-2D7BFD08315F}" type="pres">
      <dgm:prSet presAssocID="{81CB6F6D-48DA-416D-9426-0B6E4B5AD737}" presName="conn2-1" presStyleLbl="parChTrans1D4" presStyleIdx="1" presStyleCnt="9"/>
      <dgm:spPr/>
    </dgm:pt>
    <dgm:pt modelId="{FD15021D-62B7-4A46-932A-654E778DB44B}" type="pres">
      <dgm:prSet presAssocID="{81CB6F6D-48DA-416D-9426-0B6E4B5AD737}" presName="connTx" presStyleLbl="parChTrans1D4" presStyleIdx="1" presStyleCnt="9"/>
      <dgm:spPr/>
    </dgm:pt>
    <dgm:pt modelId="{92C6DF90-94C7-417B-A0B7-472D3330DFC6}" type="pres">
      <dgm:prSet presAssocID="{48CAF46E-7318-4269-B88D-4072C010818D}" presName="root2" presStyleCnt="0"/>
      <dgm:spPr/>
    </dgm:pt>
    <dgm:pt modelId="{571B8373-7DFF-4282-8AA6-80F7CC7EA7C8}" type="pres">
      <dgm:prSet presAssocID="{48CAF46E-7318-4269-B88D-4072C010818D}" presName="LevelTwoTextNode" presStyleLbl="node4" presStyleIdx="1" presStyleCnt="9">
        <dgm:presLayoutVars>
          <dgm:chPref val="3"/>
        </dgm:presLayoutVars>
      </dgm:prSet>
      <dgm:spPr/>
    </dgm:pt>
    <dgm:pt modelId="{2E395B4D-D351-4809-A97B-BD1545D151D6}" type="pres">
      <dgm:prSet presAssocID="{48CAF46E-7318-4269-B88D-4072C010818D}" presName="level3hierChild" presStyleCnt="0"/>
      <dgm:spPr/>
    </dgm:pt>
    <dgm:pt modelId="{709C936E-7E65-4B5A-AC40-4548A25152AC}" type="pres">
      <dgm:prSet presAssocID="{23EDCDD5-F170-402F-A11E-15FD466C3CE5}" presName="conn2-1" presStyleLbl="parChTrans1D4" presStyleIdx="2" presStyleCnt="9"/>
      <dgm:spPr/>
    </dgm:pt>
    <dgm:pt modelId="{79D3B186-92E5-40C6-A995-4173A00C788D}" type="pres">
      <dgm:prSet presAssocID="{23EDCDD5-F170-402F-A11E-15FD466C3CE5}" presName="connTx" presStyleLbl="parChTrans1D4" presStyleIdx="2" presStyleCnt="9"/>
      <dgm:spPr/>
    </dgm:pt>
    <dgm:pt modelId="{288D4D72-A885-421E-B53B-89BEC0A8E191}" type="pres">
      <dgm:prSet presAssocID="{ADED253C-6A2E-4631-B1D4-F5E1FE2B5B55}" presName="root2" presStyleCnt="0"/>
      <dgm:spPr/>
    </dgm:pt>
    <dgm:pt modelId="{9E59A063-5821-4E2B-8FD8-3EBA8922B98E}" type="pres">
      <dgm:prSet presAssocID="{ADED253C-6A2E-4631-B1D4-F5E1FE2B5B55}" presName="LevelTwoTextNode" presStyleLbl="node4" presStyleIdx="2" presStyleCnt="9">
        <dgm:presLayoutVars>
          <dgm:chPref val="3"/>
        </dgm:presLayoutVars>
      </dgm:prSet>
      <dgm:spPr/>
    </dgm:pt>
    <dgm:pt modelId="{A60165E3-8C06-4086-B11F-0E702421E440}" type="pres">
      <dgm:prSet presAssocID="{ADED253C-6A2E-4631-B1D4-F5E1FE2B5B55}" presName="level3hierChild" presStyleCnt="0"/>
      <dgm:spPr/>
    </dgm:pt>
    <dgm:pt modelId="{C5F46441-018D-4AD0-9984-278FB6B3653F}" type="pres">
      <dgm:prSet presAssocID="{524ED0C4-9CC2-4C2A-B51C-974FA37A7FE7}" presName="conn2-1" presStyleLbl="parChTrans1D4" presStyleIdx="3" presStyleCnt="9"/>
      <dgm:spPr/>
    </dgm:pt>
    <dgm:pt modelId="{D9EA4352-69AB-4BEF-A3B8-25557C0E3D3D}" type="pres">
      <dgm:prSet presAssocID="{524ED0C4-9CC2-4C2A-B51C-974FA37A7FE7}" presName="connTx" presStyleLbl="parChTrans1D4" presStyleIdx="3" presStyleCnt="9"/>
      <dgm:spPr/>
    </dgm:pt>
    <dgm:pt modelId="{0E92266F-6127-4D65-BB11-33FD467F105D}" type="pres">
      <dgm:prSet presAssocID="{D11BAA21-3D0E-4BFE-97F1-F349F96BB7F2}" presName="root2" presStyleCnt="0"/>
      <dgm:spPr/>
    </dgm:pt>
    <dgm:pt modelId="{E35C2840-DB93-493D-B275-166B0E0C4A9D}" type="pres">
      <dgm:prSet presAssocID="{D11BAA21-3D0E-4BFE-97F1-F349F96BB7F2}" presName="LevelTwoTextNode" presStyleLbl="node4" presStyleIdx="3" presStyleCnt="9">
        <dgm:presLayoutVars>
          <dgm:chPref val="3"/>
        </dgm:presLayoutVars>
      </dgm:prSet>
      <dgm:spPr/>
    </dgm:pt>
    <dgm:pt modelId="{D8A053A6-8CD3-465F-9ECC-7C0D113893EE}" type="pres">
      <dgm:prSet presAssocID="{D11BAA21-3D0E-4BFE-97F1-F349F96BB7F2}" presName="level3hierChild" presStyleCnt="0"/>
      <dgm:spPr/>
    </dgm:pt>
    <dgm:pt modelId="{FAF45787-F807-4BB6-923D-0C0E2CD8C149}" type="pres">
      <dgm:prSet presAssocID="{31BDA904-A9EF-437C-9DAF-E5BDF8C1106E}" presName="conn2-1" presStyleLbl="parChTrans1D4" presStyleIdx="4" presStyleCnt="9"/>
      <dgm:spPr/>
    </dgm:pt>
    <dgm:pt modelId="{8B0AB1CA-7D19-4139-820F-FBEA5B4373F8}" type="pres">
      <dgm:prSet presAssocID="{31BDA904-A9EF-437C-9DAF-E5BDF8C1106E}" presName="connTx" presStyleLbl="parChTrans1D4" presStyleIdx="4" presStyleCnt="9"/>
      <dgm:spPr/>
    </dgm:pt>
    <dgm:pt modelId="{C3306D52-2437-4385-ACA3-7D8CE9EB0569}" type="pres">
      <dgm:prSet presAssocID="{33587DE4-8F92-4CA4-A011-892138D47DA7}" presName="root2" presStyleCnt="0"/>
      <dgm:spPr/>
    </dgm:pt>
    <dgm:pt modelId="{8F47A465-73D6-48E5-83FD-F149301C3BBD}" type="pres">
      <dgm:prSet presAssocID="{33587DE4-8F92-4CA4-A011-892138D47DA7}" presName="LevelTwoTextNode" presStyleLbl="node4" presStyleIdx="4" presStyleCnt="9">
        <dgm:presLayoutVars>
          <dgm:chPref val="3"/>
        </dgm:presLayoutVars>
      </dgm:prSet>
      <dgm:spPr/>
    </dgm:pt>
    <dgm:pt modelId="{E32E857A-F3CD-4263-AB35-D59E97F83B1D}" type="pres">
      <dgm:prSet presAssocID="{33587DE4-8F92-4CA4-A011-892138D47DA7}" presName="level3hierChild" presStyleCnt="0"/>
      <dgm:spPr/>
    </dgm:pt>
    <dgm:pt modelId="{5BC2DE1D-C4D7-4BFC-A0C1-3D282DC024CD}" type="pres">
      <dgm:prSet presAssocID="{AE65C2BF-225F-4643-AE59-9457E6820B24}" presName="conn2-1" presStyleLbl="parChTrans1D3" presStyleIdx="1" presStyleCnt="10"/>
      <dgm:spPr/>
    </dgm:pt>
    <dgm:pt modelId="{0C497864-2349-44C5-8D11-5F89748F0519}" type="pres">
      <dgm:prSet presAssocID="{AE65C2BF-225F-4643-AE59-9457E6820B24}" presName="connTx" presStyleLbl="parChTrans1D3" presStyleIdx="1" presStyleCnt="10"/>
      <dgm:spPr/>
    </dgm:pt>
    <dgm:pt modelId="{9DEE4079-5D60-4753-AEAE-EF1343D66E8F}" type="pres">
      <dgm:prSet presAssocID="{49A0BB83-CEA0-46AB-9D0B-B65F612AEE4A}" presName="root2" presStyleCnt="0"/>
      <dgm:spPr/>
    </dgm:pt>
    <dgm:pt modelId="{DC0B28EB-699E-45BB-87EC-30E574E72821}" type="pres">
      <dgm:prSet presAssocID="{49A0BB83-CEA0-46AB-9D0B-B65F612AEE4A}" presName="LevelTwoTextNode" presStyleLbl="node3" presStyleIdx="1" presStyleCnt="10">
        <dgm:presLayoutVars>
          <dgm:chPref val="3"/>
        </dgm:presLayoutVars>
      </dgm:prSet>
      <dgm:spPr/>
    </dgm:pt>
    <dgm:pt modelId="{F96545F6-99BC-46B9-929F-A49863AE73CF}" type="pres">
      <dgm:prSet presAssocID="{49A0BB83-CEA0-46AB-9D0B-B65F612AEE4A}" presName="level3hierChild" presStyleCnt="0"/>
      <dgm:spPr/>
    </dgm:pt>
    <dgm:pt modelId="{7F2C676C-E906-4B26-892E-C728B9239429}" type="pres">
      <dgm:prSet presAssocID="{42F96A8F-BB1E-4B89-AB8E-11A0F37EB1DB}" presName="conn2-1" presStyleLbl="parChTrans1D4" presStyleIdx="5" presStyleCnt="9"/>
      <dgm:spPr/>
    </dgm:pt>
    <dgm:pt modelId="{F614A676-E312-4A6F-BE9F-B6E2993177B6}" type="pres">
      <dgm:prSet presAssocID="{42F96A8F-BB1E-4B89-AB8E-11A0F37EB1DB}" presName="connTx" presStyleLbl="parChTrans1D4" presStyleIdx="5" presStyleCnt="9"/>
      <dgm:spPr/>
    </dgm:pt>
    <dgm:pt modelId="{BDC558D4-E8FE-4402-98B6-954B2DED52D1}" type="pres">
      <dgm:prSet presAssocID="{E0EC0A27-9EDB-47A4-8DED-CBD1A61B9BC9}" presName="root2" presStyleCnt="0"/>
      <dgm:spPr/>
    </dgm:pt>
    <dgm:pt modelId="{81473451-3FF3-474B-98FB-6869E5682468}" type="pres">
      <dgm:prSet presAssocID="{E0EC0A27-9EDB-47A4-8DED-CBD1A61B9BC9}" presName="LevelTwoTextNode" presStyleLbl="node4" presStyleIdx="5" presStyleCnt="9">
        <dgm:presLayoutVars>
          <dgm:chPref val="3"/>
        </dgm:presLayoutVars>
      </dgm:prSet>
      <dgm:spPr/>
    </dgm:pt>
    <dgm:pt modelId="{FA9000AC-D9F7-467D-A35D-DAD03D5FE186}" type="pres">
      <dgm:prSet presAssocID="{E0EC0A27-9EDB-47A4-8DED-CBD1A61B9BC9}" presName="level3hierChild" presStyleCnt="0"/>
      <dgm:spPr/>
    </dgm:pt>
    <dgm:pt modelId="{2B4072C3-2623-4EA4-94B7-025A9DCD72E9}" type="pres">
      <dgm:prSet presAssocID="{2DCC687C-BE9B-4DD8-8A80-E970635437CA}" presName="conn2-1" presStyleLbl="parChTrans1D4" presStyleIdx="6" presStyleCnt="9"/>
      <dgm:spPr/>
    </dgm:pt>
    <dgm:pt modelId="{7260B369-A7E2-44EA-98FE-B408D79B13A6}" type="pres">
      <dgm:prSet presAssocID="{2DCC687C-BE9B-4DD8-8A80-E970635437CA}" presName="connTx" presStyleLbl="parChTrans1D4" presStyleIdx="6" presStyleCnt="9"/>
      <dgm:spPr/>
    </dgm:pt>
    <dgm:pt modelId="{1FAAD552-F495-4DB6-9E8B-FAAEB560B2F6}" type="pres">
      <dgm:prSet presAssocID="{4DA8AE24-A75C-40AE-A6A1-13FE57AE449D}" presName="root2" presStyleCnt="0"/>
      <dgm:spPr/>
    </dgm:pt>
    <dgm:pt modelId="{A732D3F1-1291-409E-9A7C-778CAE167F89}" type="pres">
      <dgm:prSet presAssocID="{4DA8AE24-A75C-40AE-A6A1-13FE57AE449D}" presName="LevelTwoTextNode" presStyleLbl="node4" presStyleIdx="6" presStyleCnt="9">
        <dgm:presLayoutVars>
          <dgm:chPref val="3"/>
        </dgm:presLayoutVars>
      </dgm:prSet>
      <dgm:spPr/>
    </dgm:pt>
    <dgm:pt modelId="{AB597740-6E08-435C-B03D-74A3C28F6C7A}" type="pres">
      <dgm:prSet presAssocID="{4DA8AE24-A75C-40AE-A6A1-13FE57AE449D}" presName="level3hierChild" presStyleCnt="0"/>
      <dgm:spPr/>
    </dgm:pt>
    <dgm:pt modelId="{9458E52A-38CE-4EE6-A620-F703970B8164}" type="pres">
      <dgm:prSet presAssocID="{0F1B911F-6353-4AE6-9EEF-D49625DE905E}" presName="conn2-1" presStyleLbl="parChTrans1D4" presStyleIdx="7" presStyleCnt="9"/>
      <dgm:spPr/>
    </dgm:pt>
    <dgm:pt modelId="{32DEAE14-947F-44E2-8D61-C101875AB07D}" type="pres">
      <dgm:prSet presAssocID="{0F1B911F-6353-4AE6-9EEF-D49625DE905E}" presName="connTx" presStyleLbl="parChTrans1D4" presStyleIdx="7" presStyleCnt="9"/>
      <dgm:spPr/>
    </dgm:pt>
    <dgm:pt modelId="{69E10A20-FCE4-4D83-88A1-14D71635473C}" type="pres">
      <dgm:prSet presAssocID="{C1F68F19-94EA-4970-A79B-863E823848E5}" presName="root2" presStyleCnt="0"/>
      <dgm:spPr/>
    </dgm:pt>
    <dgm:pt modelId="{42C465EB-33D9-4AD2-A33B-930C8E39ED41}" type="pres">
      <dgm:prSet presAssocID="{C1F68F19-94EA-4970-A79B-863E823848E5}" presName="LevelTwoTextNode" presStyleLbl="node4" presStyleIdx="7" presStyleCnt="9">
        <dgm:presLayoutVars>
          <dgm:chPref val="3"/>
        </dgm:presLayoutVars>
      </dgm:prSet>
      <dgm:spPr/>
    </dgm:pt>
    <dgm:pt modelId="{2EF723DA-603B-48F9-A950-71099D97A93D}" type="pres">
      <dgm:prSet presAssocID="{C1F68F19-94EA-4970-A79B-863E823848E5}" presName="level3hierChild" presStyleCnt="0"/>
      <dgm:spPr/>
    </dgm:pt>
    <dgm:pt modelId="{329CD9E0-9945-40C9-89A5-5929AA1A3A82}" type="pres">
      <dgm:prSet presAssocID="{87CDD4F3-E71F-44A9-B515-E47672A849B6}" presName="conn2-1" presStyleLbl="parChTrans1D4" presStyleIdx="8" presStyleCnt="9"/>
      <dgm:spPr/>
    </dgm:pt>
    <dgm:pt modelId="{27874C32-AAAE-43E2-B803-B20B1E2D7450}" type="pres">
      <dgm:prSet presAssocID="{87CDD4F3-E71F-44A9-B515-E47672A849B6}" presName="connTx" presStyleLbl="parChTrans1D4" presStyleIdx="8" presStyleCnt="9"/>
      <dgm:spPr/>
    </dgm:pt>
    <dgm:pt modelId="{413EDB34-EEB8-4846-8BF9-D4944F61EBD3}" type="pres">
      <dgm:prSet presAssocID="{3EC8FF9E-3113-473A-A5E5-ABD9C5F94794}" presName="root2" presStyleCnt="0"/>
      <dgm:spPr/>
    </dgm:pt>
    <dgm:pt modelId="{84D7F889-3498-48D8-ADC3-14251347C81B}" type="pres">
      <dgm:prSet presAssocID="{3EC8FF9E-3113-473A-A5E5-ABD9C5F94794}" presName="LevelTwoTextNode" presStyleLbl="node4" presStyleIdx="8" presStyleCnt="9">
        <dgm:presLayoutVars>
          <dgm:chPref val="3"/>
        </dgm:presLayoutVars>
      </dgm:prSet>
      <dgm:spPr/>
    </dgm:pt>
    <dgm:pt modelId="{E91235D0-FC5C-4DA2-AB29-EC075B3DCA81}" type="pres">
      <dgm:prSet presAssocID="{3EC8FF9E-3113-473A-A5E5-ABD9C5F94794}" presName="level3hierChild" presStyleCnt="0"/>
      <dgm:spPr/>
    </dgm:pt>
    <dgm:pt modelId="{A4E05C94-2209-4BF4-B627-606397BBC1C5}" type="pres">
      <dgm:prSet presAssocID="{BB72E3E4-7E20-4FF3-87BE-AD24CB2F12EE}" presName="conn2-1" presStyleLbl="parChTrans1D3" presStyleIdx="2" presStyleCnt="10"/>
      <dgm:spPr/>
    </dgm:pt>
    <dgm:pt modelId="{6DCFD290-34D5-45FC-84C5-03B4A3AFAD52}" type="pres">
      <dgm:prSet presAssocID="{BB72E3E4-7E20-4FF3-87BE-AD24CB2F12EE}" presName="connTx" presStyleLbl="parChTrans1D3" presStyleIdx="2" presStyleCnt="10"/>
      <dgm:spPr/>
    </dgm:pt>
    <dgm:pt modelId="{D6C31984-0B65-416F-A6B1-E0A22FFF6163}" type="pres">
      <dgm:prSet presAssocID="{DAFF3CB8-4780-4F42-8F5A-A2879CF5C5A6}" presName="root2" presStyleCnt="0"/>
      <dgm:spPr/>
    </dgm:pt>
    <dgm:pt modelId="{485D5E8B-1295-4B72-BF14-74B2BE7008EE}" type="pres">
      <dgm:prSet presAssocID="{DAFF3CB8-4780-4F42-8F5A-A2879CF5C5A6}" presName="LevelTwoTextNode" presStyleLbl="node3" presStyleIdx="2" presStyleCnt="10">
        <dgm:presLayoutVars>
          <dgm:chPref val="3"/>
        </dgm:presLayoutVars>
      </dgm:prSet>
      <dgm:spPr/>
    </dgm:pt>
    <dgm:pt modelId="{49EAA066-0495-427D-9425-BE1889EED5E1}" type="pres">
      <dgm:prSet presAssocID="{DAFF3CB8-4780-4F42-8F5A-A2879CF5C5A6}" presName="level3hierChild" presStyleCnt="0"/>
      <dgm:spPr/>
    </dgm:pt>
    <dgm:pt modelId="{460E764F-BDF5-4D22-9B4D-16DC71F64CAC}" type="pres">
      <dgm:prSet presAssocID="{2C61C4AB-FC34-4364-9323-4A9D6350BA1C}" presName="conn2-1" presStyleLbl="parChTrans1D3" presStyleIdx="3" presStyleCnt="10"/>
      <dgm:spPr/>
    </dgm:pt>
    <dgm:pt modelId="{D2085E56-A00C-4E27-A4A7-A2743FEDF1B5}" type="pres">
      <dgm:prSet presAssocID="{2C61C4AB-FC34-4364-9323-4A9D6350BA1C}" presName="connTx" presStyleLbl="parChTrans1D3" presStyleIdx="3" presStyleCnt="10"/>
      <dgm:spPr/>
    </dgm:pt>
    <dgm:pt modelId="{73186733-5E43-4E6A-80AF-948A00AAA9B5}" type="pres">
      <dgm:prSet presAssocID="{2FAED816-5ABD-44B8-9175-AD4921C3FE98}" presName="root2" presStyleCnt="0"/>
      <dgm:spPr/>
    </dgm:pt>
    <dgm:pt modelId="{43996E1E-6F52-4F8E-9F4B-77A56824C63C}" type="pres">
      <dgm:prSet presAssocID="{2FAED816-5ABD-44B8-9175-AD4921C3FE98}" presName="LevelTwoTextNode" presStyleLbl="node3" presStyleIdx="3" presStyleCnt="10">
        <dgm:presLayoutVars>
          <dgm:chPref val="3"/>
        </dgm:presLayoutVars>
      </dgm:prSet>
      <dgm:spPr/>
    </dgm:pt>
    <dgm:pt modelId="{41502682-1FC1-4B2B-BBB5-9A5540E7D736}" type="pres">
      <dgm:prSet presAssocID="{2FAED816-5ABD-44B8-9175-AD4921C3FE98}" presName="level3hierChild" presStyleCnt="0"/>
      <dgm:spPr/>
    </dgm:pt>
    <dgm:pt modelId="{690E36EE-5895-4B91-A347-3380A5FE5255}" type="pres">
      <dgm:prSet presAssocID="{D0F076D3-591F-4547-A436-4947EC5EA385}" presName="conn2-1" presStyleLbl="parChTrans1D3" presStyleIdx="4" presStyleCnt="10"/>
      <dgm:spPr/>
    </dgm:pt>
    <dgm:pt modelId="{ADBE13F2-10FA-4B06-99C7-09C6712A7646}" type="pres">
      <dgm:prSet presAssocID="{D0F076D3-591F-4547-A436-4947EC5EA385}" presName="connTx" presStyleLbl="parChTrans1D3" presStyleIdx="4" presStyleCnt="10"/>
      <dgm:spPr/>
    </dgm:pt>
    <dgm:pt modelId="{B6754EFB-425D-471A-9BC5-9299A6414551}" type="pres">
      <dgm:prSet presAssocID="{86A07196-5E8B-49B8-84A4-6DF135FCBFFC}" presName="root2" presStyleCnt="0"/>
      <dgm:spPr/>
    </dgm:pt>
    <dgm:pt modelId="{6E154881-954A-429F-9BBE-E92EEB4B1011}" type="pres">
      <dgm:prSet presAssocID="{86A07196-5E8B-49B8-84A4-6DF135FCBFFC}" presName="LevelTwoTextNode" presStyleLbl="node3" presStyleIdx="4" presStyleCnt="10">
        <dgm:presLayoutVars>
          <dgm:chPref val="3"/>
        </dgm:presLayoutVars>
      </dgm:prSet>
      <dgm:spPr/>
    </dgm:pt>
    <dgm:pt modelId="{5D1CB6D5-4D16-456C-80C8-8FB25291517B}" type="pres">
      <dgm:prSet presAssocID="{86A07196-5E8B-49B8-84A4-6DF135FCBFFC}" presName="level3hierChild" presStyleCnt="0"/>
      <dgm:spPr/>
    </dgm:pt>
    <dgm:pt modelId="{CD37291B-5548-4F1B-8F2F-200AE5B0DCAE}" type="pres">
      <dgm:prSet presAssocID="{17815460-B569-463A-BACE-734F709F874A}" presName="conn2-1" presStyleLbl="parChTrans1D2" presStyleIdx="1" presStyleCnt="3"/>
      <dgm:spPr/>
    </dgm:pt>
    <dgm:pt modelId="{D4121B60-61D6-41A4-AAB9-DE9671C8ED2F}" type="pres">
      <dgm:prSet presAssocID="{17815460-B569-463A-BACE-734F709F874A}" presName="connTx" presStyleLbl="parChTrans1D2" presStyleIdx="1" presStyleCnt="3"/>
      <dgm:spPr/>
    </dgm:pt>
    <dgm:pt modelId="{50975EFF-52F3-48CE-A104-6890DF2CCC15}" type="pres">
      <dgm:prSet presAssocID="{434F1058-EF12-4590-BD43-496B2D33656A}" presName="root2" presStyleCnt="0"/>
      <dgm:spPr/>
    </dgm:pt>
    <dgm:pt modelId="{E077FA3E-A654-4D27-8616-5CDDA43F8AF6}" type="pres">
      <dgm:prSet presAssocID="{434F1058-EF12-4590-BD43-496B2D33656A}" presName="LevelTwoTextNode" presStyleLbl="node2" presStyleIdx="1" presStyleCnt="3">
        <dgm:presLayoutVars>
          <dgm:chPref val="3"/>
        </dgm:presLayoutVars>
      </dgm:prSet>
      <dgm:spPr/>
    </dgm:pt>
    <dgm:pt modelId="{738BD333-0CAC-4970-A8E6-FA82D1202675}" type="pres">
      <dgm:prSet presAssocID="{434F1058-EF12-4590-BD43-496B2D33656A}" presName="level3hierChild" presStyleCnt="0"/>
      <dgm:spPr/>
    </dgm:pt>
    <dgm:pt modelId="{037062E2-BE96-4A8B-9D2F-1FA0857207C1}" type="pres">
      <dgm:prSet presAssocID="{DA62F256-25CF-4854-BFCD-F90F70E5F8D4}" presName="conn2-1" presStyleLbl="parChTrans1D3" presStyleIdx="5" presStyleCnt="10"/>
      <dgm:spPr/>
    </dgm:pt>
    <dgm:pt modelId="{48D9A2E1-2598-4B00-AD73-86E6047DFB3F}" type="pres">
      <dgm:prSet presAssocID="{DA62F256-25CF-4854-BFCD-F90F70E5F8D4}" presName="connTx" presStyleLbl="parChTrans1D3" presStyleIdx="5" presStyleCnt="10"/>
      <dgm:spPr/>
    </dgm:pt>
    <dgm:pt modelId="{B8CF9832-64BD-484C-B421-A0ECF20998B1}" type="pres">
      <dgm:prSet presAssocID="{4098A15D-6BE4-4258-B7C8-EC2A1354A4D6}" presName="root2" presStyleCnt="0"/>
      <dgm:spPr/>
    </dgm:pt>
    <dgm:pt modelId="{768C7647-12EF-40E9-94EB-C1868C4AFE59}" type="pres">
      <dgm:prSet presAssocID="{4098A15D-6BE4-4258-B7C8-EC2A1354A4D6}" presName="LevelTwoTextNode" presStyleLbl="node3" presStyleIdx="5" presStyleCnt="10">
        <dgm:presLayoutVars>
          <dgm:chPref val="3"/>
        </dgm:presLayoutVars>
      </dgm:prSet>
      <dgm:spPr/>
    </dgm:pt>
    <dgm:pt modelId="{66E40938-6C34-47FD-B792-4BEC9D41A30A}" type="pres">
      <dgm:prSet presAssocID="{4098A15D-6BE4-4258-B7C8-EC2A1354A4D6}" presName="level3hierChild" presStyleCnt="0"/>
      <dgm:spPr/>
    </dgm:pt>
    <dgm:pt modelId="{313DC26C-06DB-4098-B605-33485EFC9B29}" type="pres">
      <dgm:prSet presAssocID="{D937D902-C50B-4BEC-9C1F-D9880BCC701B}" presName="conn2-1" presStyleLbl="parChTrans1D3" presStyleIdx="6" presStyleCnt="10"/>
      <dgm:spPr/>
    </dgm:pt>
    <dgm:pt modelId="{30A455D9-9D31-498C-B006-B59A4D0FAC39}" type="pres">
      <dgm:prSet presAssocID="{D937D902-C50B-4BEC-9C1F-D9880BCC701B}" presName="connTx" presStyleLbl="parChTrans1D3" presStyleIdx="6" presStyleCnt="10"/>
      <dgm:spPr/>
    </dgm:pt>
    <dgm:pt modelId="{EB09E2DB-DC0B-4A48-BC00-788EB4BF2155}" type="pres">
      <dgm:prSet presAssocID="{CF5B8EE4-D285-4E9D-BBB6-5F2F77DD4689}" presName="root2" presStyleCnt="0"/>
      <dgm:spPr/>
    </dgm:pt>
    <dgm:pt modelId="{49B6876F-A108-4FF0-9A81-E34DBB9D0BD7}" type="pres">
      <dgm:prSet presAssocID="{CF5B8EE4-D285-4E9D-BBB6-5F2F77DD4689}" presName="LevelTwoTextNode" presStyleLbl="node3" presStyleIdx="6" presStyleCnt="10">
        <dgm:presLayoutVars>
          <dgm:chPref val="3"/>
        </dgm:presLayoutVars>
      </dgm:prSet>
      <dgm:spPr/>
    </dgm:pt>
    <dgm:pt modelId="{840A5199-0A8A-47C7-8B9A-920BC241225E}" type="pres">
      <dgm:prSet presAssocID="{CF5B8EE4-D285-4E9D-BBB6-5F2F77DD4689}" presName="level3hierChild" presStyleCnt="0"/>
      <dgm:spPr/>
    </dgm:pt>
    <dgm:pt modelId="{C4365B06-B9DB-4064-B93F-1043BD4B58B2}" type="pres">
      <dgm:prSet presAssocID="{8A26916C-03BF-4B0E-92AF-656A56CF8513}" presName="conn2-1" presStyleLbl="parChTrans1D2" presStyleIdx="2" presStyleCnt="3"/>
      <dgm:spPr/>
    </dgm:pt>
    <dgm:pt modelId="{0336C92A-933C-4B9A-8AAD-80A8DB51CB00}" type="pres">
      <dgm:prSet presAssocID="{8A26916C-03BF-4B0E-92AF-656A56CF8513}" presName="connTx" presStyleLbl="parChTrans1D2" presStyleIdx="2" presStyleCnt="3"/>
      <dgm:spPr/>
    </dgm:pt>
    <dgm:pt modelId="{1FB1112C-2171-4ECC-8EA0-911ADD3964A5}" type="pres">
      <dgm:prSet presAssocID="{C1D130BE-4BC5-481C-BADA-14A869727C0B}" presName="root2" presStyleCnt="0"/>
      <dgm:spPr/>
    </dgm:pt>
    <dgm:pt modelId="{B3E59FB2-885F-4B71-9DC5-B6F45C8017DE}" type="pres">
      <dgm:prSet presAssocID="{C1D130BE-4BC5-481C-BADA-14A869727C0B}" presName="LevelTwoTextNode" presStyleLbl="node2" presStyleIdx="2" presStyleCnt="3">
        <dgm:presLayoutVars>
          <dgm:chPref val="3"/>
        </dgm:presLayoutVars>
      </dgm:prSet>
      <dgm:spPr/>
    </dgm:pt>
    <dgm:pt modelId="{AF149B8F-23A2-48DF-9DB4-21319099B718}" type="pres">
      <dgm:prSet presAssocID="{C1D130BE-4BC5-481C-BADA-14A869727C0B}" presName="level3hierChild" presStyleCnt="0"/>
      <dgm:spPr/>
    </dgm:pt>
    <dgm:pt modelId="{60A0F5E7-D1D3-49F8-A254-CFFCBE54AAF0}" type="pres">
      <dgm:prSet presAssocID="{503510FB-9E52-432E-98AC-FEF28CA55F0D}" presName="conn2-1" presStyleLbl="parChTrans1D3" presStyleIdx="7" presStyleCnt="10"/>
      <dgm:spPr/>
    </dgm:pt>
    <dgm:pt modelId="{3325D373-008A-41E8-9EA1-B4B0FC90FCD2}" type="pres">
      <dgm:prSet presAssocID="{503510FB-9E52-432E-98AC-FEF28CA55F0D}" presName="connTx" presStyleLbl="parChTrans1D3" presStyleIdx="7" presStyleCnt="10"/>
      <dgm:spPr/>
    </dgm:pt>
    <dgm:pt modelId="{533688EB-FEF2-4244-B371-7A31A6275F9E}" type="pres">
      <dgm:prSet presAssocID="{CD6C8CAB-2DB8-4BEB-8794-D14E24B56239}" presName="root2" presStyleCnt="0"/>
      <dgm:spPr/>
    </dgm:pt>
    <dgm:pt modelId="{9E81B654-57F3-4178-8807-AB7AAC7BE08E}" type="pres">
      <dgm:prSet presAssocID="{CD6C8CAB-2DB8-4BEB-8794-D14E24B56239}" presName="LevelTwoTextNode" presStyleLbl="node3" presStyleIdx="7" presStyleCnt="10">
        <dgm:presLayoutVars>
          <dgm:chPref val="3"/>
        </dgm:presLayoutVars>
      </dgm:prSet>
      <dgm:spPr/>
    </dgm:pt>
    <dgm:pt modelId="{9EA1B074-9688-4BF6-BD3E-8C3B349784E8}" type="pres">
      <dgm:prSet presAssocID="{CD6C8CAB-2DB8-4BEB-8794-D14E24B56239}" presName="level3hierChild" presStyleCnt="0"/>
      <dgm:spPr/>
    </dgm:pt>
    <dgm:pt modelId="{1CD57466-73E5-43BB-AF51-980153E8039A}" type="pres">
      <dgm:prSet presAssocID="{B3C6A11E-10F5-433C-A0FB-1B185A7D12E0}" presName="conn2-1" presStyleLbl="parChTrans1D3" presStyleIdx="8" presStyleCnt="10"/>
      <dgm:spPr/>
    </dgm:pt>
    <dgm:pt modelId="{739E7D1A-06FA-43F4-82B6-C5B799BDD12A}" type="pres">
      <dgm:prSet presAssocID="{B3C6A11E-10F5-433C-A0FB-1B185A7D12E0}" presName="connTx" presStyleLbl="parChTrans1D3" presStyleIdx="8" presStyleCnt="10"/>
      <dgm:spPr/>
    </dgm:pt>
    <dgm:pt modelId="{08A18F09-5415-4D9A-A62E-8AA11F9AF3C4}" type="pres">
      <dgm:prSet presAssocID="{16945C89-930D-4764-8730-4F183F8B4C87}" presName="root2" presStyleCnt="0"/>
      <dgm:spPr/>
    </dgm:pt>
    <dgm:pt modelId="{0CCC40AA-D80B-4B90-9188-E5CA017E63B0}" type="pres">
      <dgm:prSet presAssocID="{16945C89-930D-4764-8730-4F183F8B4C87}" presName="LevelTwoTextNode" presStyleLbl="node3" presStyleIdx="8" presStyleCnt="10">
        <dgm:presLayoutVars>
          <dgm:chPref val="3"/>
        </dgm:presLayoutVars>
      </dgm:prSet>
      <dgm:spPr/>
    </dgm:pt>
    <dgm:pt modelId="{E40DD794-4E3C-4009-B357-94D69536E6F4}" type="pres">
      <dgm:prSet presAssocID="{16945C89-930D-4764-8730-4F183F8B4C87}" presName="level3hierChild" presStyleCnt="0"/>
      <dgm:spPr/>
    </dgm:pt>
    <dgm:pt modelId="{F9C34007-6CA8-4ABF-890A-47AA50B267EA}" type="pres">
      <dgm:prSet presAssocID="{858DE0EA-690E-49F0-9AFD-401C85E7FBB4}" presName="conn2-1" presStyleLbl="parChTrans1D3" presStyleIdx="9" presStyleCnt="10"/>
      <dgm:spPr/>
    </dgm:pt>
    <dgm:pt modelId="{D3331827-B92C-4419-96E8-793E8D653308}" type="pres">
      <dgm:prSet presAssocID="{858DE0EA-690E-49F0-9AFD-401C85E7FBB4}" presName="connTx" presStyleLbl="parChTrans1D3" presStyleIdx="9" presStyleCnt="10"/>
      <dgm:spPr/>
    </dgm:pt>
    <dgm:pt modelId="{9FBA0EDF-DFF1-4228-BD6C-29FFD841B413}" type="pres">
      <dgm:prSet presAssocID="{CA25E3C2-D53A-4DAC-A356-274163CFD791}" presName="root2" presStyleCnt="0"/>
      <dgm:spPr/>
    </dgm:pt>
    <dgm:pt modelId="{E51A201A-58C4-4839-BBF3-03A3D4BA1DE9}" type="pres">
      <dgm:prSet presAssocID="{CA25E3C2-D53A-4DAC-A356-274163CFD791}" presName="LevelTwoTextNode" presStyleLbl="node3" presStyleIdx="9" presStyleCnt="10">
        <dgm:presLayoutVars>
          <dgm:chPref val="3"/>
        </dgm:presLayoutVars>
      </dgm:prSet>
      <dgm:spPr/>
    </dgm:pt>
    <dgm:pt modelId="{E4E1A461-B02B-4354-8D34-5DF04939C4AC}" type="pres">
      <dgm:prSet presAssocID="{CA25E3C2-D53A-4DAC-A356-274163CFD791}" presName="level3hierChild" presStyleCnt="0"/>
      <dgm:spPr/>
    </dgm:pt>
  </dgm:ptLst>
  <dgm:cxnLst>
    <dgm:cxn modelId="{6A42BC00-DDC6-47EB-A1CB-E461CD9820FD}" type="presOf" srcId="{B3C6A11E-10F5-433C-A0FB-1B185A7D12E0}" destId="{739E7D1A-06FA-43F4-82B6-C5B799BDD12A}" srcOrd="1" destOrd="0" presId="urn:microsoft.com/office/officeart/2008/layout/HorizontalMultiLevelHierarchy"/>
    <dgm:cxn modelId="{2ED6F702-CE72-434F-A1BB-6BCE9E2DA2BA}" srcId="{434F1058-EF12-4590-BD43-496B2D33656A}" destId="{CF5B8EE4-D285-4E9D-BBB6-5F2F77DD4689}" srcOrd="1" destOrd="0" parTransId="{D937D902-C50B-4BEC-9C1F-D9880BCC701B}" sibTransId="{CADCD7D6-E889-4A66-B79B-3ACEEF43F075}"/>
    <dgm:cxn modelId="{35C72205-75AD-4836-A353-1A0A05F601B7}" type="presOf" srcId="{48CAF46E-7318-4269-B88D-4072C010818D}" destId="{571B8373-7DFF-4282-8AA6-80F7CC7EA7C8}" srcOrd="0" destOrd="0" presId="urn:microsoft.com/office/officeart/2008/layout/HorizontalMultiLevelHierarchy"/>
    <dgm:cxn modelId="{B8419706-D293-44F8-A5BF-071DA501D1C3}" type="presOf" srcId="{8ACEFE3D-DAAE-46D2-BF29-AF7B5FBB783D}" destId="{FCADF10C-D51C-403A-B095-E884F4771DA4}" srcOrd="1" destOrd="0" presId="urn:microsoft.com/office/officeart/2008/layout/HorizontalMultiLevelHierarchy"/>
    <dgm:cxn modelId="{A112C106-B21E-4F95-89F7-0D3BEDCA1632}" type="presOf" srcId="{0F1B911F-6353-4AE6-9EEF-D49625DE905E}" destId="{9458E52A-38CE-4EE6-A620-F703970B8164}" srcOrd="0" destOrd="0" presId="urn:microsoft.com/office/officeart/2008/layout/HorizontalMultiLevelHierarchy"/>
    <dgm:cxn modelId="{8446A509-270F-4D3B-89EF-435B1D412BDB}" type="presOf" srcId="{D937D902-C50B-4BEC-9C1F-D9880BCC701B}" destId="{313DC26C-06DB-4098-B605-33485EFC9B29}" srcOrd="0" destOrd="0" presId="urn:microsoft.com/office/officeart/2008/layout/HorizontalMultiLevelHierarchy"/>
    <dgm:cxn modelId="{F0DA410D-39AE-4CDE-A96D-4DBCFC233C7C}" type="presOf" srcId="{87CDD4F3-E71F-44A9-B515-E47672A849B6}" destId="{27874C32-AAAE-43E2-B803-B20B1E2D7450}" srcOrd="1" destOrd="0" presId="urn:microsoft.com/office/officeart/2008/layout/HorizontalMultiLevelHierarchy"/>
    <dgm:cxn modelId="{49027C13-60C7-4577-8E0D-34D35F65F784}" type="presOf" srcId="{16945C89-930D-4764-8730-4F183F8B4C87}" destId="{0CCC40AA-D80B-4B90-9188-E5CA017E63B0}" srcOrd="0" destOrd="0" presId="urn:microsoft.com/office/officeart/2008/layout/HorizontalMultiLevelHierarchy"/>
    <dgm:cxn modelId="{CDA45815-1784-47A7-87EB-A18294F174A6}" type="presOf" srcId="{CD6C8CAB-2DB8-4BEB-8794-D14E24B56239}" destId="{9E81B654-57F3-4178-8807-AB7AAC7BE08E}" srcOrd="0" destOrd="0" presId="urn:microsoft.com/office/officeart/2008/layout/HorizontalMultiLevelHierarchy"/>
    <dgm:cxn modelId="{FEC8D416-8216-4562-8549-24473B803C80}" srcId="{49A0BB83-CEA0-46AB-9D0B-B65F612AEE4A}" destId="{E0EC0A27-9EDB-47A4-8DED-CBD1A61B9BC9}" srcOrd="0" destOrd="0" parTransId="{42F96A8F-BB1E-4B89-AB8E-11A0F37EB1DB}" sibTransId="{C6050D19-3AE0-4870-8460-7297D5C8A50F}"/>
    <dgm:cxn modelId="{5782D41D-ECEA-499F-9D26-91E863B791BE}" type="presOf" srcId="{DA62F256-25CF-4854-BFCD-F90F70E5F8D4}" destId="{48D9A2E1-2598-4B00-AD73-86E6047DFB3F}" srcOrd="1" destOrd="0" presId="urn:microsoft.com/office/officeart/2008/layout/HorizontalMultiLevelHierarchy"/>
    <dgm:cxn modelId="{2F95D722-3985-45E4-9E5F-0F15FC8C1680}" type="presOf" srcId="{CF5B8EE4-D285-4E9D-BBB6-5F2F77DD4689}" destId="{49B6876F-A108-4FF0-9A81-E34DBB9D0BD7}" srcOrd="0" destOrd="0" presId="urn:microsoft.com/office/officeart/2008/layout/HorizontalMultiLevelHierarchy"/>
    <dgm:cxn modelId="{64FF5A2C-981D-4E3B-9D13-47B3852BF3E9}" type="presOf" srcId="{BB72E3E4-7E20-4FF3-87BE-AD24CB2F12EE}" destId="{6DCFD290-34D5-45FC-84C5-03B4A3AFAD52}" srcOrd="1" destOrd="0" presId="urn:microsoft.com/office/officeart/2008/layout/HorizontalMultiLevelHierarchy"/>
    <dgm:cxn modelId="{75353E2D-D5F4-4C4B-8BFF-3A25A17EC9FB}" srcId="{BF1B7062-91AB-4F1D-BD08-8D3EC4B33C1F}" destId="{48CAF46E-7318-4269-B88D-4072C010818D}" srcOrd="1" destOrd="0" parTransId="{81CB6F6D-48DA-416D-9426-0B6E4B5AD737}" sibTransId="{D0BFACD0-8F45-4F8C-9779-0AF1AE559907}"/>
    <dgm:cxn modelId="{0E885231-05A1-4118-83D8-9F076DDBEA1A}" type="presOf" srcId="{C7C06085-9DF0-469C-90B3-434C5E418A6D}" destId="{6D05A90F-5A8D-42F9-A2CB-82F28C0FF2BC}" srcOrd="0" destOrd="0" presId="urn:microsoft.com/office/officeart/2008/layout/HorizontalMultiLevelHierarchy"/>
    <dgm:cxn modelId="{5B99DD31-B3E6-465C-A8DB-0DF740AA5D7A}" srcId="{C1D130BE-4BC5-481C-BADA-14A869727C0B}" destId="{CA25E3C2-D53A-4DAC-A356-274163CFD791}" srcOrd="2" destOrd="0" parTransId="{858DE0EA-690E-49F0-9AFD-401C85E7FBB4}" sibTransId="{2D56470D-3197-4A03-90FE-5A65A52F7EFB}"/>
    <dgm:cxn modelId="{9486E231-E761-415A-A46A-B222DD3C9A89}" srcId="{96C9D5F4-FF4F-420D-8420-A926E166D7A2}" destId="{D0997319-AE2C-4C46-ADCB-BA43BE3F3F54}" srcOrd="0" destOrd="0" parTransId="{EDD69CBB-FC0D-413C-A203-D32C53DEA1CA}" sibTransId="{E975384C-827E-414A-AEB5-7C3391463B49}"/>
    <dgm:cxn modelId="{1222A638-0CF4-4D66-8E42-7794D8449649}" type="presOf" srcId="{3EC8FF9E-3113-473A-A5E5-ABD9C5F94794}" destId="{84D7F889-3498-48D8-ADC3-14251347C81B}" srcOrd="0" destOrd="0" presId="urn:microsoft.com/office/officeart/2008/layout/HorizontalMultiLevelHierarchy"/>
    <dgm:cxn modelId="{23DAEE42-3C32-4C83-A2A3-106A8D737507}" type="presOf" srcId="{AE65C2BF-225F-4643-AE59-9457E6820B24}" destId="{0C497864-2349-44C5-8D11-5F89748F0519}" srcOrd="1" destOrd="0" presId="urn:microsoft.com/office/officeart/2008/layout/HorizontalMultiLevelHierarchy"/>
    <dgm:cxn modelId="{0BE45343-E5ED-46E6-9E17-DA36296E3029}" srcId="{8E70AA8F-7583-4AFE-9EDE-87363894E1F8}" destId="{86A07196-5E8B-49B8-84A4-6DF135FCBFFC}" srcOrd="4" destOrd="0" parTransId="{D0F076D3-591F-4547-A436-4947EC5EA385}" sibTransId="{4B4DC438-D558-40CF-9151-49154A83FB16}"/>
    <dgm:cxn modelId="{3CE2794B-F419-4F40-BA80-F7E4E9B8CF58}" type="presOf" srcId="{0F1B911F-6353-4AE6-9EEF-D49625DE905E}" destId="{32DEAE14-947F-44E2-8D61-C101875AB07D}" srcOrd="1" destOrd="0" presId="urn:microsoft.com/office/officeart/2008/layout/HorizontalMultiLevelHierarchy"/>
    <dgm:cxn modelId="{41B7B24E-5BA1-4B2B-AC96-EBF5A4A1F03B}" type="presOf" srcId="{2C61C4AB-FC34-4364-9323-4A9D6350BA1C}" destId="{460E764F-BDF5-4D22-9B4D-16DC71F64CAC}" srcOrd="0" destOrd="0" presId="urn:microsoft.com/office/officeart/2008/layout/HorizontalMultiLevelHierarchy"/>
    <dgm:cxn modelId="{AA3E744F-10BA-4479-AF01-972C59BF3BCF}" type="presOf" srcId="{B164CB56-71EE-412E-A3A2-1509A3B08E05}" destId="{BE328E0A-C287-4B1A-BD90-C0F3098FFCD9}" srcOrd="0" destOrd="0" presId="urn:microsoft.com/office/officeart/2008/layout/HorizontalMultiLevelHierarchy"/>
    <dgm:cxn modelId="{464F8353-3A6D-43D6-B358-7ECC4F51C0BF}" type="presOf" srcId="{D0997319-AE2C-4C46-ADCB-BA43BE3F3F54}" destId="{DCF5B4EF-DE4F-4292-A3B2-724C163A44AB}" srcOrd="0" destOrd="0" presId="urn:microsoft.com/office/officeart/2008/layout/HorizontalMultiLevelHierarchy"/>
    <dgm:cxn modelId="{1A99FB53-EFA6-4851-937B-0604F7806F2F}" type="presOf" srcId="{434F1058-EF12-4590-BD43-496B2D33656A}" destId="{E077FA3E-A654-4D27-8616-5CDDA43F8AF6}" srcOrd="0" destOrd="0" presId="urn:microsoft.com/office/officeart/2008/layout/HorizontalMultiLevelHierarchy"/>
    <dgm:cxn modelId="{70378754-45CA-4C66-B5D5-B9C9C4EF8226}" type="presOf" srcId="{81CB6F6D-48DA-416D-9426-0B6E4B5AD737}" destId="{FD15021D-62B7-4A46-932A-654E778DB44B}" srcOrd="1" destOrd="0" presId="urn:microsoft.com/office/officeart/2008/layout/HorizontalMultiLevelHierarchy"/>
    <dgm:cxn modelId="{288CF456-3237-4FF7-BD86-048D8CA5EABD}" type="presOf" srcId="{17815460-B569-463A-BACE-734F709F874A}" destId="{CD37291B-5548-4F1B-8F2F-200AE5B0DCAE}" srcOrd="0" destOrd="0" presId="urn:microsoft.com/office/officeart/2008/layout/HorizontalMultiLevelHierarchy"/>
    <dgm:cxn modelId="{707B8E58-ABA5-4C9A-AFCF-298CB05D08DA}" srcId="{D0997319-AE2C-4C46-ADCB-BA43BE3F3F54}" destId="{8E70AA8F-7583-4AFE-9EDE-87363894E1F8}" srcOrd="0" destOrd="0" parTransId="{B164CB56-71EE-412E-A3A2-1509A3B08E05}" sibTransId="{50009256-33DA-4FAC-A050-2DE70DDCC26C}"/>
    <dgm:cxn modelId="{79AF8559-F7CD-44EF-8C13-1146412076CF}" type="presOf" srcId="{2C61C4AB-FC34-4364-9323-4A9D6350BA1C}" destId="{D2085E56-A00C-4E27-A4A7-A2743FEDF1B5}" srcOrd="1" destOrd="0" presId="urn:microsoft.com/office/officeart/2008/layout/HorizontalMultiLevelHierarchy"/>
    <dgm:cxn modelId="{BFB4B55A-7A59-4107-BBB3-3FFB27350CDD}" type="presOf" srcId="{8A26916C-03BF-4B0E-92AF-656A56CF8513}" destId="{C4365B06-B9DB-4064-B93F-1043BD4B58B2}" srcOrd="0" destOrd="0" presId="urn:microsoft.com/office/officeart/2008/layout/HorizontalMultiLevelHierarchy"/>
    <dgm:cxn modelId="{4C6F195C-0214-4CDA-A612-7D5235F062E8}" type="presOf" srcId="{DAFF3CB8-4780-4F42-8F5A-A2879CF5C5A6}" destId="{485D5E8B-1295-4B72-BF14-74B2BE7008EE}" srcOrd="0" destOrd="0" presId="urn:microsoft.com/office/officeart/2008/layout/HorizontalMultiLevelHierarchy"/>
    <dgm:cxn modelId="{3868705D-EADE-4179-913C-220656615F3B}" type="presOf" srcId="{CA25E3C2-D53A-4DAC-A356-274163CFD791}" destId="{E51A201A-58C4-4839-BBF3-03A3D4BA1DE9}" srcOrd="0" destOrd="0" presId="urn:microsoft.com/office/officeart/2008/layout/HorizontalMultiLevelHierarchy"/>
    <dgm:cxn modelId="{D6FED260-3C13-4D81-9786-0CA49E676F94}" type="presOf" srcId="{524ED0C4-9CC2-4C2A-B51C-974FA37A7FE7}" destId="{D9EA4352-69AB-4BEF-A3B8-25557C0E3D3D}" srcOrd="1" destOrd="0" presId="urn:microsoft.com/office/officeart/2008/layout/HorizontalMultiLevelHierarchy"/>
    <dgm:cxn modelId="{3679B762-699A-4AEB-956B-62A58B7F1948}" type="presOf" srcId="{23EDCDD5-F170-402F-A11E-15FD466C3CE5}" destId="{79D3B186-92E5-40C6-A995-4173A00C788D}" srcOrd="1" destOrd="0" presId="urn:microsoft.com/office/officeart/2008/layout/HorizontalMultiLevelHierarchy"/>
    <dgm:cxn modelId="{65A1D062-D707-4E05-848F-D1FC7D22343D}" type="presOf" srcId="{C1D130BE-4BC5-481C-BADA-14A869727C0B}" destId="{B3E59FB2-885F-4B71-9DC5-B6F45C8017DE}" srcOrd="0" destOrd="0" presId="urn:microsoft.com/office/officeart/2008/layout/HorizontalMultiLevelHierarchy"/>
    <dgm:cxn modelId="{218D7769-246E-4C78-8637-1FABBE9AA235}" type="presOf" srcId="{B164CB56-71EE-412E-A3A2-1509A3B08E05}" destId="{1EB559E9-DB95-4028-B960-01A592B99E92}" srcOrd="1" destOrd="0" presId="urn:microsoft.com/office/officeart/2008/layout/HorizontalMultiLevelHierarchy"/>
    <dgm:cxn modelId="{725FF76C-97C7-4E96-9DF4-060D491C229B}" type="presOf" srcId="{2FAED816-5ABD-44B8-9175-AD4921C3FE98}" destId="{43996E1E-6F52-4F8E-9F4B-77A56824C63C}" srcOrd="0" destOrd="0" presId="urn:microsoft.com/office/officeart/2008/layout/HorizontalMultiLevelHierarchy"/>
    <dgm:cxn modelId="{08C6FF6E-ED40-443D-B75C-6827A78AAE2F}" srcId="{C1D130BE-4BC5-481C-BADA-14A869727C0B}" destId="{CD6C8CAB-2DB8-4BEB-8794-D14E24B56239}" srcOrd="0" destOrd="0" parTransId="{503510FB-9E52-432E-98AC-FEF28CA55F0D}" sibTransId="{F6688289-1E3B-4C81-B097-4BC4F02DEEB1}"/>
    <dgm:cxn modelId="{59E12470-60E7-402D-AB70-780B62F88FFE}" type="presOf" srcId="{49A0BB83-CEA0-46AB-9D0B-B65F612AEE4A}" destId="{DC0B28EB-699E-45BB-87EC-30E574E72821}" srcOrd="0" destOrd="0" presId="urn:microsoft.com/office/officeart/2008/layout/HorizontalMultiLevelHierarchy"/>
    <dgm:cxn modelId="{4DFC2371-3525-4748-BBE7-8447590D404A}" type="presOf" srcId="{D0F076D3-591F-4547-A436-4947EC5EA385}" destId="{690E36EE-5895-4B91-A347-3380A5FE5255}" srcOrd="0" destOrd="0" presId="urn:microsoft.com/office/officeart/2008/layout/HorizontalMultiLevelHierarchy"/>
    <dgm:cxn modelId="{C6747171-AE68-4AE9-8919-6A36E0ACE2B0}" type="presOf" srcId="{81CB6F6D-48DA-416D-9426-0B6E4B5AD737}" destId="{8F0AA0AA-EF8D-43DE-82C5-2D7BFD08315F}" srcOrd="0" destOrd="0" presId="urn:microsoft.com/office/officeart/2008/layout/HorizontalMultiLevelHierarchy"/>
    <dgm:cxn modelId="{91124872-9F74-41C7-8C6A-D035370CD04A}" type="presOf" srcId="{858DE0EA-690E-49F0-9AFD-401C85E7FBB4}" destId="{F9C34007-6CA8-4ABF-890A-47AA50B267EA}" srcOrd="0" destOrd="0" presId="urn:microsoft.com/office/officeart/2008/layout/HorizontalMultiLevelHierarchy"/>
    <dgm:cxn modelId="{63723176-B8DC-4E93-B229-28FB65F16FAA}" type="presOf" srcId="{AE65C2BF-225F-4643-AE59-9457E6820B24}" destId="{5BC2DE1D-C4D7-4BFC-A0C1-3D282DC024CD}" srcOrd="0" destOrd="0" presId="urn:microsoft.com/office/officeart/2008/layout/HorizontalMultiLevelHierarchy"/>
    <dgm:cxn modelId="{AD49A77D-FFEC-46F9-AE75-9324F1652A36}" type="presOf" srcId="{4D897679-FA7C-48A2-A57F-5D0431886FF7}" destId="{F8A94DA1-2081-4A8B-816C-A9F98C2853F5}" srcOrd="0" destOrd="0" presId="urn:microsoft.com/office/officeart/2008/layout/HorizontalMultiLevelHierarchy"/>
    <dgm:cxn modelId="{21D8E081-3F51-4864-8D5D-F1BA8CEC852F}" srcId="{434F1058-EF12-4590-BD43-496B2D33656A}" destId="{4098A15D-6BE4-4258-B7C8-EC2A1354A4D6}" srcOrd="0" destOrd="0" parTransId="{DA62F256-25CF-4854-BFCD-F90F70E5F8D4}" sibTransId="{E1090322-3287-4D3C-A158-E43939F1FA7E}"/>
    <dgm:cxn modelId="{13B4BA82-E7EF-4FB5-98C9-D814F66B4BEF}" type="presOf" srcId="{ADED253C-6A2E-4631-B1D4-F5E1FE2B5B55}" destId="{9E59A063-5821-4E2B-8FD8-3EBA8922B98E}" srcOrd="0" destOrd="0" presId="urn:microsoft.com/office/officeart/2008/layout/HorizontalMultiLevelHierarchy"/>
    <dgm:cxn modelId="{93C58A86-3E38-4D08-BAE0-11418B22C1DB}" type="presOf" srcId="{8ACEFE3D-DAAE-46D2-BF29-AF7B5FBB783D}" destId="{A00DE1AA-92DF-4607-98DB-1C3BB048DCF5}" srcOrd="0" destOrd="0" presId="urn:microsoft.com/office/officeart/2008/layout/HorizontalMultiLevelHierarchy"/>
    <dgm:cxn modelId="{0B448A87-44AF-4367-8785-F0AC108ED2DD}" type="presOf" srcId="{4098A15D-6BE4-4258-B7C8-EC2A1354A4D6}" destId="{768C7647-12EF-40E9-94EB-C1868C4AFE59}" srcOrd="0" destOrd="0" presId="urn:microsoft.com/office/officeart/2008/layout/HorizontalMultiLevelHierarchy"/>
    <dgm:cxn modelId="{605CDB89-2698-4157-8E1F-4D6677C6D46F}" type="presOf" srcId="{4DA8AE24-A75C-40AE-A6A1-13FE57AE449D}" destId="{A732D3F1-1291-409E-9A7C-778CAE167F89}" srcOrd="0" destOrd="0" presId="urn:microsoft.com/office/officeart/2008/layout/HorizontalMultiLevelHierarchy"/>
    <dgm:cxn modelId="{82D60E8A-40D3-49BC-895D-3DAB17D8AD62}" type="presOf" srcId="{96C9D5F4-FF4F-420D-8420-A926E166D7A2}" destId="{50C4D88C-9CB0-4513-8456-755395491158}" srcOrd="0" destOrd="0" presId="urn:microsoft.com/office/officeart/2008/layout/HorizontalMultiLevelHierarchy"/>
    <dgm:cxn modelId="{EB6A4F8B-0076-4AA0-A81D-3E41E4C53187}" type="presOf" srcId="{8A26916C-03BF-4B0E-92AF-656A56CF8513}" destId="{0336C92A-933C-4B9A-8AAD-80A8DB51CB00}" srcOrd="1" destOrd="0" presId="urn:microsoft.com/office/officeart/2008/layout/HorizontalMultiLevelHierarchy"/>
    <dgm:cxn modelId="{4BDF838B-A489-4DE6-9003-7CF5CCBF8353}" srcId="{8E70AA8F-7583-4AFE-9EDE-87363894E1F8}" destId="{2FAED816-5ABD-44B8-9175-AD4921C3FE98}" srcOrd="3" destOrd="0" parTransId="{2C61C4AB-FC34-4364-9323-4A9D6350BA1C}" sibTransId="{4827AEAC-F6B1-4792-BB11-A609080D91CA}"/>
    <dgm:cxn modelId="{C77F5C8D-F4DE-4573-9FDE-EBB2F5F469F1}" type="presOf" srcId="{D0F076D3-591F-4547-A436-4947EC5EA385}" destId="{ADBE13F2-10FA-4B06-99C7-09C6712A7646}" srcOrd="1" destOrd="0" presId="urn:microsoft.com/office/officeart/2008/layout/HorizontalMultiLevelHierarchy"/>
    <dgm:cxn modelId="{C3BFF295-2D54-481B-947E-4480284A189F}" type="presOf" srcId="{31BDA904-A9EF-437C-9DAF-E5BDF8C1106E}" destId="{FAF45787-F807-4BB6-923D-0C0E2CD8C149}" srcOrd="0" destOrd="0" presId="urn:microsoft.com/office/officeart/2008/layout/HorizontalMultiLevelHierarchy"/>
    <dgm:cxn modelId="{99BBE096-3DF3-4255-89AC-24F727FF2F6A}" type="presOf" srcId="{42F96A8F-BB1E-4B89-AB8E-11A0F37EB1DB}" destId="{7F2C676C-E906-4B26-892E-C728B9239429}" srcOrd="0" destOrd="0" presId="urn:microsoft.com/office/officeart/2008/layout/HorizontalMultiLevelHierarchy"/>
    <dgm:cxn modelId="{3661A398-6699-493C-A604-957A73E01291}" type="presOf" srcId="{17815460-B569-463A-BACE-734F709F874A}" destId="{D4121B60-61D6-41A4-AAB9-DE9671C8ED2F}" srcOrd="1" destOrd="0" presId="urn:microsoft.com/office/officeart/2008/layout/HorizontalMultiLevelHierarchy"/>
    <dgm:cxn modelId="{3334C099-BCC2-4024-88CF-D77B492D91C8}" type="presOf" srcId="{BB72E3E4-7E20-4FF3-87BE-AD24CB2F12EE}" destId="{A4E05C94-2209-4BF4-B627-606397BBC1C5}" srcOrd="0" destOrd="0" presId="urn:microsoft.com/office/officeart/2008/layout/HorizontalMultiLevelHierarchy"/>
    <dgm:cxn modelId="{FA7F7B9B-BCD6-48E4-84B7-A00266E14053}" type="presOf" srcId="{B3C6A11E-10F5-433C-A0FB-1B185A7D12E0}" destId="{1CD57466-73E5-43BB-AF51-980153E8039A}" srcOrd="0" destOrd="0" presId="urn:microsoft.com/office/officeart/2008/layout/HorizontalMultiLevelHierarchy"/>
    <dgm:cxn modelId="{E07BE79E-7865-47DB-84AF-7F7057F85761}" type="presOf" srcId="{8E70AA8F-7583-4AFE-9EDE-87363894E1F8}" destId="{49ADAAAB-354D-4968-9DE9-378E6595E5BB}" srcOrd="0" destOrd="0" presId="urn:microsoft.com/office/officeart/2008/layout/HorizontalMultiLevelHierarchy"/>
    <dgm:cxn modelId="{9E137BA1-2E21-43A2-A338-650B162A3662}" srcId="{D0997319-AE2C-4C46-ADCB-BA43BE3F3F54}" destId="{434F1058-EF12-4590-BD43-496B2D33656A}" srcOrd="1" destOrd="0" parTransId="{17815460-B569-463A-BACE-734F709F874A}" sibTransId="{BC8F1DC2-66B6-4B6F-BD02-84C41DB8AF5C}"/>
    <dgm:cxn modelId="{C996C3A8-B8F4-411F-B641-37F469185B57}" type="presOf" srcId="{524ED0C4-9CC2-4C2A-B51C-974FA37A7FE7}" destId="{C5F46441-018D-4AD0-9984-278FB6B3653F}" srcOrd="0" destOrd="0" presId="urn:microsoft.com/office/officeart/2008/layout/HorizontalMultiLevelHierarchy"/>
    <dgm:cxn modelId="{449FB1AA-FE60-423F-AD7C-959A05592410}" type="presOf" srcId="{858DE0EA-690E-49F0-9AFD-401C85E7FBB4}" destId="{D3331827-B92C-4419-96E8-793E8D653308}" srcOrd="1" destOrd="0" presId="urn:microsoft.com/office/officeart/2008/layout/HorizontalMultiLevelHierarchy"/>
    <dgm:cxn modelId="{00DC05AB-0E87-4D69-9934-9D14BE1C2731}" type="presOf" srcId="{503510FB-9E52-432E-98AC-FEF28CA55F0D}" destId="{60A0F5E7-D1D3-49F8-A254-CFFCBE54AAF0}" srcOrd="0" destOrd="0" presId="urn:microsoft.com/office/officeart/2008/layout/HorizontalMultiLevelHierarchy"/>
    <dgm:cxn modelId="{540F67B5-7CE8-4325-88C3-2ECA7ED151B5}" type="presOf" srcId="{E0EC0A27-9EDB-47A4-8DED-CBD1A61B9BC9}" destId="{81473451-3FF3-474B-98FB-6869E5682468}" srcOrd="0" destOrd="0" presId="urn:microsoft.com/office/officeart/2008/layout/HorizontalMultiLevelHierarchy"/>
    <dgm:cxn modelId="{7DC022B6-EC7E-4248-8376-A4A4C0054F1A}" type="presOf" srcId="{503510FB-9E52-432E-98AC-FEF28CA55F0D}" destId="{3325D373-008A-41E8-9EA1-B4B0FC90FCD2}" srcOrd="1" destOrd="0" presId="urn:microsoft.com/office/officeart/2008/layout/HorizontalMultiLevelHierarchy"/>
    <dgm:cxn modelId="{5EE5F9B8-E535-490A-81D6-FE6068C5F94F}" type="presOf" srcId="{86A07196-5E8B-49B8-84A4-6DF135FCBFFC}" destId="{6E154881-954A-429F-9BBE-E92EEB4B1011}" srcOrd="0" destOrd="0" presId="urn:microsoft.com/office/officeart/2008/layout/HorizontalMultiLevelHierarchy"/>
    <dgm:cxn modelId="{21BC0ABF-D33B-4704-99A0-AC6C60960517}" type="presOf" srcId="{87CDD4F3-E71F-44A9-B515-E47672A849B6}" destId="{329CD9E0-9945-40C9-89A5-5929AA1A3A82}" srcOrd="0" destOrd="0" presId="urn:microsoft.com/office/officeart/2008/layout/HorizontalMultiLevelHierarchy"/>
    <dgm:cxn modelId="{626342BF-3559-4137-A851-ACB1710B13E3}" srcId="{8E70AA8F-7583-4AFE-9EDE-87363894E1F8}" destId="{BF1B7062-91AB-4F1D-BD08-8D3EC4B33C1F}" srcOrd="0" destOrd="0" parTransId="{8ACEFE3D-DAAE-46D2-BF29-AF7B5FBB783D}" sibTransId="{0FF6A2D2-189B-4085-A91C-E4641E47ACCE}"/>
    <dgm:cxn modelId="{221AD8BF-6539-43E4-9EB1-23AF138D0EE2}" srcId="{D0997319-AE2C-4C46-ADCB-BA43BE3F3F54}" destId="{C1D130BE-4BC5-481C-BADA-14A869727C0B}" srcOrd="2" destOrd="0" parTransId="{8A26916C-03BF-4B0E-92AF-656A56CF8513}" sibTransId="{4F4BE6FE-AE34-4934-8B0D-8FDF04C5765F}"/>
    <dgm:cxn modelId="{25BD37C3-2196-49F3-AD2A-B163574CADC5}" type="presOf" srcId="{42F96A8F-BB1E-4B89-AB8E-11A0F37EB1DB}" destId="{F614A676-E312-4A6F-BE9F-B6E2993177B6}" srcOrd="1" destOrd="0" presId="urn:microsoft.com/office/officeart/2008/layout/HorizontalMultiLevelHierarchy"/>
    <dgm:cxn modelId="{06533EC6-3B33-4FE2-B092-DBD1E23AB973}" type="presOf" srcId="{2DCC687C-BE9B-4DD8-8A80-E970635437CA}" destId="{2B4072C3-2623-4EA4-94B7-025A9DCD72E9}" srcOrd="0" destOrd="0" presId="urn:microsoft.com/office/officeart/2008/layout/HorizontalMultiLevelHierarchy"/>
    <dgm:cxn modelId="{0419F4C6-C72F-44E5-856A-7A5E20A609B0}" srcId="{8E70AA8F-7583-4AFE-9EDE-87363894E1F8}" destId="{49A0BB83-CEA0-46AB-9D0B-B65F612AEE4A}" srcOrd="1" destOrd="0" parTransId="{AE65C2BF-225F-4643-AE59-9457E6820B24}" sibTransId="{2328B74F-4929-49C4-A401-C9585D838753}"/>
    <dgm:cxn modelId="{FA31A5C7-F378-42C8-A9AD-F864553E6C8E}" type="presOf" srcId="{23EDCDD5-F170-402F-A11E-15FD466C3CE5}" destId="{709C936E-7E65-4B5A-AC40-4548A25152AC}" srcOrd="0" destOrd="0" presId="urn:microsoft.com/office/officeart/2008/layout/HorizontalMultiLevelHierarchy"/>
    <dgm:cxn modelId="{19B9B5C9-B669-4991-9912-383473355532}" type="presOf" srcId="{33587DE4-8F92-4CA4-A011-892138D47DA7}" destId="{8F47A465-73D6-48E5-83FD-F149301C3BBD}" srcOrd="0" destOrd="0" presId="urn:microsoft.com/office/officeart/2008/layout/HorizontalMultiLevelHierarchy"/>
    <dgm:cxn modelId="{587DEAC9-60C3-45DB-9C9F-C26256D35C0F}" srcId="{C1D130BE-4BC5-481C-BADA-14A869727C0B}" destId="{16945C89-930D-4764-8730-4F183F8B4C87}" srcOrd="1" destOrd="0" parTransId="{B3C6A11E-10F5-433C-A0FB-1B185A7D12E0}" sibTransId="{5C8BCF49-4277-47C2-9543-A10467E88E20}"/>
    <dgm:cxn modelId="{EDD069CE-E724-4C0A-92C6-2204B289CF24}" type="presOf" srcId="{DA62F256-25CF-4854-BFCD-F90F70E5F8D4}" destId="{037062E2-BE96-4A8B-9D2F-1FA0857207C1}" srcOrd="0" destOrd="0" presId="urn:microsoft.com/office/officeart/2008/layout/HorizontalMultiLevelHierarchy"/>
    <dgm:cxn modelId="{46C105CF-449F-4F1C-B399-CE70EC74C4C8}" srcId="{BF1B7062-91AB-4F1D-BD08-8D3EC4B33C1F}" destId="{D11BAA21-3D0E-4BFE-97F1-F349F96BB7F2}" srcOrd="3" destOrd="0" parTransId="{524ED0C4-9CC2-4C2A-B51C-974FA37A7FE7}" sibTransId="{632B7E11-8BCB-44BB-80A1-C58DA59BDECF}"/>
    <dgm:cxn modelId="{4A7380CF-8162-4F2E-9F90-B51642631E94}" srcId="{49A0BB83-CEA0-46AB-9D0B-B65F612AEE4A}" destId="{C1F68F19-94EA-4970-A79B-863E823848E5}" srcOrd="2" destOrd="0" parTransId="{0F1B911F-6353-4AE6-9EEF-D49625DE905E}" sibTransId="{60DB14D8-838D-4A63-A334-C12EB1C7625D}"/>
    <dgm:cxn modelId="{983AD7DE-4E8D-496F-BCB8-C95CB034A01D}" type="presOf" srcId="{C7C06085-9DF0-469C-90B3-434C5E418A6D}" destId="{799FD5E4-5D76-4338-BDA8-9F7F790A3A29}" srcOrd="1" destOrd="0" presId="urn:microsoft.com/office/officeart/2008/layout/HorizontalMultiLevelHierarchy"/>
    <dgm:cxn modelId="{C5BE0DE1-3793-4C23-A900-78112F2919D4}" srcId="{8E70AA8F-7583-4AFE-9EDE-87363894E1F8}" destId="{DAFF3CB8-4780-4F42-8F5A-A2879CF5C5A6}" srcOrd="2" destOrd="0" parTransId="{BB72E3E4-7E20-4FF3-87BE-AD24CB2F12EE}" sibTransId="{1E1C3655-4299-4282-B808-C53E3FABF68D}"/>
    <dgm:cxn modelId="{32BA70E3-2B88-4E2B-9094-EE86858857DA}" srcId="{BF1B7062-91AB-4F1D-BD08-8D3EC4B33C1F}" destId="{33587DE4-8F92-4CA4-A011-892138D47DA7}" srcOrd="4" destOrd="0" parTransId="{31BDA904-A9EF-437C-9DAF-E5BDF8C1106E}" sibTransId="{359CEDC3-C134-4529-AEBB-BBDE1EA7D255}"/>
    <dgm:cxn modelId="{870D94E8-9751-454A-BABA-EA45EF84CC1C}" type="presOf" srcId="{C1F68F19-94EA-4970-A79B-863E823848E5}" destId="{42C465EB-33D9-4AD2-A33B-930C8E39ED41}" srcOrd="0" destOrd="0" presId="urn:microsoft.com/office/officeart/2008/layout/HorizontalMultiLevelHierarchy"/>
    <dgm:cxn modelId="{B7674FEE-4F81-43E5-A853-47CF1B66D2AD}" type="presOf" srcId="{BF1B7062-91AB-4F1D-BD08-8D3EC4B33C1F}" destId="{F9F18759-F577-4686-9C34-EB964D732C77}" srcOrd="0" destOrd="0" presId="urn:microsoft.com/office/officeart/2008/layout/HorizontalMultiLevelHierarchy"/>
    <dgm:cxn modelId="{8D6DF9EE-A2D8-412C-887B-0C054D51DFA0}" type="presOf" srcId="{2DCC687C-BE9B-4DD8-8A80-E970635437CA}" destId="{7260B369-A7E2-44EA-98FE-B408D79B13A6}" srcOrd="1" destOrd="0" presId="urn:microsoft.com/office/officeart/2008/layout/HorizontalMultiLevelHierarchy"/>
    <dgm:cxn modelId="{7CDA6FEF-3872-4337-84FA-0DD423E0FBC5}" srcId="{BF1B7062-91AB-4F1D-BD08-8D3EC4B33C1F}" destId="{ADED253C-6A2E-4631-B1D4-F5E1FE2B5B55}" srcOrd="2" destOrd="0" parTransId="{23EDCDD5-F170-402F-A11E-15FD466C3CE5}" sibTransId="{074D77D4-B07D-447C-B97C-356C65F95759}"/>
    <dgm:cxn modelId="{F4D4E3EF-4C7A-4DD4-B693-2A68087757F8}" srcId="{49A0BB83-CEA0-46AB-9D0B-B65F612AEE4A}" destId="{4DA8AE24-A75C-40AE-A6A1-13FE57AE449D}" srcOrd="1" destOrd="0" parTransId="{2DCC687C-BE9B-4DD8-8A80-E970635437CA}" sibTransId="{DF4C3ABC-A688-4048-91A3-DFE9CE606182}"/>
    <dgm:cxn modelId="{0A8FCBF8-AD1F-4CF4-8568-2F5CBABA5157}" srcId="{49A0BB83-CEA0-46AB-9D0B-B65F612AEE4A}" destId="{3EC8FF9E-3113-473A-A5E5-ABD9C5F94794}" srcOrd="3" destOrd="0" parTransId="{87CDD4F3-E71F-44A9-B515-E47672A849B6}" sibTransId="{25369813-4686-4B37-9746-915D5E2ABB1B}"/>
    <dgm:cxn modelId="{2279FAFA-FB88-4C2D-B0C1-6B2ACC4BBF39}" type="presOf" srcId="{D937D902-C50B-4BEC-9C1F-D9880BCC701B}" destId="{30A455D9-9D31-498C-B006-B59A4D0FAC39}" srcOrd="1" destOrd="0" presId="urn:microsoft.com/office/officeart/2008/layout/HorizontalMultiLevelHierarchy"/>
    <dgm:cxn modelId="{A3A0BCFB-D8D9-4632-B5AB-CF4EFA2E3C41}" srcId="{BF1B7062-91AB-4F1D-BD08-8D3EC4B33C1F}" destId="{4D897679-FA7C-48A2-A57F-5D0431886FF7}" srcOrd="0" destOrd="0" parTransId="{C7C06085-9DF0-469C-90B3-434C5E418A6D}" sibTransId="{D55B2488-3E22-41F8-99B8-F1276460587D}"/>
    <dgm:cxn modelId="{6B84BBFC-A091-4525-A53A-310AE57146D4}" type="presOf" srcId="{D11BAA21-3D0E-4BFE-97F1-F349F96BB7F2}" destId="{E35C2840-DB93-493D-B275-166B0E0C4A9D}" srcOrd="0" destOrd="0" presId="urn:microsoft.com/office/officeart/2008/layout/HorizontalMultiLevelHierarchy"/>
    <dgm:cxn modelId="{BC1D60FE-A17A-4459-A412-7BD781EE41A1}" type="presOf" srcId="{31BDA904-A9EF-437C-9DAF-E5BDF8C1106E}" destId="{8B0AB1CA-7D19-4139-820F-FBEA5B4373F8}" srcOrd="1" destOrd="0" presId="urn:microsoft.com/office/officeart/2008/layout/HorizontalMultiLevelHierarchy"/>
    <dgm:cxn modelId="{3E8C5480-73D9-4EE3-932D-82721BB1E7B2}" type="presParOf" srcId="{50C4D88C-9CB0-4513-8456-755395491158}" destId="{506FBA0B-6598-4404-B87A-56869B8718E3}" srcOrd="0" destOrd="0" presId="urn:microsoft.com/office/officeart/2008/layout/HorizontalMultiLevelHierarchy"/>
    <dgm:cxn modelId="{AD087DA0-5EB4-49EE-82D3-F6C47200DD79}" type="presParOf" srcId="{506FBA0B-6598-4404-B87A-56869B8718E3}" destId="{DCF5B4EF-DE4F-4292-A3B2-724C163A44AB}" srcOrd="0" destOrd="0" presId="urn:microsoft.com/office/officeart/2008/layout/HorizontalMultiLevelHierarchy"/>
    <dgm:cxn modelId="{AD864577-5B7E-4328-AC26-287C80C6BEA3}" type="presParOf" srcId="{506FBA0B-6598-4404-B87A-56869B8718E3}" destId="{7E8A6FC8-F240-4C27-8F75-0549E9D1CE4E}" srcOrd="1" destOrd="0" presId="urn:microsoft.com/office/officeart/2008/layout/HorizontalMultiLevelHierarchy"/>
    <dgm:cxn modelId="{0D5824EC-96D2-4284-930C-3DC3234577D3}" type="presParOf" srcId="{7E8A6FC8-F240-4C27-8F75-0549E9D1CE4E}" destId="{BE328E0A-C287-4B1A-BD90-C0F3098FFCD9}" srcOrd="0" destOrd="0" presId="urn:microsoft.com/office/officeart/2008/layout/HorizontalMultiLevelHierarchy"/>
    <dgm:cxn modelId="{FF3EDB3F-3E5D-484F-B7EB-2D9D119CC084}" type="presParOf" srcId="{BE328E0A-C287-4B1A-BD90-C0F3098FFCD9}" destId="{1EB559E9-DB95-4028-B960-01A592B99E92}" srcOrd="0" destOrd="0" presId="urn:microsoft.com/office/officeart/2008/layout/HorizontalMultiLevelHierarchy"/>
    <dgm:cxn modelId="{6E796F25-24CC-4F5D-8AB9-96C968A94D86}" type="presParOf" srcId="{7E8A6FC8-F240-4C27-8F75-0549E9D1CE4E}" destId="{9893F228-CFAA-415F-97D9-8C8EA9FB1BC5}" srcOrd="1" destOrd="0" presId="urn:microsoft.com/office/officeart/2008/layout/HorizontalMultiLevelHierarchy"/>
    <dgm:cxn modelId="{F5FE272E-5A1A-4232-A41E-5E8F96E754E7}" type="presParOf" srcId="{9893F228-CFAA-415F-97D9-8C8EA9FB1BC5}" destId="{49ADAAAB-354D-4968-9DE9-378E6595E5BB}" srcOrd="0" destOrd="0" presId="urn:microsoft.com/office/officeart/2008/layout/HorizontalMultiLevelHierarchy"/>
    <dgm:cxn modelId="{480D07D8-1F1B-4569-80CC-321A6295D639}" type="presParOf" srcId="{9893F228-CFAA-415F-97D9-8C8EA9FB1BC5}" destId="{46E2FE2A-A747-4DEE-AAF5-53A8EE84B06B}" srcOrd="1" destOrd="0" presId="urn:microsoft.com/office/officeart/2008/layout/HorizontalMultiLevelHierarchy"/>
    <dgm:cxn modelId="{50D16AF4-5755-49CA-8CD2-80B55C410D0F}" type="presParOf" srcId="{46E2FE2A-A747-4DEE-AAF5-53A8EE84B06B}" destId="{A00DE1AA-92DF-4607-98DB-1C3BB048DCF5}" srcOrd="0" destOrd="0" presId="urn:microsoft.com/office/officeart/2008/layout/HorizontalMultiLevelHierarchy"/>
    <dgm:cxn modelId="{431D5585-68BC-402E-A1E8-6AA95F6C7608}" type="presParOf" srcId="{A00DE1AA-92DF-4607-98DB-1C3BB048DCF5}" destId="{FCADF10C-D51C-403A-B095-E884F4771DA4}" srcOrd="0" destOrd="0" presId="urn:microsoft.com/office/officeart/2008/layout/HorizontalMultiLevelHierarchy"/>
    <dgm:cxn modelId="{15D334E0-0A38-4F4E-ADC1-2877693952AA}" type="presParOf" srcId="{46E2FE2A-A747-4DEE-AAF5-53A8EE84B06B}" destId="{82114EE1-887C-431E-AFFD-6C4277E5953D}" srcOrd="1" destOrd="0" presId="urn:microsoft.com/office/officeart/2008/layout/HorizontalMultiLevelHierarchy"/>
    <dgm:cxn modelId="{8C9D2DBB-76FF-4B29-A8BF-76E1595D5F7B}" type="presParOf" srcId="{82114EE1-887C-431E-AFFD-6C4277E5953D}" destId="{F9F18759-F577-4686-9C34-EB964D732C77}" srcOrd="0" destOrd="0" presId="urn:microsoft.com/office/officeart/2008/layout/HorizontalMultiLevelHierarchy"/>
    <dgm:cxn modelId="{24FAD8B7-4C36-4713-89C8-0B0C5F8DE428}" type="presParOf" srcId="{82114EE1-887C-431E-AFFD-6C4277E5953D}" destId="{54BDE115-2A0C-4217-89B4-E7E8586234DB}" srcOrd="1" destOrd="0" presId="urn:microsoft.com/office/officeart/2008/layout/HorizontalMultiLevelHierarchy"/>
    <dgm:cxn modelId="{3D372E14-A8FD-44D7-8131-FA6D9CF22B67}" type="presParOf" srcId="{54BDE115-2A0C-4217-89B4-E7E8586234DB}" destId="{6D05A90F-5A8D-42F9-A2CB-82F28C0FF2BC}" srcOrd="0" destOrd="0" presId="urn:microsoft.com/office/officeart/2008/layout/HorizontalMultiLevelHierarchy"/>
    <dgm:cxn modelId="{F40CABF1-22E9-41F5-8B23-F27E5206AE95}" type="presParOf" srcId="{6D05A90F-5A8D-42F9-A2CB-82F28C0FF2BC}" destId="{799FD5E4-5D76-4338-BDA8-9F7F790A3A29}" srcOrd="0" destOrd="0" presId="urn:microsoft.com/office/officeart/2008/layout/HorizontalMultiLevelHierarchy"/>
    <dgm:cxn modelId="{DFBDF78B-1D23-455B-94D1-7FEC00C888AD}" type="presParOf" srcId="{54BDE115-2A0C-4217-89B4-E7E8586234DB}" destId="{1C875D8C-6779-45C7-9DF1-E38374A18533}" srcOrd="1" destOrd="0" presId="urn:microsoft.com/office/officeart/2008/layout/HorizontalMultiLevelHierarchy"/>
    <dgm:cxn modelId="{00ED9729-0AF6-4E65-A263-4A217F294ED2}" type="presParOf" srcId="{1C875D8C-6779-45C7-9DF1-E38374A18533}" destId="{F8A94DA1-2081-4A8B-816C-A9F98C2853F5}" srcOrd="0" destOrd="0" presId="urn:microsoft.com/office/officeart/2008/layout/HorizontalMultiLevelHierarchy"/>
    <dgm:cxn modelId="{44FDD24A-6CFB-46B1-BEB2-69DCD38B52E4}" type="presParOf" srcId="{1C875D8C-6779-45C7-9DF1-E38374A18533}" destId="{BE78AA36-14CC-406D-9CAF-F23AD3DFDFED}" srcOrd="1" destOrd="0" presId="urn:microsoft.com/office/officeart/2008/layout/HorizontalMultiLevelHierarchy"/>
    <dgm:cxn modelId="{944A07B4-171F-46FD-9A9A-D9F32623A61F}" type="presParOf" srcId="{54BDE115-2A0C-4217-89B4-E7E8586234DB}" destId="{8F0AA0AA-EF8D-43DE-82C5-2D7BFD08315F}" srcOrd="2" destOrd="0" presId="urn:microsoft.com/office/officeart/2008/layout/HorizontalMultiLevelHierarchy"/>
    <dgm:cxn modelId="{8E6E216A-B20D-4FF2-9976-6A4AD97AA5AD}" type="presParOf" srcId="{8F0AA0AA-EF8D-43DE-82C5-2D7BFD08315F}" destId="{FD15021D-62B7-4A46-932A-654E778DB44B}" srcOrd="0" destOrd="0" presId="urn:microsoft.com/office/officeart/2008/layout/HorizontalMultiLevelHierarchy"/>
    <dgm:cxn modelId="{35774EDF-2194-4938-91A1-C2CF1298126D}" type="presParOf" srcId="{54BDE115-2A0C-4217-89B4-E7E8586234DB}" destId="{92C6DF90-94C7-417B-A0B7-472D3330DFC6}" srcOrd="3" destOrd="0" presId="urn:microsoft.com/office/officeart/2008/layout/HorizontalMultiLevelHierarchy"/>
    <dgm:cxn modelId="{62003EF5-E134-419F-A088-B5DDC40A2688}" type="presParOf" srcId="{92C6DF90-94C7-417B-A0B7-472D3330DFC6}" destId="{571B8373-7DFF-4282-8AA6-80F7CC7EA7C8}" srcOrd="0" destOrd="0" presId="urn:microsoft.com/office/officeart/2008/layout/HorizontalMultiLevelHierarchy"/>
    <dgm:cxn modelId="{E322A04F-806C-4932-A9A0-D0423C9769E7}" type="presParOf" srcId="{92C6DF90-94C7-417B-A0B7-472D3330DFC6}" destId="{2E395B4D-D351-4809-A97B-BD1545D151D6}" srcOrd="1" destOrd="0" presId="urn:microsoft.com/office/officeart/2008/layout/HorizontalMultiLevelHierarchy"/>
    <dgm:cxn modelId="{F777DE2D-E80D-4EA4-B833-A3841CA97B4B}" type="presParOf" srcId="{54BDE115-2A0C-4217-89B4-E7E8586234DB}" destId="{709C936E-7E65-4B5A-AC40-4548A25152AC}" srcOrd="4" destOrd="0" presId="urn:microsoft.com/office/officeart/2008/layout/HorizontalMultiLevelHierarchy"/>
    <dgm:cxn modelId="{32E88D2B-0DC3-47DF-8E3C-D73500CC12ED}" type="presParOf" srcId="{709C936E-7E65-4B5A-AC40-4548A25152AC}" destId="{79D3B186-92E5-40C6-A995-4173A00C788D}" srcOrd="0" destOrd="0" presId="urn:microsoft.com/office/officeart/2008/layout/HorizontalMultiLevelHierarchy"/>
    <dgm:cxn modelId="{3F754718-EE57-49C1-BB11-DB71B1789707}" type="presParOf" srcId="{54BDE115-2A0C-4217-89B4-E7E8586234DB}" destId="{288D4D72-A885-421E-B53B-89BEC0A8E191}" srcOrd="5" destOrd="0" presId="urn:microsoft.com/office/officeart/2008/layout/HorizontalMultiLevelHierarchy"/>
    <dgm:cxn modelId="{7057AA4D-B137-41ED-BB23-97CC6A463ECC}" type="presParOf" srcId="{288D4D72-A885-421E-B53B-89BEC0A8E191}" destId="{9E59A063-5821-4E2B-8FD8-3EBA8922B98E}" srcOrd="0" destOrd="0" presId="urn:microsoft.com/office/officeart/2008/layout/HorizontalMultiLevelHierarchy"/>
    <dgm:cxn modelId="{B1430112-47C7-421A-A831-AD9432EA9447}" type="presParOf" srcId="{288D4D72-A885-421E-B53B-89BEC0A8E191}" destId="{A60165E3-8C06-4086-B11F-0E702421E440}" srcOrd="1" destOrd="0" presId="urn:microsoft.com/office/officeart/2008/layout/HorizontalMultiLevelHierarchy"/>
    <dgm:cxn modelId="{4606825E-DF7B-4A4B-970B-90A4366FCD75}" type="presParOf" srcId="{54BDE115-2A0C-4217-89B4-E7E8586234DB}" destId="{C5F46441-018D-4AD0-9984-278FB6B3653F}" srcOrd="6" destOrd="0" presId="urn:microsoft.com/office/officeart/2008/layout/HorizontalMultiLevelHierarchy"/>
    <dgm:cxn modelId="{2195A6B6-C0E7-4925-B522-ECD20392777B}" type="presParOf" srcId="{C5F46441-018D-4AD0-9984-278FB6B3653F}" destId="{D9EA4352-69AB-4BEF-A3B8-25557C0E3D3D}" srcOrd="0" destOrd="0" presId="urn:microsoft.com/office/officeart/2008/layout/HorizontalMultiLevelHierarchy"/>
    <dgm:cxn modelId="{76A9F908-999F-4A91-9814-EDE65165187B}" type="presParOf" srcId="{54BDE115-2A0C-4217-89B4-E7E8586234DB}" destId="{0E92266F-6127-4D65-BB11-33FD467F105D}" srcOrd="7" destOrd="0" presId="urn:microsoft.com/office/officeart/2008/layout/HorizontalMultiLevelHierarchy"/>
    <dgm:cxn modelId="{F306A3C1-7973-4F7A-943B-6ADCD306A7F6}" type="presParOf" srcId="{0E92266F-6127-4D65-BB11-33FD467F105D}" destId="{E35C2840-DB93-493D-B275-166B0E0C4A9D}" srcOrd="0" destOrd="0" presId="urn:microsoft.com/office/officeart/2008/layout/HorizontalMultiLevelHierarchy"/>
    <dgm:cxn modelId="{A835B48E-3A8E-4008-A8CE-A71601018F84}" type="presParOf" srcId="{0E92266F-6127-4D65-BB11-33FD467F105D}" destId="{D8A053A6-8CD3-465F-9ECC-7C0D113893EE}" srcOrd="1" destOrd="0" presId="urn:microsoft.com/office/officeart/2008/layout/HorizontalMultiLevelHierarchy"/>
    <dgm:cxn modelId="{8D24C396-9E55-4005-8D86-DB4BF7EBCB4D}" type="presParOf" srcId="{54BDE115-2A0C-4217-89B4-E7E8586234DB}" destId="{FAF45787-F807-4BB6-923D-0C0E2CD8C149}" srcOrd="8" destOrd="0" presId="urn:microsoft.com/office/officeart/2008/layout/HorizontalMultiLevelHierarchy"/>
    <dgm:cxn modelId="{B8C3ED00-AC23-46BD-B1D0-119DB40B33C6}" type="presParOf" srcId="{FAF45787-F807-4BB6-923D-0C0E2CD8C149}" destId="{8B0AB1CA-7D19-4139-820F-FBEA5B4373F8}" srcOrd="0" destOrd="0" presId="urn:microsoft.com/office/officeart/2008/layout/HorizontalMultiLevelHierarchy"/>
    <dgm:cxn modelId="{CEE7DFA3-513B-4D24-A57B-0052FB3C207F}" type="presParOf" srcId="{54BDE115-2A0C-4217-89B4-E7E8586234DB}" destId="{C3306D52-2437-4385-ACA3-7D8CE9EB0569}" srcOrd="9" destOrd="0" presId="urn:microsoft.com/office/officeart/2008/layout/HorizontalMultiLevelHierarchy"/>
    <dgm:cxn modelId="{08DF73F5-ABF4-4C8B-834F-6A47AAB5E318}" type="presParOf" srcId="{C3306D52-2437-4385-ACA3-7D8CE9EB0569}" destId="{8F47A465-73D6-48E5-83FD-F149301C3BBD}" srcOrd="0" destOrd="0" presId="urn:microsoft.com/office/officeart/2008/layout/HorizontalMultiLevelHierarchy"/>
    <dgm:cxn modelId="{1CF8F74E-E989-4A3F-908A-DCDB6D590139}" type="presParOf" srcId="{C3306D52-2437-4385-ACA3-7D8CE9EB0569}" destId="{E32E857A-F3CD-4263-AB35-D59E97F83B1D}" srcOrd="1" destOrd="0" presId="urn:microsoft.com/office/officeart/2008/layout/HorizontalMultiLevelHierarchy"/>
    <dgm:cxn modelId="{88639E4F-31C1-497A-AD08-8F53C1B0472D}" type="presParOf" srcId="{46E2FE2A-A747-4DEE-AAF5-53A8EE84B06B}" destId="{5BC2DE1D-C4D7-4BFC-A0C1-3D282DC024CD}" srcOrd="2" destOrd="0" presId="urn:microsoft.com/office/officeart/2008/layout/HorizontalMultiLevelHierarchy"/>
    <dgm:cxn modelId="{BC66EAF4-D03A-4B97-B08C-7F76CC2F9B24}" type="presParOf" srcId="{5BC2DE1D-C4D7-4BFC-A0C1-3D282DC024CD}" destId="{0C497864-2349-44C5-8D11-5F89748F0519}" srcOrd="0" destOrd="0" presId="urn:microsoft.com/office/officeart/2008/layout/HorizontalMultiLevelHierarchy"/>
    <dgm:cxn modelId="{40D40725-FA7B-4511-B16E-C1EFB81A0750}" type="presParOf" srcId="{46E2FE2A-A747-4DEE-AAF5-53A8EE84B06B}" destId="{9DEE4079-5D60-4753-AEAE-EF1343D66E8F}" srcOrd="3" destOrd="0" presId="urn:microsoft.com/office/officeart/2008/layout/HorizontalMultiLevelHierarchy"/>
    <dgm:cxn modelId="{6042F3FD-F18F-4D46-8EC2-9066A06C2B78}" type="presParOf" srcId="{9DEE4079-5D60-4753-AEAE-EF1343D66E8F}" destId="{DC0B28EB-699E-45BB-87EC-30E574E72821}" srcOrd="0" destOrd="0" presId="urn:microsoft.com/office/officeart/2008/layout/HorizontalMultiLevelHierarchy"/>
    <dgm:cxn modelId="{608302F7-1EC7-4ADD-8AE7-438FDE7034DF}" type="presParOf" srcId="{9DEE4079-5D60-4753-AEAE-EF1343D66E8F}" destId="{F96545F6-99BC-46B9-929F-A49863AE73CF}" srcOrd="1" destOrd="0" presId="urn:microsoft.com/office/officeart/2008/layout/HorizontalMultiLevelHierarchy"/>
    <dgm:cxn modelId="{A053F520-2BFF-4D78-ABA3-085B38E9BB46}" type="presParOf" srcId="{F96545F6-99BC-46B9-929F-A49863AE73CF}" destId="{7F2C676C-E906-4B26-892E-C728B9239429}" srcOrd="0" destOrd="0" presId="urn:microsoft.com/office/officeart/2008/layout/HorizontalMultiLevelHierarchy"/>
    <dgm:cxn modelId="{DC63E4DA-2911-48A2-B45E-2A3F7F320F95}" type="presParOf" srcId="{7F2C676C-E906-4B26-892E-C728B9239429}" destId="{F614A676-E312-4A6F-BE9F-B6E2993177B6}" srcOrd="0" destOrd="0" presId="urn:microsoft.com/office/officeart/2008/layout/HorizontalMultiLevelHierarchy"/>
    <dgm:cxn modelId="{98791E69-7D35-4CF1-9761-6C24C2696866}" type="presParOf" srcId="{F96545F6-99BC-46B9-929F-A49863AE73CF}" destId="{BDC558D4-E8FE-4402-98B6-954B2DED52D1}" srcOrd="1" destOrd="0" presId="urn:microsoft.com/office/officeart/2008/layout/HorizontalMultiLevelHierarchy"/>
    <dgm:cxn modelId="{FDBEFCAE-1435-4A02-93C8-6822FB954273}" type="presParOf" srcId="{BDC558D4-E8FE-4402-98B6-954B2DED52D1}" destId="{81473451-3FF3-474B-98FB-6869E5682468}" srcOrd="0" destOrd="0" presId="urn:microsoft.com/office/officeart/2008/layout/HorizontalMultiLevelHierarchy"/>
    <dgm:cxn modelId="{B5D9CD1B-6DBD-4706-A7AF-2E52473396EC}" type="presParOf" srcId="{BDC558D4-E8FE-4402-98B6-954B2DED52D1}" destId="{FA9000AC-D9F7-467D-A35D-DAD03D5FE186}" srcOrd="1" destOrd="0" presId="urn:microsoft.com/office/officeart/2008/layout/HorizontalMultiLevelHierarchy"/>
    <dgm:cxn modelId="{796470D6-7D1B-4420-B116-3CDECA6C4332}" type="presParOf" srcId="{F96545F6-99BC-46B9-929F-A49863AE73CF}" destId="{2B4072C3-2623-4EA4-94B7-025A9DCD72E9}" srcOrd="2" destOrd="0" presId="urn:microsoft.com/office/officeart/2008/layout/HorizontalMultiLevelHierarchy"/>
    <dgm:cxn modelId="{26C198F0-9097-4B40-A099-0CF7BB5FE30B}" type="presParOf" srcId="{2B4072C3-2623-4EA4-94B7-025A9DCD72E9}" destId="{7260B369-A7E2-44EA-98FE-B408D79B13A6}" srcOrd="0" destOrd="0" presId="urn:microsoft.com/office/officeart/2008/layout/HorizontalMultiLevelHierarchy"/>
    <dgm:cxn modelId="{561417E8-7976-4A1C-A015-08E3E4F64664}" type="presParOf" srcId="{F96545F6-99BC-46B9-929F-A49863AE73CF}" destId="{1FAAD552-F495-4DB6-9E8B-FAAEB560B2F6}" srcOrd="3" destOrd="0" presId="urn:microsoft.com/office/officeart/2008/layout/HorizontalMultiLevelHierarchy"/>
    <dgm:cxn modelId="{EA019D1A-3F95-4D56-9997-0C9D24A997C5}" type="presParOf" srcId="{1FAAD552-F495-4DB6-9E8B-FAAEB560B2F6}" destId="{A732D3F1-1291-409E-9A7C-778CAE167F89}" srcOrd="0" destOrd="0" presId="urn:microsoft.com/office/officeart/2008/layout/HorizontalMultiLevelHierarchy"/>
    <dgm:cxn modelId="{166A27F3-4442-45CA-8BA6-9A502B1E32B0}" type="presParOf" srcId="{1FAAD552-F495-4DB6-9E8B-FAAEB560B2F6}" destId="{AB597740-6E08-435C-B03D-74A3C28F6C7A}" srcOrd="1" destOrd="0" presId="urn:microsoft.com/office/officeart/2008/layout/HorizontalMultiLevelHierarchy"/>
    <dgm:cxn modelId="{B13D283A-3BF4-4186-8B35-E30A1BFCB7DD}" type="presParOf" srcId="{F96545F6-99BC-46B9-929F-A49863AE73CF}" destId="{9458E52A-38CE-4EE6-A620-F703970B8164}" srcOrd="4" destOrd="0" presId="urn:microsoft.com/office/officeart/2008/layout/HorizontalMultiLevelHierarchy"/>
    <dgm:cxn modelId="{CBEB0CDE-7383-4B68-B06E-63692D94162C}" type="presParOf" srcId="{9458E52A-38CE-4EE6-A620-F703970B8164}" destId="{32DEAE14-947F-44E2-8D61-C101875AB07D}" srcOrd="0" destOrd="0" presId="urn:microsoft.com/office/officeart/2008/layout/HorizontalMultiLevelHierarchy"/>
    <dgm:cxn modelId="{268498D5-D929-4DAB-AC0F-7C00397892F8}" type="presParOf" srcId="{F96545F6-99BC-46B9-929F-A49863AE73CF}" destId="{69E10A20-FCE4-4D83-88A1-14D71635473C}" srcOrd="5" destOrd="0" presId="urn:microsoft.com/office/officeart/2008/layout/HorizontalMultiLevelHierarchy"/>
    <dgm:cxn modelId="{C53C4149-E278-4B46-8FC3-6C96C874D326}" type="presParOf" srcId="{69E10A20-FCE4-4D83-88A1-14D71635473C}" destId="{42C465EB-33D9-4AD2-A33B-930C8E39ED41}" srcOrd="0" destOrd="0" presId="urn:microsoft.com/office/officeart/2008/layout/HorizontalMultiLevelHierarchy"/>
    <dgm:cxn modelId="{148DD049-D5F2-44AA-9110-DDD80E88C1F7}" type="presParOf" srcId="{69E10A20-FCE4-4D83-88A1-14D71635473C}" destId="{2EF723DA-603B-48F9-A950-71099D97A93D}" srcOrd="1" destOrd="0" presId="urn:microsoft.com/office/officeart/2008/layout/HorizontalMultiLevelHierarchy"/>
    <dgm:cxn modelId="{E6A09153-7C65-4D54-AF4C-8F005668B195}" type="presParOf" srcId="{F96545F6-99BC-46B9-929F-A49863AE73CF}" destId="{329CD9E0-9945-40C9-89A5-5929AA1A3A82}" srcOrd="6" destOrd="0" presId="urn:microsoft.com/office/officeart/2008/layout/HorizontalMultiLevelHierarchy"/>
    <dgm:cxn modelId="{6218AF02-8BFB-41EC-94F2-A7B83BEFA856}" type="presParOf" srcId="{329CD9E0-9945-40C9-89A5-5929AA1A3A82}" destId="{27874C32-AAAE-43E2-B803-B20B1E2D7450}" srcOrd="0" destOrd="0" presId="urn:microsoft.com/office/officeart/2008/layout/HorizontalMultiLevelHierarchy"/>
    <dgm:cxn modelId="{5191E024-DDD0-405C-A806-A32820FD8CC5}" type="presParOf" srcId="{F96545F6-99BC-46B9-929F-A49863AE73CF}" destId="{413EDB34-EEB8-4846-8BF9-D4944F61EBD3}" srcOrd="7" destOrd="0" presId="urn:microsoft.com/office/officeart/2008/layout/HorizontalMultiLevelHierarchy"/>
    <dgm:cxn modelId="{A545499C-31A8-4879-8B70-422B8B7E16E8}" type="presParOf" srcId="{413EDB34-EEB8-4846-8BF9-D4944F61EBD3}" destId="{84D7F889-3498-48D8-ADC3-14251347C81B}" srcOrd="0" destOrd="0" presId="urn:microsoft.com/office/officeart/2008/layout/HorizontalMultiLevelHierarchy"/>
    <dgm:cxn modelId="{A0A19357-EB8B-4612-A7DA-0BAC1172C650}" type="presParOf" srcId="{413EDB34-EEB8-4846-8BF9-D4944F61EBD3}" destId="{E91235D0-FC5C-4DA2-AB29-EC075B3DCA81}" srcOrd="1" destOrd="0" presId="urn:microsoft.com/office/officeart/2008/layout/HorizontalMultiLevelHierarchy"/>
    <dgm:cxn modelId="{726D319B-7F9C-410A-923E-E7D70D1E9BE5}" type="presParOf" srcId="{46E2FE2A-A747-4DEE-AAF5-53A8EE84B06B}" destId="{A4E05C94-2209-4BF4-B627-606397BBC1C5}" srcOrd="4" destOrd="0" presId="urn:microsoft.com/office/officeart/2008/layout/HorizontalMultiLevelHierarchy"/>
    <dgm:cxn modelId="{BC8E1C1E-4F81-4EDB-B206-0F9F561D1BE3}" type="presParOf" srcId="{A4E05C94-2209-4BF4-B627-606397BBC1C5}" destId="{6DCFD290-34D5-45FC-84C5-03B4A3AFAD52}" srcOrd="0" destOrd="0" presId="urn:microsoft.com/office/officeart/2008/layout/HorizontalMultiLevelHierarchy"/>
    <dgm:cxn modelId="{C24C0CF1-8773-4C67-935E-616A1C69F1B6}" type="presParOf" srcId="{46E2FE2A-A747-4DEE-AAF5-53A8EE84B06B}" destId="{D6C31984-0B65-416F-A6B1-E0A22FFF6163}" srcOrd="5" destOrd="0" presId="urn:microsoft.com/office/officeart/2008/layout/HorizontalMultiLevelHierarchy"/>
    <dgm:cxn modelId="{BF5C4A11-F9CD-408A-9CA8-15A0D2A36E35}" type="presParOf" srcId="{D6C31984-0B65-416F-A6B1-E0A22FFF6163}" destId="{485D5E8B-1295-4B72-BF14-74B2BE7008EE}" srcOrd="0" destOrd="0" presId="urn:microsoft.com/office/officeart/2008/layout/HorizontalMultiLevelHierarchy"/>
    <dgm:cxn modelId="{F6BDEA0C-9395-46B8-B4A0-F02379190F75}" type="presParOf" srcId="{D6C31984-0B65-416F-A6B1-E0A22FFF6163}" destId="{49EAA066-0495-427D-9425-BE1889EED5E1}" srcOrd="1" destOrd="0" presId="urn:microsoft.com/office/officeart/2008/layout/HorizontalMultiLevelHierarchy"/>
    <dgm:cxn modelId="{D41C7959-272E-4EBA-8328-6A420A7753D6}" type="presParOf" srcId="{46E2FE2A-A747-4DEE-AAF5-53A8EE84B06B}" destId="{460E764F-BDF5-4D22-9B4D-16DC71F64CAC}" srcOrd="6" destOrd="0" presId="urn:microsoft.com/office/officeart/2008/layout/HorizontalMultiLevelHierarchy"/>
    <dgm:cxn modelId="{9E3C5359-D3AF-471A-A4EB-632E9E1FFFED}" type="presParOf" srcId="{460E764F-BDF5-4D22-9B4D-16DC71F64CAC}" destId="{D2085E56-A00C-4E27-A4A7-A2743FEDF1B5}" srcOrd="0" destOrd="0" presId="urn:microsoft.com/office/officeart/2008/layout/HorizontalMultiLevelHierarchy"/>
    <dgm:cxn modelId="{E9C36CB9-A5C3-4B2E-8690-8C27F406F889}" type="presParOf" srcId="{46E2FE2A-A747-4DEE-AAF5-53A8EE84B06B}" destId="{73186733-5E43-4E6A-80AF-948A00AAA9B5}" srcOrd="7" destOrd="0" presId="urn:microsoft.com/office/officeart/2008/layout/HorizontalMultiLevelHierarchy"/>
    <dgm:cxn modelId="{3DE4C77A-92C4-499B-A96E-6812CB8CF9E7}" type="presParOf" srcId="{73186733-5E43-4E6A-80AF-948A00AAA9B5}" destId="{43996E1E-6F52-4F8E-9F4B-77A56824C63C}" srcOrd="0" destOrd="0" presId="urn:microsoft.com/office/officeart/2008/layout/HorizontalMultiLevelHierarchy"/>
    <dgm:cxn modelId="{0F21ABEF-B7AA-44AC-A89A-91EB275FF44F}" type="presParOf" srcId="{73186733-5E43-4E6A-80AF-948A00AAA9B5}" destId="{41502682-1FC1-4B2B-BBB5-9A5540E7D736}" srcOrd="1" destOrd="0" presId="urn:microsoft.com/office/officeart/2008/layout/HorizontalMultiLevelHierarchy"/>
    <dgm:cxn modelId="{D6EB78A0-A34D-4723-9332-CDC12F78869A}" type="presParOf" srcId="{46E2FE2A-A747-4DEE-AAF5-53A8EE84B06B}" destId="{690E36EE-5895-4B91-A347-3380A5FE5255}" srcOrd="8" destOrd="0" presId="urn:microsoft.com/office/officeart/2008/layout/HorizontalMultiLevelHierarchy"/>
    <dgm:cxn modelId="{E55A1800-8DD6-4853-A0D4-E4B94395683D}" type="presParOf" srcId="{690E36EE-5895-4B91-A347-3380A5FE5255}" destId="{ADBE13F2-10FA-4B06-99C7-09C6712A7646}" srcOrd="0" destOrd="0" presId="urn:microsoft.com/office/officeart/2008/layout/HorizontalMultiLevelHierarchy"/>
    <dgm:cxn modelId="{0DEBCA27-CE2E-409D-8652-B03064A5A0BD}" type="presParOf" srcId="{46E2FE2A-A747-4DEE-AAF5-53A8EE84B06B}" destId="{B6754EFB-425D-471A-9BC5-9299A6414551}" srcOrd="9" destOrd="0" presId="urn:microsoft.com/office/officeart/2008/layout/HorizontalMultiLevelHierarchy"/>
    <dgm:cxn modelId="{827B1068-D035-4351-8FA7-E96A12C46B8D}" type="presParOf" srcId="{B6754EFB-425D-471A-9BC5-9299A6414551}" destId="{6E154881-954A-429F-9BBE-E92EEB4B1011}" srcOrd="0" destOrd="0" presId="urn:microsoft.com/office/officeart/2008/layout/HorizontalMultiLevelHierarchy"/>
    <dgm:cxn modelId="{CF5796C7-4017-4D28-84C5-F23B50B601E5}" type="presParOf" srcId="{B6754EFB-425D-471A-9BC5-9299A6414551}" destId="{5D1CB6D5-4D16-456C-80C8-8FB25291517B}" srcOrd="1" destOrd="0" presId="urn:microsoft.com/office/officeart/2008/layout/HorizontalMultiLevelHierarchy"/>
    <dgm:cxn modelId="{8C48EBB2-861E-4B2B-84F8-7FD8866630A9}" type="presParOf" srcId="{7E8A6FC8-F240-4C27-8F75-0549E9D1CE4E}" destId="{CD37291B-5548-4F1B-8F2F-200AE5B0DCAE}" srcOrd="2" destOrd="0" presId="urn:microsoft.com/office/officeart/2008/layout/HorizontalMultiLevelHierarchy"/>
    <dgm:cxn modelId="{1EAA7291-3D7E-4E1D-BFA5-466FBB9231BE}" type="presParOf" srcId="{CD37291B-5548-4F1B-8F2F-200AE5B0DCAE}" destId="{D4121B60-61D6-41A4-AAB9-DE9671C8ED2F}" srcOrd="0" destOrd="0" presId="urn:microsoft.com/office/officeart/2008/layout/HorizontalMultiLevelHierarchy"/>
    <dgm:cxn modelId="{30BF0797-9DFC-4143-9934-65A925553B04}" type="presParOf" srcId="{7E8A6FC8-F240-4C27-8F75-0549E9D1CE4E}" destId="{50975EFF-52F3-48CE-A104-6890DF2CCC15}" srcOrd="3" destOrd="0" presId="urn:microsoft.com/office/officeart/2008/layout/HorizontalMultiLevelHierarchy"/>
    <dgm:cxn modelId="{B1E72420-C269-47B9-8826-4F40BF90D27F}" type="presParOf" srcId="{50975EFF-52F3-48CE-A104-6890DF2CCC15}" destId="{E077FA3E-A654-4D27-8616-5CDDA43F8AF6}" srcOrd="0" destOrd="0" presId="urn:microsoft.com/office/officeart/2008/layout/HorizontalMultiLevelHierarchy"/>
    <dgm:cxn modelId="{2984DC2A-8109-4C03-B00F-93C41BC46DCB}" type="presParOf" srcId="{50975EFF-52F3-48CE-A104-6890DF2CCC15}" destId="{738BD333-0CAC-4970-A8E6-FA82D1202675}" srcOrd="1" destOrd="0" presId="urn:microsoft.com/office/officeart/2008/layout/HorizontalMultiLevelHierarchy"/>
    <dgm:cxn modelId="{701C9470-548A-4BE2-BFE5-EA05C36188CF}" type="presParOf" srcId="{738BD333-0CAC-4970-A8E6-FA82D1202675}" destId="{037062E2-BE96-4A8B-9D2F-1FA0857207C1}" srcOrd="0" destOrd="0" presId="urn:microsoft.com/office/officeart/2008/layout/HorizontalMultiLevelHierarchy"/>
    <dgm:cxn modelId="{A85CA7AE-0B05-415C-879A-E60AE08B5C38}" type="presParOf" srcId="{037062E2-BE96-4A8B-9D2F-1FA0857207C1}" destId="{48D9A2E1-2598-4B00-AD73-86E6047DFB3F}" srcOrd="0" destOrd="0" presId="urn:microsoft.com/office/officeart/2008/layout/HorizontalMultiLevelHierarchy"/>
    <dgm:cxn modelId="{C4A41739-1868-4E6C-8999-7C6171F40DDB}" type="presParOf" srcId="{738BD333-0CAC-4970-A8E6-FA82D1202675}" destId="{B8CF9832-64BD-484C-B421-A0ECF20998B1}" srcOrd="1" destOrd="0" presId="urn:microsoft.com/office/officeart/2008/layout/HorizontalMultiLevelHierarchy"/>
    <dgm:cxn modelId="{48303E24-0767-49ED-9ED9-ABE66A3F8EB4}" type="presParOf" srcId="{B8CF9832-64BD-484C-B421-A0ECF20998B1}" destId="{768C7647-12EF-40E9-94EB-C1868C4AFE59}" srcOrd="0" destOrd="0" presId="urn:microsoft.com/office/officeart/2008/layout/HorizontalMultiLevelHierarchy"/>
    <dgm:cxn modelId="{5A3DA604-9904-4F44-9882-A2E63AE76B38}" type="presParOf" srcId="{B8CF9832-64BD-484C-B421-A0ECF20998B1}" destId="{66E40938-6C34-47FD-B792-4BEC9D41A30A}" srcOrd="1" destOrd="0" presId="urn:microsoft.com/office/officeart/2008/layout/HorizontalMultiLevelHierarchy"/>
    <dgm:cxn modelId="{55446B2F-4034-42F1-8435-46B9BE44613A}" type="presParOf" srcId="{738BD333-0CAC-4970-A8E6-FA82D1202675}" destId="{313DC26C-06DB-4098-B605-33485EFC9B29}" srcOrd="2" destOrd="0" presId="urn:microsoft.com/office/officeart/2008/layout/HorizontalMultiLevelHierarchy"/>
    <dgm:cxn modelId="{4A033A29-C601-4F84-BFD7-622B89FB96DB}" type="presParOf" srcId="{313DC26C-06DB-4098-B605-33485EFC9B29}" destId="{30A455D9-9D31-498C-B006-B59A4D0FAC39}" srcOrd="0" destOrd="0" presId="urn:microsoft.com/office/officeart/2008/layout/HorizontalMultiLevelHierarchy"/>
    <dgm:cxn modelId="{B93B707E-B961-4BA7-B3CF-63ACD0FF66B1}" type="presParOf" srcId="{738BD333-0CAC-4970-A8E6-FA82D1202675}" destId="{EB09E2DB-DC0B-4A48-BC00-788EB4BF2155}" srcOrd="3" destOrd="0" presId="urn:microsoft.com/office/officeart/2008/layout/HorizontalMultiLevelHierarchy"/>
    <dgm:cxn modelId="{6CBDF43C-70BD-4409-9DF9-9CA7F57EB17C}" type="presParOf" srcId="{EB09E2DB-DC0B-4A48-BC00-788EB4BF2155}" destId="{49B6876F-A108-4FF0-9A81-E34DBB9D0BD7}" srcOrd="0" destOrd="0" presId="urn:microsoft.com/office/officeart/2008/layout/HorizontalMultiLevelHierarchy"/>
    <dgm:cxn modelId="{2686E0A6-F092-4AAA-926C-60D6DAFD0249}" type="presParOf" srcId="{EB09E2DB-DC0B-4A48-BC00-788EB4BF2155}" destId="{840A5199-0A8A-47C7-8B9A-920BC241225E}" srcOrd="1" destOrd="0" presId="urn:microsoft.com/office/officeart/2008/layout/HorizontalMultiLevelHierarchy"/>
    <dgm:cxn modelId="{25D58353-0D81-4A8A-94ED-93CDC7E7186B}" type="presParOf" srcId="{7E8A6FC8-F240-4C27-8F75-0549E9D1CE4E}" destId="{C4365B06-B9DB-4064-B93F-1043BD4B58B2}" srcOrd="4" destOrd="0" presId="urn:microsoft.com/office/officeart/2008/layout/HorizontalMultiLevelHierarchy"/>
    <dgm:cxn modelId="{7A9066B8-6414-422E-BFD9-738E8455C555}" type="presParOf" srcId="{C4365B06-B9DB-4064-B93F-1043BD4B58B2}" destId="{0336C92A-933C-4B9A-8AAD-80A8DB51CB00}" srcOrd="0" destOrd="0" presId="urn:microsoft.com/office/officeart/2008/layout/HorizontalMultiLevelHierarchy"/>
    <dgm:cxn modelId="{8B26E937-4058-4513-8A0F-CFE594B0876E}" type="presParOf" srcId="{7E8A6FC8-F240-4C27-8F75-0549E9D1CE4E}" destId="{1FB1112C-2171-4ECC-8EA0-911ADD3964A5}" srcOrd="5" destOrd="0" presId="urn:microsoft.com/office/officeart/2008/layout/HorizontalMultiLevelHierarchy"/>
    <dgm:cxn modelId="{C26F454F-9AD3-4024-89FF-46146E45546E}" type="presParOf" srcId="{1FB1112C-2171-4ECC-8EA0-911ADD3964A5}" destId="{B3E59FB2-885F-4B71-9DC5-B6F45C8017DE}" srcOrd="0" destOrd="0" presId="urn:microsoft.com/office/officeart/2008/layout/HorizontalMultiLevelHierarchy"/>
    <dgm:cxn modelId="{D088637E-3313-42FD-BF6C-2731986EDBD5}" type="presParOf" srcId="{1FB1112C-2171-4ECC-8EA0-911ADD3964A5}" destId="{AF149B8F-23A2-48DF-9DB4-21319099B718}" srcOrd="1" destOrd="0" presId="urn:microsoft.com/office/officeart/2008/layout/HorizontalMultiLevelHierarchy"/>
    <dgm:cxn modelId="{BE9866F0-9F68-43A1-A842-DB93EF04DC1F}" type="presParOf" srcId="{AF149B8F-23A2-48DF-9DB4-21319099B718}" destId="{60A0F5E7-D1D3-49F8-A254-CFFCBE54AAF0}" srcOrd="0" destOrd="0" presId="urn:microsoft.com/office/officeart/2008/layout/HorizontalMultiLevelHierarchy"/>
    <dgm:cxn modelId="{C0E974FA-E049-45C2-93A2-BDBEC3178337}" type="presParOf" srcId="{60A0F5E7-D1D3-49F8-A254-CFFCBE54AAF0}" destId="{3325D373-008A-41E8-9EA1-B4B0FC90FCD2}" srcOrd="0" destOrd="0" presId="urn:microsoft.com/office/officeart/2008/layout/HorizontalMultiLevelHierarchy"/>
    <dgm:cxn modelId="{9EFC154F-E0C3-4C05-B0CB-69653AF0C3B6}" type="presParOf" srcId="{AF149B8F-23A2-48DF-9DB4-21319099B718}" destId="{533688EB-FEF2-4244-B371-7A31A6275F9E}" srcOrd="1" destOrd="0" presId="urn:microsoft.com/office/officeart/2008/layout/HorizontalMultiLevelHierarchy"/>
    <dgm:cxn modelId="{E257AAD2-4B95-4624-89C1-BE814C0D3710}" type="presParOf" srcId="{533688EB-FEF2-4244-B371-7A31A6275F9E}" destId="{9E81B654-57F3-4178-8807-AB7AAC7BE08E}" srcOrd="0" destOrd="0" presId="urn:microsoft.com/office/officeart/2008/layout/HorizontalMultiLevelHierarchy"/>
    <dgm:cxn modelId="{89945E56-01F6-4A3F-9837-20D5AC4310BC}" type="presParOf" srcId="{533688EB-FEF2-4244-B371-7A31A6275F9E}" destId="{9EA1B074-9688-4BF6-BD3E-8C3B349784E8}" srcOrd="1" destOrd="0" presId="urn:microsoft.com/office/officeart/2008/layout/HorizontalMultiLevelHierarchy"/>
    <dgm:cxn modelId="{81CF8646-6190-4B20-9C2D-153F30112CA2}" type="presParOf" srcId="{AF149B8F-23A2-48DF-9DB4-21319099B718}" destId="{1CD57466-73E5-43BB-AF51-980153E8039A}" srcOrd="2" destOrd="0" presId="urn:microsoft.com/office/officeart/2008/layout/HorizontalMultiLevelHierarchy"/>
    <dgm:cxn modelId="{79F3A2F2-77F4-4E34-9449-6B5826AE4D1A}" type="presParOf" srcId="{1CD57466-73E5-43BB-AF51-980153E8039A}" destId="{739E7D1A-06FA-43F4-82B6-C5B799BDD12A}" srcOrd="0" destOrd="0" presId="urn:microsoft.com/office/officeart/2008/layout/HorizontalMultiLevelHierarchy"/>
    <dgm:cxn modelId="{27C613A4-BB0F-4597-B8FD-A17EEF5F9CA1}" type="presParOf" srcId="{AF149B8F-23A2-48DF-9DB4-21319099B718}" destId="{08A18F09-5415-4D9A-A62E-8AA11F9AF3C4}" srcOrd="3" destOrd="0" presId="urn:microsoft.com/office/officeart/2008/layout/HorizontalMultiLevelHierarchy"/>
    <dgm:cxn modelId="{6A9B847B-CAF0-4938-B455-CC25A2C7546A}" type="presParOf" srcId="{08A18F09-5415-4D9A-A62E-8AA11F9AF3C4}" destId="{0CCC40AA-D80B-4B90-9188-E5CA017E63B0}" srcOrd="0" destOrd="0" presId="urn:microsoft.com/office/officeart/2008/layout/HorizontalMultiLevelHierarchy"/>
    <dgm:cxn modelId="{6C3BEF47-B999-4C4E-82B1-8E7A48264A7C}" type="presParOf" srcId="{08A18F09-5415-4D9A-A62E-8AA11F9AF3C4}" destId="{E40DD794-4E3C-4009-B357-94D69536E6F4}" srcOrd="1" destOrd="0" presId="urn:microsoft.com/office/officeart/2008/layout/HorizontalMultiLevelHierarchy"/>
    <dgm:cxn modelId="{9786B997-D56E-4BF4-AC74-4CAA5AB104E8}" type="presParOf" srcId="{AF149B8F-23A2-48DF-9DB4-21319099B718}" destId="{F9C34007-6CA8-4ABF-890A-47AA50B267EA}" srcOrd="4" destOrd="0" presId="urn:microsoft.com/office/officeart/2008/layout/HorizontalMultiLevelHierarchy"/>
    <dgm:cxn modelId="{41C2E213-C4DA-4CDB-B4FB-76B4C3D388D6}" type="presParOf" srcId="{F9C34007-6CA8-4ABF-890A-47AA50B267EA}" destId="{D3331827-B92C-4419-96E8-793E8D653308}" srcOrd="0" destOrd="0" presId="urn:microsoft.com/office/officeart/2008/layout/HorizontalMultiLevelHierarchy"/>
    <dgm:cxn modelId="{1738D637-F2D5-42C9-AD21-243F1342B2AC}" type="presParOf" srcId="{AF149B8F-23A2-48DF-9DB4-21319099B718}" destId="{9FBA0EDF-DFF1-4228-BD6C-29FFD841B413}" srcOrd="5" destOrd="0" presId="urn:microsoft.com/office/officeart/2008/layout/HorizontalMultiLevelHierarchy"/>
    <dgm:cxn modelId="{B0363929-8710-42A8-B169-AB09A28B29CB}" type="presParOf" srcId="{9FBA0EDF-DFF1-4228-BD6C-29FFD841B413}" destId="{E51A201A-58C4-4839-BBF3-03A3D4BA1DE9}" srcOrd="0" destOrd="0" presId="urn:microsoft.com/office/officeart/2008/layout/HorizontalMultiLevelHierarchy"/>
    <dgm:cxn modelId="{ABA51267-B8A0-43BC-B1DC-3B671101344E}" type="presParOf" srcId="{9FBA0EDF-DFF1-4228-BD6C-29FFD841B413}" destId="{E4E1A461-B02B-4354-8D34-5DF04939C4AC}" srcOrd="1" destOrd="0" presId="urn:microsoft.com/office/officeart/2008/layout/HorizontalMultiLevelHierarchy"/>
  </dgm:cxnLst>
  <dgm:bg/>
  <dgm:whole/>
  <dgm:extLst>
    <a:ext uri="http://schemas.microsoft.com/office/drawing/2008/diagram">
      <dsp:dataModelExt xmlns:dsp="http://schemas.microsoft.com/office/drawing/2008/diagram" relId="rId12" minVer="http://schemas.openxmlformats.org/drawingml/2006/diagram"/>
    </a:ext>
  </dgm:extLst>
</dgm:dataModel>
</file>

<file path=ppt/diagrams/data9.xml><?xml version="1.0" encoding="utf-8"?>
<dgm:dataModel xmlns:dgm="http://schemas.openxmlformats.org/drawingml/2006/diagram" xmlns:a="http://schemas.openxmlformats.org/drawingml/2006/main">
  <dgm:ptLst>
    <dgm:pt modelId="{96C9D5F4-FF4F-420D-8420-A926E166D7A2}" type="doc">
      <dgm:prSet loTypeId="urn:microsoft.com/office/officeart/2008/layout/HorizontalMultiLevelHierarchy" loCatId="hierarchy" qsTypeId="urn:microsoft.com/office/officeart/2005/8/quickstyle/simple1" qsCatId="simple" csTypeId="urn:microsoft.com/office/officeart/2005/8/colors/colorful3" csCatId="colorful" phldr="1"/>
      <dgm:spPr/>
      <dgm:t>
        <a:bodyPr/>
        <a:lstStyle/>
        <a:p>
          <a:endParaRPr lang="en-US"/>
        </a:p>
      </dgm:t>
    </dgm:pt>
    <dgm:pt modelId="{D0997319-AE2C-4C46-ADCB-BA43BE3F3F54}">
      <dgm:prSet phldrT="[Text]" custT="1"/>
      <dgm:spPr/>
      <dgm:t>
        <a:bodyPr/>
        <a:lstStyle/>
        <a:p>
          <a:r>
            <a:rPr lang="de-DE" sz="1400" b="0" i="0" dirty="0">
              <a:latin typeface="Myriad Pro" panose="020B0503030403020204" pitchFamily="34" charset="0"/>
            </a:rPr>
            <a:t>Eingabebild </a:t>
          </a:r>
        </a:p>
      </dgm:t>
    </dgm:pt>
    <dgm:pt modelId="{EDD69CBB-FC0D-413C-A203-D32C53DEA1CA}" type="parTrans" cxnId="{9486E231-E761-415A-A46A-B222DD3C9A89}">
      <dgm:prSet/>
      <dgm:spPr/>
      <dgm:t>
        <a:bodyPr/>
        <a:lstStyle/>
        <a:p>
          <a:endParaRPr lang="en-US" sz="1600"/>
        </a:p>
      </dgm:t>
    </dgm:pt>
    <dgm:pt modelId="{E975384C-827E-414A-AEB5-7C3391463B49}" type="sibTrans" cxnId="{9486E231-E761-415A-A46A-B222DD3C9A89}">
      <dgm:prSet/>
      <dgm:spPr/>
      <dgm:t>
        <a:bodyPr/>
        <a:lstStyle/>
        <a:p>
          <a:endParaRPr lang="en-US" sz="1600"/>
        </a:p>
      </dgm:t>
    </dgm:pt>
    <dgm:pt modelId="{8E70AA8F-7583-4AFE-9EDE-87363894E1F8}">
      <dgm:prSet phldrT="[Text]" custT="1"/>
      <dgm:spPr/>
      <dgm:t>
        <a:bodyPr/>
        <a:lstStyle/>
        <a:p>
          <a:r>
            <a:rPr lang="de-DE" sz="1000" b="0" i="0" cap="none" baseline="0" dirty="0" err="1">
              <a:latin typeface="Myriad Pro" panose="020B0503030403020204" pitchFamily="34" charset="0"/>
            </a:rPr>
            <a:t>Supervised</a:t>
          </a:r>
          <a:endParaRPr lang="de-DE" sz="1000" b="0" i="0" cap="none" baseline="0" dirty="0">
            <a:latin typeface="Myriad Pro" panose="020B0503030403020204" pitchFamily="34" charset="0"/>
          </a:endParaRPr>
        </a:p>
      </dgm:t>
    </dgm:pt>
    <dgm:pt modelId="{B164CB56-71EE-412E-A3A2-1509A3B08E05}" type="parTrans" cxnId="{707B8E58-ABA5-4C9A-AFCF-298CB05D08DA}">
      <dgm:prSet/>
      <dgm:spPr/>
      <dgm:t>
        <a:bodyPr/>
        <a:lstStyle/>
        <a:p>
          <a:endParaRPr lang="en-US" sz="1600"/>
        </a:p>
      </dgm:t>
    </dgm:pt>
    <dgm:pt modelId="{50009256-33DA-4FAC-A050-2DE70DDCC26C}" type="sibTrans" cxnId="{707B8E58-ABA5-4C9A-AFCF-298CB05D08DA}">
      <dgm:prSet/>
      <dgm:spPr/>
      <dgm:t>
        <a:bodyPr/>
        <a:lstStyle/>
        <a:p>
          <a:endParaRPr lang="en-US" sz="1600"/>
        </a:p>
      </dgm:t>
    </dgm:pt>
    <dgm:pt modelId="{434F1058-EF12-4590-BD43-496B2D33656A}">
      <dgm:prSet phldrT="[Text]" custT="1"/>
      <dgm:spPr/>
      <dgm:t>
        <a:bodyPr/>
        <a:lstStyle/>
        <a:p>
          <a:r>
            <a:rPr lang="de-DE" sz="1000" b="0" i="0" dirty="0" err="1">
              <a:latin typeface="Myriad Pro" panose="020B0503030403020204" pitchFamily="34" charset="0"/>
            </a:rPr>
            <a:t>Unsupervised</a:t>
          </a:r>
          <a:endParaRPr lang="de-DE" sz="1000" b="0" i="0" dirty="0">
            <a:latin typeface="Myriad Pro" panose="020B0503030403020204" pitchFamily="34" charset="0"/>
          </a:endParaRPr>
        </a:p>
      </dgm:t>
    </dgm:pt>
    <dgm:pt modelId="{17815460-B569-463A-BACE-734F709F874A}" type="parTrans" cxnId="{9E137BA1-2E21-43A2-A338-650B162A3662}">
      <dgm:prSet/>
      <dgm:spPr/>
      <dgm:t>
        <a:bodyPr/>
        <a:lstStyle/>
        <a:p>
          <a:endParaRPr lang="en-US" sz="1600"/>
        </a:p>
      </dgm:t>
    </dgm:pt>
    <dgm:pt modelId="{BC8F1DC2-66B6-4B6F-BD02-84C41DB8AF5C}" type="sibTrans" cxnId="{9E137BA1-2E21-43A2-A338-650B162A3662}">
      <dgm:prSet/>
      <dgm:spPr/>
      <dgm:t>
        <a:bodyPr/>
        <a:lstStyle/>
        <a:p>
          <a:endParaRPr lang="en-US" sz="1600"/>
        </a:p>
      </dgm:t>
    </dgm:pt>
    <dgm:pt modelId="{50C4D88C-9CB0-4513-8456-755395491158}" type="pres">
      <dgm:prSet presAssocID="{96C9D5F4-FF4F-420D-8420-A926E166D7A2}" presName="Name0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</dgm:pt>
    <dgm:pt modelId="{506FBA0B-6598-4404-B87A-56869B8718E3}" type="pres">
      <dgm:prSet presAssocID="{D0997319-AE2C-4C46-ADCB-BA43BE3F3F54}" presName="root1" presStyleCnt="0"/>
      <dgm:spPr/>
    </dgm:pt>
    <dgm:pt modelId="{DCF5B4EF-DE4F-4292-A3B2-724C163A44AB}" type="pres">
      <dgm:prSet presAssocID="{D0997319-AE2C-4C46-ADCB-BA43BE3F3F54}" presName="LevelOneTextNode" presStyleLbl="node0" presStyleIdx="0" presStyleCnt="1">
        <dgm:presLayoutVars>
          <dgm:chPref val="3"/>
        </dgm:presLayoutVars>
      </dgm:prSet>
      <dgm:spPr/>
    </dgm:pt>
    <dgm:pt modelId="{7E8A6FC8-F240-4C27-8F75-0549E9D1CE4E}" type="pres">
      <dgm:prSet presAssocID="{D0997319-AE2C-4C46-ADCB-BA43BE3F3F54}" presName="level2hierChild" presStyleCnt="0"/>
      <dgm:spPr/>
    </dgm:pt>
    <dgm:pt modelId="{BE328E0A-C287-4B1A-BD90-C0F3098FFCD9}" type="pres">
      <dgm:prSet presAssocID="{B164CB56-71EE-412E-A3A2-1509A3B08E05}" presName="conn2-1" presStyleLbl="parChTrans1D2" presStyleIdx="0" presStyleCnt="2"/>
      <dgm:spPr/>
    </dgm:pt>
    <dgm:pt modelId="{1EB559E9-DB95-4028-B960-01A592B99E92}" type="pres">
      <dgm:prSet presAssocID="{B164CB56-71EE-412E-A3A2-1509A3B08E05}" presName="connTx" presStyleLbl="parChTrans1D2" presStyleIdx="0" presStyleCnt="2"/>
      <dgm:spPr/>
    </dgm:pt>
    <dgm:pt modelId="{9893F228-CFAA-415F-97D9-8C8EA9FB1BC5}" type="pres">
      <dgm:prSet presAssocID="{8E70AA8F-7583-4AFE-9EDE-87363894E1F8}" presName="root2" presStyleCnt="0"/>
      <dgm:spPr/>
    </dgm:pt>
    <dgm:pt modelId="{49ADAAAB-354D-4968-9DE9-378E6595E5BB}" type="pres">
      <dgm:prSet presAssocID="{8E70AA8F-7583-4AFE-9EDE-87363894E1F8}" presName="LevelTwoTextNode" presStyleLbl="node2" presStyleIdx="0" presStyleCnt="2" custLinFactY="-46619" custLinFactNeighborX="-825" custLinFactNeighborY="-100000">
        <dgm:presLayoutVars>
          <dgm:chPref val="3"/>
        </dgm:presLayoutVars>
      </dgm:prSet>
      <dgm:spPr/>
    </dgm:pt>
    <dgm:pt modelId="{46E2FE2A-A747-4DEE-AAF5-53A8EE84B06B}" type="pres">
      <dgm:prSet presAssocID="{8E70AA8F-7583-4AFE-9EDE-87363894E1F8}" presName="level3hierChild" presStyleCnt="0"/>
      <dgm:spPr/>
    </dgm:pt>
    <dgm:pt modelId="{CD37291B-5548-4F1B-8F2F-200AE5B0DCAE}" type="pres">
      <dgm:prSet presAssocID="{17815460-B569-463A-BACE-734F709F874A}" presName="conn2-1" presStyleLbl="parChTrans1D2" presStyleIdx="1" presStyleCnt="2"/>
      <dgm:spPr/>
    </dgm:pt>
    <dgm:pt modelId="{D4121B60-61D6-41A4-AAB9-DE9671C8ED2F}" type="pres">
      <dgm:prSet presAssocID="{17815460-B569-463A-BACE-734F709F874A}" presName="connTx" presStyleLbl="parChTrans1D2" presStyleIdx="1" presStyleCnt="2"/>
      <dgm:spPr/>
    </dgm:pt>
    <dgm:pt modelId="{50975EFF-52F3-48CE-A104-6890DF2CCC15}" type="pres">
      <dgm:prSet presAssocID="{434F1058-EF12-4590-BD43-496B2D33656A}" presName="root2" presStyleCnt="0"/>
      <dgm:spPr/>
    </dgm:pt>
    <dgm:pt modelId="{E077FA3E-A654-4D27-8616-5CDDA43F8AF6}" type="pres">
      <dgm:prSet presAssocID="{434F1058-EF12-4590-BD43-496B2D33656A}" presName="LevelTwoTextNode" presStyleLbl="node2" presStyleIdx="1" presStyleCnt="2" custLinFactY="43061" custLinFactNeighborX="-1050" custLinFactNeighborY="100000">
        <dgm:presLayoutVars>
          <dgm:chPref val="3"/>
        </dgm:presLayoutVars>
      </dgm:prSet>
      <dgm:spPr/>
    </dgm:pt>
    <dgm:pt modelId="{738BD333-0CAC-4970-A8E6-FA82D1202675}" type="pres">
      <dgm:prSet presAssocID="{434F1058-EF12-4590-BD43-496B2D33656A}" presName="level3hierChild" presStyleCnt="0"/>
      <dgm:spPr/>
    </dgm:pt>
  </dgm:ptLst>
  <dgm:cxnLst>
    <dgm:cxn modelId="{9486E231-E761-415A-A46A-B222DD3C9A89}" srcId="{96C9D5F4-FF4F-420D-8420-A926E166D7A2}" destId="{D0997319-AE2C-4C46-ADCB-BA43BE3F3F54}" srcOrd="0" destOrd="0" parTransId="{EDD69CBB-FC0D-413C-A203-D32C53DEA1CA}" sibTransId="{E975384C-827E-414A-AEB5-7C3391463B49}"/>
    <dgm:cxn modelId="{AA3E744F-10BA-4479-AF01-972C59BF3BCF}" type="presOf" srcId="{B164CB56-71EE-412E-A3A2-1509A3B08E05}" destId="{BE328E0A-C287-4B1A-BD90-C0F3098FFCD9}" srcOrd="0" destOrd="0" presId="urn:microsoft.com/office/officeart/2008/layout/HorizontalMultiLevelHierarchy"/>
    <dgm:cxn modelId="{464F8353-3A6D-43D6-B358-7ECC4F51C0BF}" type="presOf" srcId="{D0997319-AE2C-4C46-ADCB-BA43BE3F3F54}" destId="{DCF5B4EF-DE4F-4292-A3B2-724C163A44AB}" srcOrd="0" destOrd="0" presId="urn:microsoft.com/office/officeart/2008/layout/HorizontalMultiLevelHierarchy"/>
    <dgm:cxn modelId="{707B8E58-ABA5-4C9A-AFCF-298CB05D08DA}" srcId="{D0997319-AE2C-4C46-ADCB-BA43BE3F3F54}" destId="{8E70AA8F-7583-4AFE-9EDE-87363894E1F8}" srcOrd="0" destOrd="0" parTransId="{B164CB56-71EE-412E-A3A2-1509A3B08E05}" sibTransId="{50009256-33DA-4FAC-A050-2DE70DDCC26C}"/>
    <dgm:cxn modelId="{218D7769-246E-4C78-8637-1FABBE9AA235}" type="presOf" srcId="{B164CB56-71EE-412E-A3A2-1509A3B08E05}" destId="{1EB559E9-DB95-4028-B960-01A592B99E92}" srcOrd="1" destOrd="0" presId="urn:microsoft.com/office/officeart/2008/layout/HorizontalMultiLevelHierarchy"/>
    <dgm:cxn modelId="{82D60E8A-40D3-49BC-895D-3DAB17D8AD62}" type="presOf" srcId="{96C9D5F4-FF4F-420D-8420-A926E166D7A2}" destId="{50C4D88C-9CB0-4513-8456-755395491158}" srcOrd="0" destOrd="0" presId="urn:microsoft.com/office/officeart/2008/layout/HorizontalMultiLevelHierarchy"/>
    <dgm:cxn modelId="{E07BE79E-7865-47DB-84AF-7F7057F85761}" type="presOf" srcId="{8E70AA8F-7583-4AFE-9EDE-87363894E1F8}" destId="{49ADAAAB-354D-4968-9DE9-378E6595E5BB}" srcOrd="0" destOrd="0" presId="urn:microsoft.com/office/officeart/2008/layout/HorizontalMultiLevelHierarchy"/>
    <dgm:cxn modelId="{9E137BA1-2E21-43A2-A338-650B162A3662}" srcId="{D0997319-AE2C-4C46-ADCB-BA43BE3F3F54}" destId="{434F1058-EF12-4590-BD43-496B2D33656A}" srcOrd="1" destOrd="0" parTransId="{17815460-B569-463A-BACE-734F709F874A}" sibTransId="{BC8F1DC2-66B6-4B6F-BD02-84C41DB8AF5C}"/>
    <dgm:cxn modelId="{99E7BEA2-9C9E-4C52-ABF3-613AE796E93C}" type="presOf" srcId="{17815460-B569-463A-BACE-734F709F874A}" destId="{D4121B60-61D6-41A4-AAB9-DE9671C8ED2F}" srcOrd="1" destOrd="0" presId="urn:microsoft.com/office/officeart/2008/layout/HorizontalMultiLevelHierarchy"/>
    <dgm:cxn modelId="{BAACB6A7-B0F8-46C4-B719-34EE449D4921}" type="presOf" srcId="{434F1058-EF12-4590-BD43-496B2D33656A}" destId="{E077FA3E-A654-4D27-8616-5CDDA43F8AF6}" srcOrd="0" destOrd="0" presId="urn:microsoft.com/office/officeart/2008/layout/HorizontalMultiLevelHierarchy"/>
    <dgm:cxn modelId="{54CC19B8-2159-4474-B71E-58B32A9BAD74}" type="presOf" srcId="{17815460-B569-463A-BACE-734F709F874A}" destId="{CD37291B-5548-4F1B-8F2F-200AE5B0DCAE}" srcOrd="0" destOrd="0" presId="urn:microsoft.com/office/officeart/2008/layout/HorizontalMultiLevelHierarchy"/>
    <dgm:cxn modelId="{3E8C5480-73D9-4EE3-932D-82721BB1E7B2}" type="presParOf" srcId="{50C4D88C-9CB0-4513-8456-755395491158}" destId="{506FBA0B-6598-4404-B87A-56869B8718E3}" srcOrd="0" destOrd="0" presId="urn:microsoft.com/office/officeart/2008/layout/HorizontalMultiLevelHierarchy"/>
    <dgm:cxn modelId="{AD087DA0-5EB4-49EE-82D3-F6C47200DD79}" type="presParOf" srcId="{506FBA0B-6598-4404-B87A-56869B8718E3}" destId="{DCF5B4EF-DE4F-4292-A3B2-724C163A44AB}" srcOrd="0" destOrd="0" presId="urn:microsoft.com/office/officeart/2008/layout/HorizontalMultiLevelHierarchy"/>
    <dgm:cxn modelId="{AD864577-5B7E-4328-AC26-287C80C6BEA3}" type="presParOf" srcId="{506FBA0B-6598-4404-B87A-56869B8718E3}" destId="{7E8A6FC8-F240-4C27-8F75-0549E9D1CE4E}" srcOrd="1" destOrd="0" presId="urn:microsoft.com/office/officeart/2008/layout/HorizontalMultiLevelHierarchy"/>
    <dgm:cxn modelId="{0D5824EC-96D2-4284-930C-3DC3234577D3}" type="presParOf" srcId="{7E8A6FC8-F240-4C27-8F75-0549E9D1CE4E}" destId="{BE328E0A-C287-4B1A-BD90-C0F3098FFCD9}" srcOrd="0" destOrd="0" presId="urn:microsoft.com/office/officeart/2008/layout/HorizontalMultiLevelHierarchy"/>
    <dgm:cxn modelId="{FF3EDB3F-3E5D-484F-B7EB-2D9D119CC084}" type="presParOf" srcId="{BE328E0A-C287-4B1A-BD90-C0F3098FFCD9}" destId="{1EB559E9-DB95-4028-B960-01A592B99E92}" srcOrd="0" destOrd="0" presId="urn:microsoft.com/office/officeart/2008/layout/HorizontalMultiLevelHierarchy"/>
    <dgm:cxn modelId="{6E796F25-24CC-4F5D-8AB9-96C968A94D86}" type="presParOf" srcId="{7E8A6FC8-F240-4C27-8F75-0549E9D1CE4E}" destId="{9893F228-CFAA-415F-97D9-8C8EA9FB1BC5}" srcOrd="1" destOrd="0" presId="urn:microsoft.com/office/officeart/2008/layout/HorizontalMultiLevelHierarchy"/>
    <dgm:cxn modelId="{F5FE272E-5A1A-4232-A41E-5E8F96E754E7}" type="presParOf" srcId="{9893F228-CFAA-415F-97D9-8C8EA9FB1BC5}" destId="{49ADAAAB-354D-4968-9DE9-378E6595E5BB}" srcOrd="0" destOrd="0" presId="urn:microsoft.com/office/officeart/2008/layout/HorizontalMultiLevelHierarchy"/>
    <dgm:cxn modelId="{480D07D8-1F1B-4569-80CC-321A6295D639}" type="presParOf" srcId="{9893F228-CFAA-415F-97D9-8C8EA9FB1BC5}" destId="{46E2FE2A-A747-4DEE-AAF5-53A8EE84B06B}" srcOrd="1" destOrd="0" presId="urn:microsoft.com/office/officeart/2008/layout/HorizontalMultiLevelHierarchy"/>
    <dgm:cxn modelId="{5C580CC4-3C81-446F-9295-70B119E1F4D6}" type="presParOf" srcId="{7E8A6FC8-F240-4C27-8F75-0549E9D1CE4E}" destId="{CD37291B-5548-4F1B-8F2F-200AE5B0DCAE}" srcOrd="2" destOrd="0" presId="urn:microsoft.com/office/officeart/2008/layout/HorizontalMultiLevelHierarchy"/>
    <dgm:cxn modelId="{3FF4D288-216B-4CA1-A646-865AA9CAB482}" type="presParOf" srcId="{CD37291B-5548-4F1B-8F2F-200AE5B0DCAE}" destId="{D4121B60-61D6-41A4-AAB9-DE9671C8ED2F}" srcOrd="0" destOrd="0" presId="urn:microsoft.com/office/officeart/2008/layout/HorizontalMultiLevelHierarchy"/>
    <dgm:cxn modelId="{D011A705-277B-4D74-85CE-4360C9A9B047}" type="presParOf" srcId="{7E8A6FC8-F240-4C27-8F75-0549E9D1CE4E}" destId="{50975EFF-52F3-48CE-A104-6890DF2CCC15}" srcOrd="3" destOrd="0" presId="urn:microsoft.com/office/officeart/2008/layout/HorizontalMultiLevelHierarchy"/>
    <dgm:cxn modelId="{2465617A-D0D5-439C-AECA-3D0DD03F2CB2}" type="presParOf" srcId="{50975EFF-52F3-48CE-A104-6890DF2CCC15}" destId="{E077FA3E-A654-4D27-8616-5CDDA43F8AF6}" srcOrd="0" destOrd="0" presId="urn:microsoft.com/office/officeart/2008/layout/HorizontalMultiLevelHierarchy"/>
    <dgm:cxn modelId="{13FC7BEC-0977-47F7-8C84-FE5819A8C215}" type="presParOf" srcId="{50975EFF-52F3-48CE-A104-6890DF2CCC15}" destId="{738BD333-0CAC-4970-A8E6-FA82D1202675}" srcOrd="1" destOrd="0" presId="urn:microsoft.com/office/officeart/2008/layout/HorizontalMultiLevelHierarchy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D37291B-5548-4F1B-8F2F-200AE5B0DCAE}">
      <dsp:nvSpPr>
        <dsp:cNvPr id="0" name=""/>
        <dsp:cNvSpPr/>
      </dsp:nvSpPr>
      <dsp:spPr>
        <a:xfrm>
          <a:off x="287092" y="1085850"/>
          <a:ext cx="178076" cy="588930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89038" y="0"/>
              </a:lnTo>
              <a:lnTo>
                <a:pt x="89038" y="588930"/>
              </a:lnTo>
              <a:lnTo>
                <a:pt x="178076" y="588930"/>
              </a:lnTo>
            </a:path>
          </a:pathLst>
        </a:custGeom>
        <a:noFill/>
        <a:ln w="12700" cap="flat" cmpd="sng" algn="ctr">
          <a:solidFill>
            <a:schemeClr val="accent4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500" kern="1200"/>
        </a:p>
      </dsp:txBody>
      <dsp:txXfrm>
        <a:off x="360748" y="1364934"/>
        <a:ext cx="30763" cy="30763"/>
      </dsp:txXfrm>
    </dsp:sp>
    <dsp:sp modelId="{BE328E0A-C287-4B1A-BD90-C0F3098FFCD9}">
      <dsp:nvSpPr>
        <dsp:cNvPr id="0" name=""/>
        <dsp:cNvSpPr/>
      </dsp:nvSpPr>
      <dsp:spPr>
        <a:xfrm>
          <a:off x="287092" y="486726"/>
          <a:ext cx="180190" cy="599124"/>
        </a:xfrm>
        <a:custGeom>
          <a:avLst/>
          <a:gdLst/>
          <a:ahLst/>
          <a:cxnLst/>
          <a:rect l="0" t="0" r="0" b="0"/>
          <a:pathLst>
            <a:path>
              <a:moveTo>
                <a:pt x="0" y="599124"/>
              </a:moveTo>
              <a:lnTo>
                <a:pt x="90095" y="599124"/>
              </a:lnTo>
              <a:lnTo>
                <a:pt x="90095" y="0"/>
              </a:lnTo>
              <a:lnTo>
                <a:pt x="180190" y="0"/>
              </a:lnTo>
            </a:path>
          </a:pathLst>
        </a:custGeom>
        <a:noFill/>
        <a:ln w="12700" cap="flat" cmpd="sng" algn="ctr">
          <a:solidFill>
            <a:schemeClr val="accent4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500" kern="1200"/>
        </a:p>
      </dsp:txBody>
      <dsp:txXfrm>
        <a:off x="361546" y="770647"/>
        <a:ext cx="31281" cy="31281"/>
      </dsp:txXfrm>
    </dsp:sp>
    <dsp:sp modelId="{DCF5B4EF-DE4F-4292-A3B2-724C163A44AB}">
      <dsp:nvSpPr>
        <dsp:cNvPr id="0" name=""/>
        <dsp:cNvSpPr/>
      </dsp:nvSpPr>
      <dsp:spPr>
        <a:xfrm rot="16200000">
          <a:off x="-610102" y="942600"/>
          <a:ext cx="1507890" cy="286499"/>
        </a:xfrm>
        <a:prstGeom prst="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400" b="0" i="0" kern="1200" dirty="0">
              <a:latin typeface="Myriad Pro" panose="020B0503030403020204" pitchFamily="34" charset="0"/>
            </a:rPr>
            <a:t>Eingabebild </a:t>
          </a:r>
        </a:p>
      </dsp:txBody>
      <dsp:txXfrm>
        <a:off x="-610102" y="942600"/>
        <a:ext cx="1507890" cy="286499"/>
      </dsp:txXfrm>
    </dsp:sp>
    <dsp:sp modelId="{49ADAAAB-354D-4968-9DE9-378E6595E5BB}">
      <dsp:nvSpPr>
        <dsp:cNvPr id="0" name=""/>
        <dsp:cNvSpPr/>
      </dsp:nvSpPr>
      <dsp:spPr>
        <a:xfrm>
          <a:off x="467283" y="343476"/>
          <a:ext cx="939717" cy="286499"/>
        </a:xfrm>
        <a:prstGeom prst="rect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000" b="0" i="0" kern="1200" cap="none" baseline="0" dirty="0" err="1">
              <a:latin typeface="Myriad Pro" panose="020B0503030403020204" pitchFamily="34" charset="0"/>
            </a:rPr>
            <a:t>Supervised</a:t>
          </a:r>
          <a:endParaRPr lang="de-DE" sz="1000" b="0" i="0" kern="1200" cap="none" baseline="0" dirty="0">
            <a:latin typeface="Myriad Pro" panose="020B0503030403020204" pitchFamily="34" charset="0"/>
          </a:endParaRPr>
        </a:p>
      </dsp:txBody>
      <dsp:txXfrm>
        <a:off x="467283" y="343476"/>
        <a:ext cx="939717" cy="286499"/>
      </dsp:txXfrm>
    </dsp:sp>
    <dsp:sp modelId="{E077FA3E-A654-4D27-8616-5CDDA43F8AF6}">
      <dsp:nvSpPr>
        <dsp:cNvPr id="0" name=""/>
        <dsp:cNvSpPr/>
      </dsp:nvSpPr>
      <dsp:spPr>
        <a:xfrm>
          <a:off x="465168" y="1531531"/>
          <a:ext cx="939717" cy="286499"/>
        </a:xfrm>
        <a:prstGeom prst="rect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000" b="0" i="0" kern="1200" dirty="0" err="1">
              <a:latin typeface="Myriad Pro" panose="020B0503030403020204" pitchFamily="34" charset="0"/>
            </a:rPr>
            <a:t>Unsupervised</a:t>
          </a:r>
          <a:endParaRPr lang="de-DE" sz="1000" b="0" i="0" kern="1200" dirty="0">
            <a:latin typeface="Myriad Pro" panose="020B0503030403020204" pitchFamily="34" charset="0"/>
          </a:endParaRPr>
        </a:p>
      </dsp:txBody>
      <dsp:txXfrm>
        <a:off x="465168" y="1531531"/>
        <a:ext cx="939717" cy="286499"/>
      </dsp:txXfrm>
    </dsp:sp>
  </dsp:spTree>
</dsp:drawing>
</file>

<file path=ppt/diagrams/drawing10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9C34007-6CA8-4ABF-890A-47AA50B267EA}">
      <dsp:nvSpPr>
        <dsp:cNvPr id="0" name=""/>
        <dsp:cNvSpPr/>
      </dsp:nvSpPr>
      <dsp:spPr>
        <a:xfrm>
          <a:off x="2690418" y="4974423"/>
          <a:ext cx="187599" cy="35746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93799" y="0"/>
              </a:lnTo>
              <a:lnTo>
                <a:pt x="93799" y="357468"/>
              </a:lnTo>
              <a:lnTo>
                <a:pt x="187599" y="357468"/>
              </a:lnTo>
            </a:path>
          </a:pathLst>
        </a:custGeom>
        <a:noFill/>
        <a:ln w="127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e-DE" sz="500" kern="1200"/>
        </a:p>
      </dsp:txBody>
      <dsp:txXfrm>
        <a:off x="2774125" y="5143064"/>
        <a:ext cx="20185" cy="20185"/>
      </dsp:txXfrm>
    </dsp:sp>
    <dsp:sp modelId="{1CD57466-73E5-43BB-AF51-980153E8039A}">
      <dsp:nvSpPr>
        <dsp:cNvPr id="0" name=""/>
        <dsp:cNvSpPr/>
      </dsp:nvSpPr>
      <dsp:spPr>
        <a:xfrm>
          <a:off x="2690418" y="4928703"/>
          <a:ext cx="187599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187599" y="45720"/>
              </a:lnTo>
            </a:path>
          </a:pathLst>
        </a:custGeom>
        <a:noFill/>
        <a:ln w="127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500" kern="1200"/>
        </a:p>
      </dsp:txBody>
      <dsp:txXfrm>
        <a:off x="2779528" y="4969733"/>
        <a:ext cx="9379" cy="9379"/>
      </dsp:txXfrm>
    </dsp:sp>
    <dsp:sp modelId="{60A0F5E7-D1D3-49F8-A254-CFFCBE54AAF0}">
      <dsp:nvSpPr>
        <dsp:cNvPr id="0" name=""/>
        <dsp:cNvSpPr/>
      </dsp:nvSpPr>
      <dsp:spPr>
        <a:xfrm>
          <a:off x="2690418" y="4616955"/>
          <a:ext cx="187599" cy="357468"/>
        </a:xfrm>
        <a:custGeom>
          <a:avLst/>
          <a:gdLst/>
          <a:ahLst/>
          <a:cxnLst/>
          <a:rect l="0" t="0" r="0" b="0"/>
          <a:pathLst>
            <a:path>
              <a:moveTo>
                <a:pt x="0" y="357468"/>
              </a:moveTo>
              <a:lnTo>
                <a:pt x="93799" y="357468"/>
              </a:lnTo>
              <a:lnTo>
                <a:pt x="93799" y="0"/>
              </a:lnTo>
              <a:lnTo>
                <a:pt x="187599" y="0"/>
              </a:lnTo>
            </a:path>
          </a:pathLst>
        </a:custGeom>
        <a:noFill/>
        <a:ln w="127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500" kern="1200"/>
        </a:p>
      </dsp:txBody>
      <dsp:txXfrm>
        <a:off x="2774125" y="4785596"/>
        <a:ext cx="20185" cy="20185"/>
      </dsp:txXfrm>
    </dsp:sp>
    <dsp:sp modelId="{C4365B06-B9DB-4064-B93F-1043BD4B58B2}">
      <dsp:nvSpPr>
        <dsp:cNvPr id="0" name=""/>
        <dsp:cNvSpPr/>
      </dsp:nvSpPr>
      <dsp:spPr>
        <a:xfrm>
          <a:off x="1564822" y="3589234"/>
          <a:ext cx="187599" cy="138518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93799" y="0"/>
              </a:lnTo>
              <a:lnTo>
                <a:pt x="93799" y="1385189"/>
              </a:lnTo>
              <a:lnTo>
                <a:pt x="187599" y="1385189"/>
              </a:lnTo>
            </a:path>
          </a:pathLst>
        </a:custGeom>
        <a:noFill/>
        <a:ln w="12700" cap="flat" cmpd="sng" algn="ctr">
          <a:solidFill>
            <a:schemeClr val="accent4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500" kern="1200"/>
        </a:p>
      </dsp:txBody>
      <dsp:txXfrm>
        <a:off x="1623676" y="4246882"/>
        <a:ext cx="69891" cy="69891"/>
      </dsp:txXfrm>
    </dsp:sp>
    <dsp:sp modelId="{313DC26C-06DB-4098-B605-33485EFC9B29}">
      <dsp:nvSpPr>
        <dsp:cNvPr id="0" name=""/>
        <dsp:cNvSpPr/>
      </dsp:nvSpPr>
      <dsp:spPr>
        <a:xfrm>
          <a:off x="2690418" y="4080752"/>
          <a:ext cx="187599" cy="178734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93799" y="0"/>
              </a:lnTo>
              <a:lnTo>
                <a:pt x="93799" y="178734"/>
              </a:lnTo>
              <a:lnTo>
                <a:pt x="187599" y="178734"/>
              </a:lnTo>
            </a:path>
          </a:pathLst>
        </a:custGeom>
        <a:noFill/>
        <a:ln w="127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500" kern="1200"/>
        </a:p>
      </dsp:txBody>
      <dsp:txXfrm>
        <a:off x="2777740" y="4163642"/>
        <a:ext cx="12955" cy="12955"/>
      </dsp:txXfrm>
    </dsp:sp>
    <dsp:sp modelId="{037062E2-BE96-4A8B-9D2F-1FA0857207C1}">
      <dsp:nvSpPr>
        <dsp:cNvPr id="0" name=""/>
        <dsp:cNvSpPr/>
      </dsp:nvSpPr>
      <dsp:spPr>
        <a:xfrm>
          <a:off x="2690418" y="3902018"/>
          <a:ext cx="187599" cy="178734"/>
        </a:xfrm>
        <a:custGeom>
          <a:avLst/>
          <a:gdLst/>
          <a:ahLst/>
          <a:cxnLst/>
          <a:rect l="0" t="0" r="0" b="0"/>
          <a:pathLst>
            <a:path>
              <a:moveTo>
                <a:pt x="0" y="178734"/>
              </a:moveTo>
              <a:lnTo>
                <a:pt x="93799" y="178734"/>
              </a:lnTo>
              <a:lnTo>
                <a:pt x="93799" y="0"/>
              </a:lnTo>
              <a:lnTo>
                <a:pt x="187599" y="0"/>
              </a:lnTo>
            </a:path>
          </a:pathLst>
        </a:custGeom>
        <a:noFill/>
        <a:ln w="127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500" kern="1200"/>
        </a:p>
      </dsp:txBody>
      <dsp:txXfrm>
        <a:off x="2777740" y="3984907"/>
        <a:ext cx="12955" cy="12955"/>
      </dsp:txXfrm>
    </dsp:sp>
    <dsp:sp modelId="{CD37291B-5548-4F1B-8F2F-200AE5B0DCAE}">
      <dsp:nvSpPr>
        <dsp:cNvPr id="0" name=""/>
        <dsp:cNvSpPr/>
      </dsp:nvSpPr>
      <dsp:spPr>
        <a:xfrm>
          <a:off x="1564822" y="3589234"/>
          <a:ext cx="187599" cy="49151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93799" y="0"/>
              </a:lnTo>
              <a:lnTo>
                <a:pt x="93799" y="491518"/>
              </a:lnTo>
              <a:lnTo>
                <a:pt x="187599" y="491518"/>
              </a:lnTo>
            </a:path>
          </a:pathLst>
        </a:custGeom>
        <a:noFill/>
        <a:ln w="12700" cap="flat" cmpd="sng" algn="ctr">
          <a:solidFill>
            <a:schemeClr val="accent4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500" kern="1200"/>
        </a:p>
      </dsp:txBody>
      <dsp:txXfrm>
        <a:off x="1645469" y="3821840"/>
        <a:ext cx="26305" cy="26305"/>
      </dsp:txXfrm>
    </dsp:sp>
    <dsp:sp modelId="{690E36EE-5895-4B91-A347-3380A5FE5255}">
      <dsp:nvSpPr>
        <dsp:cNvPr id="0" name=""/>
        <dsp:cNvSpPr/>
      </dsp:nvSpPr>
      <dsp:spPr>
        <a:xfrm>
          <a:off x="2690418" y="2204044"/>
          <a:ext cx="187599" cy="1340505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93799" y="0"/>
              </a:lnTo>
              <a:lnTo>
                <a:pt x="93799" y="1340505"/>
              </a:lnTo>
              <a:lnTo>
                <a:pt x="187599" y="1340505"/>
              </a:lnTo>
            </a:path>
          </a:pathLst>
        </a:custGeom>
        <a:noFill/>
        <a:ln w="127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e-DE" sz="500" kern="1200"/>
        </a:p>
      </dsp:txBody>
      <dsp:txXfrm>
        <a:off x="2750379" y="2840458"/>
        <a:ext cx="67678" cy="67678"/>
      </dsp:txXfrm>
    </dsp:sp>
    <dsp:sp modelId="{460E764F-BDF5-4D22-9B4D-16DC71F64CAC}">
      <dsp:nvSpPr>
        <dsp:cNvPr id="0" name=""/>
        <dsp:cNvSpPr/>
      </dsp:nvSpPr>
      <dsp:spPr>
        <a:xfrm>
          <a:off x="2690418" y="2204044"/>
          <a:ext cx="187599" cy="98303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93799" y="0"/>
              </a:lnTo>
              <a:lnTo>
                <a:pt x="93799" y="983037"/>
              </a:lnTo>
              <a:lnTo>
                <a:pt x="187599" y="983037"/>
              </a:lnTo>
            </a:path>
          </a:pathLst>
        </a:custGeom>
        <a:noFill/>
        <a:ln w="127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e-DE" sz="500" kern="1200"/>
        </a:p>
      </dsp:txBody>
      <dsp:txXfrm>
        <a:off x="2759199" y="2670544"/>
        <a:ext cx="50038" cy="50038"/>
      </dsp:txXfrm>
    </dsp:sp>
    <dsp:sp modelId="{A4E05C94-2209-4BF4-B627-606397BBC1C5}">
      <dsp:nvSpPr>
        <dsp:cNvPr id="0" name=""/>
        <dsp:cNvSpPr/>
      </dsp:nvSpPr>
      <dsp:spPr>
        <a:xfrm>
          <a:off x="2690418" y="2204044"/>
          <a:ext cx="187599" cy="62556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93799" y="0"/>
              </a:lnTo>
              <a:lnTo>
                <a:pt x="93799" y="625569"/>
              </a:lnTo>
              <a:lnTo>
                <a:pt x="187599" y="625569"/>
              </a:lnTo>
            </a:path>
          </a:pathLst>
        </a:custGeom>
        <a:noFill/>
        <a:ln w="127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e-DE" sz="500" kern="1200"/>
        </a:p>
      </dsp:txBody>
      <dsp:txXfrm>
        <a:off x="2767891" y="2500502"/>
        <a:ext cx="32654" cy="32654"/>
      </dsp:txXfrm>
    </dsp:sp>
    <dsp:sp modelId="{329CD9E0-9945-40C9-89A5-5929AA1A3A82}">
      <dsp:nvSpPr>
        <dsp:cNvPr id="0" name=""/>
        <dsp:cNvSpPr/>
      </dsp:nvSpPr>
      <dsp:spPr>
        <a:xfrm>
          <a:off x="3816014" y="2472145"/>
          <a:ext cx="187599" cy="536202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93799" y="0"/>
              </a:lnTo>
              <a:lnTo>
                <a:pt x="93799" y="536202"/>
              </a:lnTo>
              <a:lnTo>
                <a:pt x="187599" y="536202"/>
              </a:lnTo>
            </a:path>
          </a:pathLst>
        </a:custGeom>
        <a:noFill/>
        <a:ln w="12700" cap="flat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e-DE" sz="500" kern="1200"/>
        </a:p>
      </dsp:txBody>
      <dsp:txXfrm>
        <a:off x="3895612" y="2726045"/>
        <a:ext cx="28403" cy="28403"/>
      </dsp:txXfrm>
    </dsp:sp>
    <dsp:sp modelId="{9458E52A-38CE-4EE6-A620-F703970B8164}">
      <dsp:nvSpPr>
        <dsp:cNvPr id="0" name=""/>
        <dsp:cNvSpPr/>
      </dsp:nvSpPr>
      <dsp:spPr>
        <a:xfrm>
          <a:off x="3816014" y="2472145"/>
          <a:ext cx="187599" cy="178734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93799" y="0"/>
              </a:lnTo>
              <a:lnTo>
                <a:pt x="93799" y="178734"/>
              </a:lnTo>
              <a:lnTo>
                <a:pt x="187599" y="178734"/>
              </a:lnTo>
            </a:path>
          </a:pathLst>
        </a:custGeom>
        <a:noFill/>
        <a:ln w="12700" cap="flat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e-DE" sz="500" kern="1200"/>
        </a:p>
      </dsp:txBody>
      <dsp:txXfrm>
        <a:off x="3903336" y="2555035"/>
        <a:ext cx="12955" cy="12955"/>
      </dsp:txXfrm>
    </dsp:sp>
    <dsp:sp modelId="{2B4072C3-2623-4EA4-94B7-025A9DCD72E9}">
      <dsp:nvSpPr>
        <dsp:cNvPr id="0" name=""/>
        <dsp:cNvSpPr/>
      </dsp:nvSpPr>
      <dsp:spPr>
        <a:xfrm>
          <a:off x="3816014" y="2293411"/>
          <a:ext cx="187599" cy="178734"/>
        </a:xfrm>
        <a:custGeom>
          <a:avLst/>
          <a:gdLst/>
          <a:ahLst/>
          <a:cxnLst/>
          <a:rect l="0" t="0" r="0" b="0"/>
          <a:pathLst>
            <a:path>
              <a:moveTo>
                <a:pt x="0" y="178734"/>
              </a:moveTo>
              <a:lnTo>
                <a:pt x="93799" y="178734"/>
              </a:lnTo>
              <a:lnTo>
                <a:pt x="93799" y="0"/>
              </a:lnTo>
              <a:lnTo>
                <a:pt x="187599" y="0"/>
              </a:lnTo>
            </a:path>
          </a:pathLst>
        </a:custGeom>
        <a:noFill/>
        <a:ln w="12700" cap="flat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e-DE" sz="500" kern="1200"/>
        </a:p>
      </dsp:txBody>
      <dsp:txXfrm>
        <a:off x="3903336" y="2376300"/>
        <a:ext cx="12955" cy="12955"/>
      </dsp:txXfrm>
    </dsp:sp>
    <dsp:sp modelId="{7F2C676C-E906-4B26-892E-C728B9239429}">
      <dsp:nvSpPr>
        <dsp:cNvPr id="0" name=""/>
        <dsp:cNvSpPr/>
      </dsp:nvSpPr>
      <dsp:spPr>
        <a:xfrm>
          <a:off x="3816014" y="1935943"/>
          <a:ext cx="187599" cy="536202"/>
        </a:xfrm>
        <a:custGeom>
          <a:avLst/>
          <a:gdLst/>
          <a:ahLst/>
          <a:cxnLst/>
          <a:rect l="0" t="0" r="0" b="0"/>
          <a:pathLst>
            <a:path>
              <a:moveTo>
                <a:pt x="0" y="536202"/>
              </a:moveTo>
              <a:lnTo>
                <a:pt x="93799" y="536202"/>
              </a:lnTo>
              <a:lnTo>
                <a:pt x="93799" y="0"/>
              </a:lnTo>
              <a:lnTo>
                <a:pt x="187599" y="0"/>
              </a:lnTo>
            </a:path>
          </a:pathLst>
        </a:custGeom>
        <a:noFill/>
        <a:ln w="12700" cap="flat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e-DE" sz="500" kern="1200"/>
        </a:p>
      </dsp:txBody>
      <dsp:txXfrm>
        <a:off x="3895612" y="2189842"/>
        <a:ext cx="28403" cy="28403"/>
      </dsp:txXfrm>
    </dsp:sp>
    <dsp:sp modelId="{5BC2DE1D-C4D7-4BFC-A0C1-3D282DC024CD}">
      <dsp:nvSpPr>
        <dsp:cNvPr id="0" name=""/>
        <dsp:cNvSpPr/>
      </dsp:nvSpPr>
      <dsp:spPr>
        <a:xfrm>
          <a:off x="2690418" y="2204044"/>
          <a:ext cx="187599" cy="268101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93799" y="0"/>
              </a:lnTo>
              <a:lnTo>
                <a:pt x="93799" y="268101"/>
              </a:lnTo>
              <a:lnTo>
                <a:pt x="187599" y="268101"/>
              </a:lnTo>
            </a:path>
          </a:pathLst>
        </a:custGeom>
        <a:noFill/>
        <a:ln w="127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e-DE" sz="500" kern="1200"/>
        </a:p>
      </dsp:txBody>
      <dsp:txXfrm>
        <a:off x="2776038" y="2329914"/>
        <a:ext cx="16360" cy="16360"/>
      </dsp:txXfrm>
    </dsp:sp>
    <dsp:sp modelId="{FAF45787-F807-4BB6-923D-0C0E2CD8C149}">
      <dsp:nvSpPr>
        <dsp:cNvPr id="0" name=""/>
        <dsp:cNvSpPr/>
      </dsp:nvSpPr>
      <dsp:spPr>
        <a:xfrm>
          <a:off x="3816014" y="863538"/>
          <a:ext cx="187599" cy="71493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93799" y="0"/>
              </a:lnTo>
              <a:lnTo>
                <a:pt x="93799" y="714936"/>
              </a:lnTo>
              <a:lnTo>
                <a:pt x="187599" y="714936"/>
              </a:lnTo>
            </a:path>
          </a:pathLst>
        </a:custGeom>
        <a:noFill/>
        <a:ln w="12700" cap="flat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e-DE" sz="500" kern="1200"/>
        </a:p>
      </dsp:txBody>
      <dsp:txXfrm>
        <a:off x="3891335" y="1202528"/>
        <a:ext cx="36956" cy="36956"/>
      </dsp:txXfrm>
    </dsp:sp>
    <dsp:sp modelId="{C5F46441-018D-4AD0-9984-278FB6B3653F}">
      <dsp:nvSpPr>
        <dsp:cNvPr id="0" name=""/>
        <dsp:cNvSpPr/>
      </dsp:nvSpPr>
      <dsp:spPr>
        <a:xfrm>
          <a:off x="3816014" y="863538"/>
          <a:ext cx="187599" cy="35746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93799" y="0"/>
              </a:lnTo>
              <a:lnTo>
                <a:pt x="93799" y="357468"/>
              </a:lnTo>
              <a:lnTo>
                <a:pt x="187599" y="357468"/>
              </a:lnTo>
            </a:path>
          </a:pathLst>
        </a:custGeom>
        <a:noFill/>
        <a:ln w="12700" cap="flat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e-DE" sz="500" kern="1200"/>
        </a:p>
      </dsp:txBody>
      <dsp:txXfrm>
        <a:off x="3899721" y="1032180"/>
        <a:ext cx="20185" cy="20185"/>
      </dsp:txXfrm>
    </dsp:sp>
    <dsp:sp modelId="{709C936E-7E65-4B5A-AC40-4548A25152AC}">
      <dsp:nvSpPr>
        <dsp:cNvPr id="0" name=""/>
        <dsp:cNvSpPr/>
      </dsp:nvSpPr>
      <dsp:spPr>
        <a:xfrm>
          <a:off x="3816014" y="817818"/>
          <a:ext cx="187599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187599" y="45720"/>
              </a:lnTo>
            </a:path>
          </a:pathLst>
        </a:custGeom>
        <a:noFill/>
        <a:ln w="12700" cap="flat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e-DE" sz="500" kern="1200"/>
        </a:p>
      </dsp:txBody>
      <dsp:txXfrm>
        <a:off x="3905124" y="858848"/>
        <a:ext cx="9379" cy="9379"/>
      </dsp:txXfrm>
    </dsp:sp>
    <dsp:sp modelId="{8F0AA0AA-EF8D-43DE-82C5-2D7BFD08315F}">
      <dsp:nvSpPr>
        <dsp:cNvPr id="0" name=""/>
        <dsp:cNvSpPr/>
      </dsp:nvSpPr>
      <dsp:spPr>
        <a:xfrm>
          <a:off x="3816014" y="506070"/>
          <a:ext cx="187599" cy="357468"/>
        </a:xfrm>
        <a:custGeom>
          <a:avLst/>
          <a:gdLst/>
          <a:ahLst/>
          <a:cxnLst/>
          <a:rect l="0" t="0" r="0" b="0"/>
          <a:pathLst>
            <a:path>
              <a:moveTo>
                <a:pt x="0" y="357468"/>
              </a:moveTo>
              <a:lnTo>
                <a:pt x="93799" y="357468"/>
              </a:lnTo>
              <a:lnTo>
                <a:pt x="93799" y="0"/>
              </a:lnTo>
              <a:lnTo>
                <a:pt x="187599" y="0"/>
              </a:lnTo>
            </a:path>
          </a:pathLst>
        </a:custGeom>
        <a:noFill/>
        <a:ln w="12700" cap="flat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e-DE" sz="500" kern="1200"/>
        </a:p>
      </dsp:txBody>
      <dsp:txXfrm>
        <a:off x="3899721" y="674712"/>
        <a:ext cx="20185" cy="20185"/>
      </dsp:txXfrm>
    </dsp:sp>
    <dsp:sp modelId="{6D05A90F-5A8D-42F9-A2CB-82F28C0FF2BC}">
      <dsp:nvSpPr>
        <dsp:cNvPr id="0" name=""/>
        <dsp:cNvSpPr/>
      </dsp:nvSpPr>
      <dsp:spPr>
        <a:xfrm>
          <a:off x="3816014" y="148602"/>
          <a:ext cx="187599" cy="714936"/>
        </a:xfrm>
        <a:custGeom>
          <a:avLst/>
          <a:gdLst/>
          <a:ahLst/>
          <a:cxnLst/>
          <a:rect l="0" t="0" r="0" b="0"/>
          <a:pathLst>
            <a:path>
              <a:moveTo>
                <a:pt x="0" y="714936"/>
              </a:moveTo>
              <a:lnTo>
                <a:pt x="93799" y="714936"/>
              </a:lnTo>
              <a:lnTo>
                <a:pt x="93799" y="0"/>
              </a:lnTo>
              <a:lnTo>
                <a:pt x="187599" y="0"/>
              </a:lnTo>
            </a:path>
          </a:pathLst>
        </a:custGeom>
        <a:noFill/>
        <a:ln w="12700" cap="flat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e-DE" sz="500" kern="1200"/>
        </a:p>
      </dsp:txBody>
      <dsp:txXfrm>
        <a:off x="3891335" y="487592"/>
        <a:ext cx="36956" cy="36956"/>
      </dsp:txXfrm>
    </dsp:sp>
    <dsp:sp modelId="{A00DE1AA-92DF-4607-98DB-1C3BB048DCF5}">
      <dsp:nvSpPr>
        <dsp:cNvPr id="0" name=""/>
        <dsp:cNvSpPr/>
      </dsp:nvSpPr>
      <dsp:spPr>
        <a:xfrm>
          <a:off x="2690418" y="863538"/>
          <a:ext cx="187599" cy="1340505"/>
        </a:xfrm>
        <a:custGeom>
          <a:avLst/>
          <a:gdLst/>
          <a:ahLst/>
          <a:cxnLst/>
          <a:rect l="0" t="0" r="0" b="0"/>
          <a:pathLst>
            <a:path>
              <a:moveTo>
                <a:pt x="0" y="1340505"/>
              </a:moveTo>
              <a:lnTo>
                <a:pt x="93799" y="1340505"/>
              </a:lnTo>
              <a:lnTo>
                <a:pt x="93799" y="0"/>
              </a:lnTo>
              <a:lnTo>
                <a:pt x="187599" y="0"/>
              </a:lnTo>
            </a:path>
          </a:pathLst>
        </a:custGeom>
        <a:noFill/>
        <a:ln w="127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e-DE" sz="500" kern="1200"/>
        </a:p>
      </dsp:txBody>
      <dsp:txXfrm>
        <a:off x="2750379" y="1499952"/>
        <a:ext cx="67678" cy="67678"/>
      </dsp:txXfrm>
    </dsp:sp>
    <dsp:sp modelId="{BE328E0A-C287-4B1A-BD90-C0F3098FFCD9}">
      <dsp:nvSpPr>
        <dsp:cNvPr id="0" name=""/>
        <dsp:cNvSpPr/>
      </dsp:nvSpPr>
      <dsp:spPr>
        <a:xfrm>
          <a:off x="1564822" y="2204044"/>
          <a:ext cx="187599" cy="1385189"/>
        </a:xfrm>
        <a:custGeom>
          <a:avLst/>
          <a:gdLst/>
          <a:ahLst/>
          <a:cxnLst/>
          <a:rect l="0" t="0" r="0" b="0"/>
          <a:pathLst>
            <a:path>
              <a:moveTo>
                <a:pt x="0" y="1385189"/>
              </a:moveTo>
              <a:lnTo>
                <a:pt x="93799" y="1385189"/>
              </a:lnTo>
              <a:lnTo>
                <a:pt x="93799" y="0"/>
              </a:lnTo>
              <a:lnTo>
                <a:pt x="187599" y="0"/>
              </a:lnTo>
            </a:path>
          </a:pathLst>
        </a:custGeom>
        <a:noFill/>
        <a:ln w="12700" cap="flat" cmpd="sng" algn="ctr">
          <a:solidFill>
            <a:schemeClr val="accent4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500" kern="1200"/>
        </a:p>
      </dsp:txBody>
      <dsp:txXfrm>
        <a:off x="1623676" y="2861693"/>
        <a:ext cx="69891" cy="69891"/>
      </dsp:txXfrm>
    </dsp:sp>
    <dsp:sp modelId="{DCF5B4EF-DE4F-4292-A3B2-724C163A44AB}">
      <dsp:nvSpPr>
        <dsp:cNvPr id="0" name=""/>
        <dsp:cNvSpPr/>
      </dsp:nvSpPr>
      <dsp:spPr>
        <a:xfrm rot="16200000">
          <a:off x="669270" y="3446246"/>
          <a:ext cx="1505129" cy="285974"/>
        </a:xfrm>
        <a:prstGeom prst="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400" b="0" i="0" kern="1200" dirty="0">
              <a:latin typeface="Myriad Pro" panose="020B0503030403020204" pitchFamily="34" charset="0"/>
            </a:rPr>
            <a:t>Eingabebild </a:t>
          </a:r>
        </a:p>
      </dsp:txBody>
      <dsp:txXfrm>
        <a:off x="669270" y="3446246"/>
        <a:ext cx="1505129" cy="285974"/>
      </dsp:txXfrm>
    </dsp:sp>
    <dsp:sp modelId="{49ADAAAB-354D-4968-9DE9-378E6595E5BB}">
      <dsp:nvSpPr>
        <dsp:cNvPr id="0" name=""/>
        <dsp:cNvSpPr/>
      </dsp:nvSpPr>
      <dsp:spPr>
        <a:xfrm>
          <a:off x="1752422" y="2061057"/>
          <a:ext cx="937996" cy="285974"/>
        </a:xfrm>
        <a:prstGeom prst="rect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000" b="1" i="0" kern="1200" cap="none" baseline="0" dirty="0">
              <a:latin typeface="Myriad Pro" panose="020B0503030403020204" pitchFamily="34" charset="0"/>
            </a:rPr>
            <a:t>Einzel Netzwerk</a:t>
          </a:r>
          <a:endParaRPr lang="de-DE" sz="1000" b="0" i="0" kern="1200" cap="none" baseline="0" dirty="0">
            <a:latin typeface="Myriad Pro" panose="020B0503030403020204" pitchFamily="34" charset="0"/>
          </a:endParaRPr>
        </a:p>
      </dsp:txBody>
      <dsp:txXfrm>
        <a:off x="1752422" y="2061057"/>
        <a:ext cx="937996" cy="285974"/>
      </dsp:txXfrm>
    </dsp:sp>
    <dsp:sp modelId="{F9F18759-F577-4686-9C34-EB964D732C77}">
      <dsp:nvSpPr>
        <dsp:cNvPr id="0" name=""/>
        <dsp:cNvSpPr/>
      </dsp:nvSpPr>
      <dsp:spPr>
        <a:xfrm>
          <a:off x="2878018" y="720551"/>
          <a:ext cx="937996" cy="285974"/>
        </a:xfrm>
        <a:prstGeom prst="rect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000" b="0" i="0" kern="1200" dirty="0">
              <a:latin typeface="Myriad Pro" panose="020B0503030403020204" pitchFamily="34" charset="0"/>
            </a:rPr>
            <a:t>Architektur</a:t>
          </a:r>
        </a:p>
      </dsp:txBody>
      <dsp:txXfrm>
        <a:off x="2878018" y="720551"/>
        <a:ext cx="937996" cy="285974"/>
      </dsp:txXfrm>
    </dsp:sp>
    <dsp:sp modelId="{F8A94DA1-2081-4A8B-816C-A9F98C2853F5}">
      <dsp:nvSpPr>
        <dsp:cNvPr id="0" name=""/>
        <dsp:cNvSpPr/>
      </dsp:nvSpPr>
      <dsp:spPr>
        <a:xfrm>
          <a:off x="4003614" y="5615"/>
          <a:ext cx="937996" cy="285974"/>
        </a:xfrm>
        <a:prstGeom prst="rect">
          <a:avLst/>
        </a:prstGeom>
        <a:solidFill>
          <a:schemeClr val="accent6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080" tIns="5080" rIns="5080" bIns="508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800" b="0" i="0" kern="1200" dirty="0">
              <a:latin typeface="Myriad Pro" panose="020B0503030403020204" pitchFamily="34" charset="0"/>
            </a:rPr>
            <a:t>U-Net</a:t>
          </a:r>
        </a:p>
      </dsp:txBody>
      <dsp:txXfrm>
        <a:off x="4003614" y="5615"/>
        <a:ext cx="937996" cy="285974"/>
      </dsp:txXfrm>
    </dsp:sp>
    <dsp:sp modelId="{571B8373-7DFF-4282-8AA6-80F7CC7EA7C8}">
      <dsp:nvSpPr>
        <dsp:cNvPr id="0" name=""/>
        <dsp:cNvSpPr/>
      </dsp:nvSpPr>
      <dsp:spPr>
        <a:xfrm>
          <a:off x="4003614" y="363083"/>
          <a:ext cx="937996" cy="285974"/>
        </a:xfrm>
        <a:prstGeom prst="rect">
          <a:avLst/>
        </a:prstGeom>
        <a:solidFill>
          <a:schemeClr val="accent6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080" tIns="5080" rIns="5080" bIns="508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800" b="0" i="0" kern="1200" dirty="0">
              <a:latin typeface="Myriad Pro" panose="020B0503030403020204" pitchFamily="34" charset="0"/>
            </a:rPr>
            <a:t>U-Net++</a:t>
          </a:r>
        </a:p>
      </dsp:txBody>
      <dsp:txXfrm>
        <a:off x="4003614" y="363083"/>
        <a:ext cx="937996" cy="285974"/>
      </dsp:txXfrm>
    </dsp:sp>
    <dsp:sp modelId="{9E59A063-5821-4E2B-8FD8-3EBA8922B98E}">
      <dsp:nvSpPr>
        <dsp:cNvPr id="0" name=""/>
        <dsp:cNvSpPr/>
      </dsp:nvSpPr>
      <dsp:spPr>
        <a:xfrm>
          <a:off x="4003614" y="720551"/>
          <a:ext cx="937996" cy="285974"/>
        </a:xfrm>
        <a:prstGeom prst="rect">
          <a:avLst/>
        </a:prstGeom>
        <a:solidFill>
          <a:schemeClr val="accent6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080" tIns="5080" rIns="5080" bIns="508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800" b="0" i="0" kern="1200" dirty="0">
              <a:latin typeface="Myriad Pro" panose="020B0503030403020204" pitchFamily="34" charset="0"/>
            </a:rPr>
            <a:t>FPN</a:t>
          </a:r>
        </a:p>
      </dsp:txBody>
      <dsp:txXfrm>
        <a:off x="4003614" y="720551"/>
        <a:ext cx="937996" cy="285974"/>
      </dsp:txXfrm>
    </dsp:sp>
    <dsp:sp modelId="{E35C2840-DB93-493D-B275-166B0E0C4A9D}">
      <dsp:nvSpPr>
        <dsp:cNvPr id="0" name=""/>
        <dsp:cNvSpPr/>
      </dsp:nvSpPr>
      <dsp:spPr>
        <a:xfrm>
          <a:off x="4003614" y="1078019"/>
          <a:ext cx="937996" cy="285974"/>
        </a:xfrm>
        <a:prstGeom prst="rect">
          <a:avLst/>
        </a:prstGeom>
        <a:solidFill>
          <a:schemeClr val="accent6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080" tIns="5080" rIns="5080" bIns="508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800" b="0" i="0" kern="1200" dirty="0">
              <a:latin typeface="Myriad Pro" panose="020B0503030403020204" pitchFamily="34" charset="0"/>
            </a:rPr>
            <a:t>PSPN</a:t>
          </a:r>
        </a:p>
      </dsp:txBody>
      <dsp:txXfrm>
        <a:off x="4003614" y="1078019"/>
        <a:ext cx="937996" cy="285974"/>
      </dsp:txXfrm>
    </dsp:sp>
    <dsp:sp modelId="{8F47A465-73D6-48E5-83FD-F149301C3BBD}">
      <dsp:nvSpPr>
        <dsp:cNvPr id="0" name=""/>
        <dsp:cNvSpPr/>
      </dsp:nvSpPr>
      <dsp:spPr>
        <a:xfrm>
          <a:off x="4003614" y="1435487"/>
          <a:ext cx="937996" cy="285974"/>
        </a:xfrm>
        <a:prstGeom prst="rect">
          <a:avLst/>
        </a:prstGeom>
        <a:solidFill>
          <a:schemeClr val="accent6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080" tIns="5080" rIns="5080" bIns="508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800" b="0" i="0" kern="1200" dirty="0">
              <a:latin typeface="Myriad Pro" panose="020B0503030403020204" pitchFamily="34" charset="0"/>
            </a:rPr>
            <a:t>PAN</a:t>
          </a:r>
        </a:p>
      </dsp:txBody>
      <dsp:txXfrm>
        <a:off x="4003614" y="1435487"/>
        <a:ext cx="937996" cy="285974"/>
      </dsp:txXfrm>
    </dsp:sp>
    <dsp:sp modelId="{DC0B28EB-699E-45BB-87EC-30E574E72821}">
      <dsp:nvSpPr>
        <dsp:cNvPr id="0" name=""/>
        <dsp:cNvSpPr/>
      </dsp:nvSpPr>
      <dsp:spPr>
        <a:xfrm>
          <a:off x="2878018" y="2329158"/>
          <a:ext cx="937996" cy="285974"/>
        </a:xfrm>
        <a:prstGeom prst="rect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000" b="0" i="0" kern="1200" dirty="0">
              <a:latin typeface="Myriad Pro" panose="020B0503030403020204" pitchFamily="34" charset="0"/>
            </a:rPr>
            <a:t>Encoder</a:t>
          </a:r>
        </a:p>
      </dsp:txBody>
      <dsp:txXfrm>
        <a:off x="2878018" y="2329158"/>
        <a:ext cx="937996" cy="285974"/>
      </dsp:txXfrm>
    </dsp:sp>
    <dsp:sp modelId="{81473451-3FF3-474B-98FB-6869E5682468}">
      <dsp:nvSpPr>
        <dsp:cNvPr id="0" name=""/>
        <dsp:cNvSpPr/>
      </dsp:nvSpPr>
      <dsp:spPr>
        <a:xfrm>
          <a:off x="4003614" y="1792956"/>
          <a:ext cx="937996" cy="285974"/>
        </a:xfrm>
        <a:prstGeom prst="rect">
          <a:avLst/>
        </a:prstGeom>
        <a:solidFill>
          <a:schemeClr val="accent6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080" tIns="5080" rIns="5080" bIns="508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800" b="0" i="0" kern="1200" dirty="0">
              <a:latin typeface="Myriad Pro" panose="020B0503030403020204" pitchFamily="34" charset="0"/>
            </a:rPr>
            <a:t>Inception-V4</a:t>
          </a:r>
        </a:p>
      </dsp:txBody>
      <dsp:txXfrm>
        <a:off x="4003614" y="1792956"/>
        <a:ext cx="937996" cy="285974"/>
      </dsp:txXfrm>
    </dsp:sp>
    <dsp:sp modelId="{A732D3F1-1291-409E-9A7C-778CAE167F89}">
      <dsp:nvSpPr>
        <dsp:cNvPr id="0" name=""/>
        <dsp:cNvSpPr/>
      </dsp:nvSpPr>
      <dsp:spPr>
        <a:xfrm>
          <a:off x="4003614" y="2150424"/>
          <a:ext cx="937996" cy="285974"/>
        </a:xfrm>
        <a:prstGeom prst="rect">
          <a:avLst/>
        </a:prstGeom>
        <a:solidFill>
          <a:schemeClr val="accent6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080" tIns="5080" rIns="5080" bIns="508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800" b="0" i="0" kern="1200" dirty="0">
              <a:latin typeface="Myriad Pro" panose="020B0503030403020204" pitchFamily="34" charset="0"/>
            </a:rPr>
            <a:t>Inception-</a:t>
          </a:r>
          <a:r>
            <a:rPr lang="de-DE" sz="800" b="0" i="0" kern="1200" dirty="0" err="1">
              <a:latin typeface="Myriad Pro" panose="020B0503030403020204" pitchFamily="34" charset="0"/>
            </a:rPr>
            <a:t>ResNet</a:t>
          </a:r>
          <a:endParaRPr lang="de-DE" sz="800" b="0" i="0" kern="1200" dirty="0">
            <a:latin typeface="Myriad Pro" panose="020B0503030403020204" pitchFamily="34" charset="0"/>
          </a:endParaRPr>
        </a:p>
      </dsp:txBody>
      <dsp:txXfrm>
        <a:off x="4003614" y="2150424"/>
        <a:ext cx="937996" cy="285974"/>
      </dsp:txXfrm>
    </dsp:sp>
    <dsp:sp modelId="{42C465EB-33D9-4AD2-A33B-930C8E39ED41}">
      <dsp:nvSpPr>
        <dsp:cNvPr id="0" name=""/>
        <dsp:cNvSpPr/>
      </dsp:nvSpPr>
      <dsp:spPr>
        <a:xfrm>
          <a:off x="4003614" y="2507892"/>
          <a:ext cx="937996" cy="285974"/>
        </a:xfrm>
        <a:prstGeom prst="rect">
          <a:avLst/>
        </a:prstGeom>
        <a:solidFill>
          <a:schemeClr val="accent6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080" tIns="5080" rIns="5080" bIns="508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800" b="0" i="0" kern="1200" dirty="0" err="1">
              <a:latin typeface="Myriad Pro" panose="020B0503030403020204" pitchFamily="34" charset="0"/>
            </a:rPr>
            <a:t>ResNet</a:t>
          </a:r>
          <a:endParaRPr lang="de-DE" sz="800" b="0" i="0" kern="1200" dirty="0">
            <a:latin typeface="Myriad Pro" panose="020B0503030403020204" pitchFamily="34" charset="0"/>
          </a:endParaRPr>
        </a:p>
      </dsp:txBody>
      <dsp:txXfrm>
        <a:off x="4003614" y="2507892"/>
        <a:ext cx="937996" cy="285974"/>
      </dsp:txXfrm>
    </dsp:sp>
    <dsp:sp modelId="{84D7F889-3498-48D8-ADC3-14251347C81B}">
      <dsp:nvSpPr>
        <dsp:cNvPr id="0" name=""/>
        <dsp:cNvSpPr/>
      </dsp:nvSpPr>
      <dsp:spPr>
        <a:xfrm>
          <a:off x="4003614" y="2865360"/>
          <a:ext cx="937996" cy="285974"/>
        </a:xfrm>
        <a:prstGeom prst="rect">
          <a:avLst/>
        </a:prstGeom>
        <a:solidFill>
          <a:schemeClr val="accent6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080" tIns="5080" rIns="5080" bIns="508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800" b="0" i="0" kern="1200" dirty="0" err="1">
              <a:latin typeface="Myriad Pro" panose="020B0503030403020204" pitchFamily="34" charset="0"/>
            </a:rPr>
            <a:t>ResNext</a:t>
          </a:r>
          <a:endParaRPr lang="de-DE" sz="800" b="0" i="0" kern="1200" dirty="0">
            <a:latin typeface="Myriad Pro" panose="020B0503030403020204" pitchFamily="34" charset="0"/>
          </a:endParaRPr>
        </a:p>
      </dsp:txBody>
      <dsp:txXfrm>
        <a:off x="4003614" y="2865360"/>
        <a:ext cx="937996" cy="285974"/>
      </dsp:txXfrm>
    </dsp:sp>
    <dsp:sp modelId="{485D5E8B-1295-4B72-BF14-74B2BE7008EE}">
      <dsp:nvSpPr>
        <dsp:cNvPr id="0" name=""/>
        <dsp:cNvSpPr/>
      </dsp:nvSpPr>
      <dsp:spPr>
        <a:xfrm>
          <a:off x="2878018" y="2686626"/>
          <a:ext cx="937996" cy="285974"/>
        </a:xfrm>
        <a:prstGeom prst="rect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000" b="0" i="0" kern="1200" dirty="0" err="1">
              <a:latin typeface="Myriad Pro" panose="020B0503030403020204" pitchFamily="34" charset="0"/>
            </a:rPr>
            <a:t>Lernrate</a:t>
          </a:r>
          <a:endParaRPr lang="de-DE" sz="1000" b="0" i="0" kern="1200" dirty="0">
            <a:latin typeface="Myriad Pro" panose="020B0503030403020204" pitchFamily="34" charset="0"/>
          </a:endParaRPr>
        </a:p>
      </dsp:txBody>
      <dsp:txXfrm>
        <a:off x="2878018" y="2686626"/>
        <a:ext cx="937996" cy="285974"/>
      </dsp:txXfrm>
    </dsp:sp>
    <dsp:sp modelId="{43996E1E-6F52-4F8E-9F4B-77A56824C63C}">
      <dsp:nvSpPr>
        <dsp:cNvPr id="0" name=""/>
        <dsp:cNvSpPr/>
      </dsp:nvSpPr>
      <dsp:spPr>
        <a:xfrm>
          <a:off x="2878018" y="3044094"/>
          <a:ext cx="937996" cy="285974"/>
        </a:xfrm>
        <a:prstGeom prst="rect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000" b="0" i="0" kern="1200" dirty="0" err="1">
              <a:latin typeface="Myriad Pro" panose="020B0503030403020204" pitchFamily="34" charset="0"/>
            </a:rPr>
            <a:t>Augmentierung</a:t>
          </a:r>
          <a:endParaRPr lang="de-DE" sz="1000" b="0" i="0" kern="1200" dirty="0">
            <a:latin typeface="Myriad Pro" panose="020B0503030403020204" pitchFamily="34" charset="0"/>
          </a:endParaRPr>
        </a:p>
      </dsp:txBody>
      <dsp:txXfrm>
        <a:off x="2878018" y="3044094"/>
        <a:ext cx="937996" cy="285974"/>
      </dsp:txXfrm>
    </dsp:sp>
    <dsp:sp modelId="{6E154881-954A-429F-9BBE-E92EEB4B1011}">
      <dsp:nvSpPr>
        <dsp:cNvPr id="0" name=""/>
        <dsp:cNvSpPr/>
      </dsp:nvSpPr>
      <dsp:spPr>
        <a:xfrm>
          <a:off x="2878018" y="3401563"/>
          <a:ext cx="937996" cy="285974"/>
        </a:xfrm>
        <a:prstGeom prst="rect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000" b="0" i="0" kern="1200" dirty="0">
              <a:latin typeface="Myriad Pro" panose="020B0503030403020204" pitchFamily="34" charset="0"/>
            </a:rPr>
            <a:t>Loss-Funktion </a:t>
          </a:r>
        </a:p>
      </dsp:txBody>
      <dsp:txXfrm>
        <a:off x="2878018" y="3401563"/>
        <a:ext cx="937996" cy="285974"/>
      </dsp:txXfrm>
    </dsp:sp>
    <dsp:sp modelId="{E077FA3E-A654-4D27-8616-5CDDA43F8AF6}">
      <dsp:nvSpPr>
        <dsp:cNvPr id="0" name=""/>
        <dsp:cNvSpPr/>
      </dsp:nvSpPr>
      <dsp:spPr>
        <a:xfrm>
          <a:off x="1752422" y="3937765"/>
          <a:ext cx="937996" cy="285974"/>
        </a:xfrm>
        <a:prstGeom prst="rect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000" b="1" i="0" kern="1200" cap="none" baseline="0" dirty="0">
              <a:latin typeface="Myriad Pro" panose="020B0503030403020204" pitchFamily="34" charset="0"/>
            </a:rPr>
            <a:t>Multi-Netzwerk </a:t>
          </a:r>
          <a:endParaRPr lang="de-DE" sz="1000" b="0" i="0" kern="1200" dirty="0">
            <a:latin typeface="Myriad Pro" panose="020B0503030403020204" pitchFamily="34" charset="0"/>
          </a:endParaRPr>
        </a:p>
      </dsp:txBody>
      <dsp:txXfrm>
        <a:off x="1752422" y="3937765"/>
        <a:ext cx="937996" cy="285974"/>
      </dsp:txXfrm>
    </dsp:sp>
    <dsp:sp modelId="{768C7647-12EF-40E9-94EB-C1868C4AFE59}">
      <dsp:nvSpPr>
        <dsp:cNvPr id="0" name=""/>
        <dsp:cNvSpPr/>
      </dsp:nvSpPr>
      <dsp:spPr>
        <a:xfrm>
          <a:off x="2878018" y="3759031"/>
          <a:ext cx="937996" cy="285974"/>
        </a:xfrm>
        <a:prstGeom prst="rect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000" b="0" i="0" kern="1200" dirty="0">
              <a:latin typeface="Myriad Pro" panose="020B0503030403020204" pitchFamily="34" charset="0"/>
            </a:rPr>
            <a:t>U-Net</a:t>
          </a:r>
        </a:p>
      </dsp:txBody>
      <dsp:txXfrm>
        <a:off x="2878018" y="3759031"/>
        <a:ext cx="937996" cy="285974"/>
      </dsp:txXfrm>
    </dsp:sp>
    <dsp:sp modelId="{49B6876F-A108-4FF0-9A81-E34DBB9D0BD7}">
      <dsp:nvSpPr>
        <dsp:cNvPr id="0" name=""/>
        <dsp:cNvSpPr/>
      </dsp:nvSpPr>
      <dsp:spPr>
        <a:xfrm>
          <a:off x="2878018" y="4116499"/>
          <a:ext cx="937996" cy="285974"/>
        </a:xfrm>
        <a:prstGeom prst="rect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000" b="0" i="0" kern="1200" dirty="0">
              <a:latin typeface="Myriad Pro" panose="020B0503030403020204" pitchFamily="34" charset="0"/>
            </a:rPr>
            <a:t>YOLO</a:t>
          </a:r>
        </a:p>
      </dsp:txBody>
      <dsp:txXfrm>
        <a:off x="2878018" y="4116499"/>
        <a:ext cx="937996" cy="285974"/>
      </dsp:txXfrm>
    </dsp:sp>
    <dsp:sp modelId="{B3E59FB2-885F-4B71-9DC5-B6F45C8017DE}">
      <dsp:nvSpPr>
        <dsp:cNvPr id="0" name=""/>
        <dsp:cNvSpPr/>
      </dsp:nvSpPr>
      <dsp:spPr>
        <a:xfrm>
          <a:off x="1752422" y="4831436"/>
          <a:ext cx="937996" cy="285974"/>
        </a:xfrm>
        <a:prstGeom prst="rect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000" b="1" i="0" kern="1200" cap="none" baseline="0" dirty="0">
              <a:latin typeface="Myriad Pro" panose="020B0503030403020204" pitchFamily="34" charset="0"/>
            </a:rPr>
            <a:t>Ensembles </a:t>
          </a:r>
          <a:endParaRPr lang="de-DE" sz="1000" b="0" i="0" kern="1200" cap="none" baseline="0" dirty="0">
            <a:latin typeface="Myriad Pro" panose="020B0503030403020204" pitchFamily="34" charset="0"/>
          </a:endParaRPr>
        </a:p>
      </dsp:txBody>
      <dsp:txXfrm>
        <a:off x="1752422" y="4831436"/>
        <a:ext cx="937996" cy="285974"/>
      </dsp:txXfrm>
    </dsp:sp>
    <dsp:sp modelId="{9E81B654-57F3-4178-8807-AB7AAC7BE08E}">
      <dsp:nvSpPr>
        <dsp:cNvPr id="0" name=""/>
        <dsp:cNvSpPr/>
      </dsp:nvSpPr>
      <dsp:spPr>
        <a:xfrm>
          <a:off x="2878018" y="4473967"/>
          <a:ext cx="937996" cy="285974"/>
        </a:xfrm>
        <a:prstGeom prst="rect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000" b="0" i="0" kern="1200" dirty="0">
              <a:latin typeface="Myriad Pro" panose="020B0503030403020204" pitchFamily="34" charset="0"/>
            </a:rPr>
            <a:t>Homogen</a:t>
          </a:r>
        </a:p>
      </dsp:txBody>
      <dsp:txXfrm>
        <a:off x="2878018" y="4473967"/>
        <a:ext cx="937996" cy="285974"/>
      </dsp:txXfrm>
    </dsp:sp>
    <dsp:sp modelId="{0CCC40AA-D80B-4B90-9188-E5CA017E63B0}">
      <dsp:nvSpPr>
        <dsp:cNvPr id="0" name=""/>
        <dsp:cNvSpPr/>
      </dsp:nvSpPr>
      <dsp:spPr>
        <a:xfrm>
          <a:off x="2878018" y="4831436"/>
          <a:ext cx="937996" cy="285974"/>
        </a:xfrm>
        <a:prstGeom prst="rect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000" b="0" i="0" kern="1200" dirty="0">
              <a:latin typeface="Myriad Pro" panose="020B0503030403020204" pitchFamily="34" charset="0"/>
            </a:rPr>
            <a:t>Heterogen</a:t>
          </a:r>
        </a:p>
      </dsp:txBody>
      <dsp:txXfrm>
        <a:off x="2878018" y="4831436"/>
        <a:ext cx="937996" cy="285974"/>
      </dsp:txXfrm>
    </dsp:sp>
    <dsp:sp modelId="{E51A201A-58C4-4839-BBF3-03A3D4BA1DE9}">
      <dsp:nvSpPr>
        <dsp:cNvPr id="0" name=""/>
        <dsp:cNvSpPr/>
      </dsp:nvSpPr>
      <dsp:spPr>
        <a:xfrm>
          <a:off x="2878018" y="5188904"/>
          <a:ext cx="937996" cy="285974"/>
        </a:xfrm>
        <a:prstGeom prst="rect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000" b="0" i="0" kern="1200" dirty="0" err="1">
              <a:latin typeface="Myriad Pro" panose="020B0503030403020204" pitchFamily="34" charset="0"/>
            </a:rPr>
            <a:t>Expizit</a:t>
          </a:r>
          <a:r>
            <a:rPr lang="de-DE" sz="1000" b="0" i="0" kern="1200" dirty="0">
              <a:latin typeface="Myriad Pro" panose="020B0503030403020204" pitchFamily="34" charset="0"/>
            </a:rPr>
            <a:t> </a:t>
          </a:r>
        </a:p>
      </dsp:txBody>
      <dsp:txXfrm>
        <a:off x="2878018" y="5188904"/>
        <a:ext cx="937996" cy="285974"/>
      </dsp:txXfrm>
    </dsp:sp>
  </dsp:spTree>
</dsp:drawing>
</file>

<file path=ppt/diagrams/drawing1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D37291B-5548-4F1B-8F2F-200AE5B0DCAE}">
      <dsp:nvSpPr>
        <dsp:cNvPr id="0" name=""/>
        <dsp:cNvSpPr/>
      </dsp:nvSpPr>
      <dsp:spPr>
        <a:xfrm>
          <a:off x="287092" y="1085850"/>
          <a:ext cx="178076" cy="588930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89038" y="0"/>
              </a:lnTo>
              <a:lnTo>
                <a:pt x="89038" y="588930"/>
              </a:lnTo>
              <a:lnTo>
                <a:pt x="178076" y="588930"/>
              </a:lnTo>
            </a:path>
          </a:pathLst>
        </a:custGeom>
        <a:noFill/>
        <a:ln w="12700" cap="flat" cmpd="sng" algn="ctr">
          <a:solidFill>
            <a:schemeClr val="accent4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500" kern="1200"/>
        </a:p>
      </dsp:txBody>
      <dsp:txXfrm>
        <a:off x="360748" y="1364934"/>
        <a:ext cx="30763" cy="30763"/>
      </dsp:txXfrm>
    </dsp:sp>
    <dsp:sp modelId="{BE328E0A-C287-4B1A-BD90-C0F3098FFCD9}">
      <dsp:nvSpPr>
        <dsp:cNvPr id="0" name=""/>
        <dsp:cNvSpPr/>
      </dsp:nvSpPr>
      <dsp:spPr>
        <a:xfrm>
          <a:off x="287092" y="486726"/>
          <a:ext cx="180190" cy="599124"/>
        </a:xfrm>
        <a:custGeom>
          <a:avLst/>
          <a:gdLst/>
          <a:ahLst/>
          <a:cxnLst/>
          <a:rect l="0" t="0" r="0" b="0"/>
          <a:pathLst>
            <a:path>
              <a:moveTo>
                <a:pt x="0" y="599124"/>
              </a:moveTo>
              <a:lnTo>
                <a:pt x="90095" y="599124"/>
              </a:lnTo>
              <a:lnTo>
                <a:pt x="90095" y="0"/>
              </a:lnTo>
              <a:lnTo>
                <a:pt x="180190" y="0"/>
              </a:lnTo>
            </a:path>
          </a:pathLst>
        </a:custGeom>
        <a:noFill/>
        <a:ln w="12700" cap="flat" cmpd="sng" algn="ctr">
          <a:solidFill>
            <a:schemeClr val="accent4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500" kern="1200"/>
        </a:p>
      </dsp:txBody>
      <dsp:txXfrm>
        <a:off x="361546" y="770647"/>
        <a:ext cx="31281" cy="31281"/>
      </dsp:txXfrm>
    </dsp:sp>
    <dsp:sp modelId="{DCF5B4EF-DE4F-4292-A3B2-724C163A44AB}">
      <dsp:nvSpPr>
        <dsp:cNvPr id="0" name=""/>
        <dsp:cNvSpPr/>
      </dsp:nvSpPr>
      <dsp:spPr>
        <a:xfrm rot="16200000">
          <a:off x="-610102" y="942600"/>
          <a:ext cx="1507890" cy="286499"/>
        </a:xfrm>
        <a:prstGeom prst="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400" b="0" i="0" kern="1200" dirty="0">
              <a:latin typeface="Myriad Pro" panose="020B0503030403020204" pitchFamily="34" charset="0"/>
            </a:rPr>
            <a:t>Eingabebild </a:t>
          </a:r>
        </a:p>
      </dsp:txBody>
      <dsp:txXfrm>
        <a:off x="-610102" y="942600"/>
        <a:ext cx="1507890" cy="286499"/>
      </dsp:txXfrm>
    </dsp:sp>
    <dsp:sp modelId="{49ADAAAB-354D-4968-9DE9-378E6595E5BB}">
      <dsp:nvSpPr>
        <dsp:cNvPr id="0" name=""/>
        <dsp:cNvSpPr/>
      </dsp:nvSpPr>
      <dsp:spPr>
        <a:xfrm>
          <a:off x="467283" y="343476"/>
          <a:ext cx="939717" cy="286499"/>
        </a:xfrm>
        <a:prstGeom prst="rect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000" b="0" i="0" kern="1200" cap="none" baseline="0" dirty="0" err="1">
              <a:latin typeface="Myriad Pro" panose="020B0503030403020204" pitchFamily="34" charset="0"/>
            </a:rPr>
            <a:t>Supervised</a:t>
          </a:r>
          <a:endParaRPr lang="de-DE" sz="1000" b="0" i="0" kern="1200" cap="none" baseline="0" dirty="0">
            <a:latin typeface="Myriad Pro" panose="020B0503030403020204" pitchFamily="34" charset="0"/>
          </a:endParaRPr>
        </a:p>
      </dsp:txBody>
      <dsp:txXfrm>
        <a:off x="467283" y="343476"/>
        <a:ext cx="939717" cy="286499"/>
      </dsp:txXfrm>
    </dsp:sp>
    <dsp:sp modelId="{E077FA3E-A654-4D27-8616-5CDDA43F8AF6}">
      <dsp:nvSpPr>
        <dsp:cNvPr id="0" name=""/>
        <dsp:cNvSpPr/>
      </dsp:nvSpPr>
      <dsp:spPr>
        <a:xfrm>
          <a:off x="465168" y="1531531"/>
          <a:ext cx="939717" cy="286499"/>
        </a:xfrm>
        <a:prstGeom prst="rect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000" b="0" i="0" kern="1200" dirty="0" err="1">
              <a:latin typeface="Myriad Pro" panose="020B0503030403020204" pitchFamily="34" charset="0"/>
            </a:rPr>
            <a:t>Unsupervised</a:t>
          </a:r>
          <a:endParaRPr lang="de-DE" sz="1000" b="0" i="0" kern="1200" dirty="0">
            <a:latin typeface="Myriad Pro" panose="020B0503030403020204" pitchFamily="34" charset="0"/>
          </a:endParaRPr>
        </a:p>
      </dsp:txBody>
      <dsp:txXfrm>
        <a:off x="465168" y="1531531"/>
        <a:ext cx="939717" cy="286499"/>
      </dsp:txXfrm>
    </dsp:sp>
  </dsp:spTree>
</dsp:drawing>
</file>

<file path=ppt/diagrams/drawing1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9C34007-6CA8-4ABF-890A-47AA50B267EA}">
      <dsp:nvSpPr>
        <dsp:cNvPr id="0" name=""/>
        <dsp:cNvSpPr/>
      </dsp:nvSpPr>
      <dsp:spPr>
        <a:xfrm>
          <a:off x="2690418" y="4974423"/>
          <a:ext cx="187599" cy="35746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93799" y="0"/>
              </a:lnTo>
              <a:lnTo>
                <a:pt x="93799" y="357468"/>
              </a:lnTo>
              <a:lnTo>
                <a:pt x="187599" y="357468"/>
              </a:lnTo>
            </a:path>
          </a:pathLst>
        </a:custGeom>
        <a:noFill/>
        <a:ln w="127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e-DE" sz="500" kern="1200"/>
        </a:p>
      </dsp:txBody>
      <dsp:txXfrm>
        <a:off x="2774125" y="5143064"/>
        <a:ext cx="20185" cy="20185"/>
      </dsp:txXfrm>
    </dsp:sp>
    <dsp:sp modelId="{1CD57466-73E5-43BB-AF51-980153E8039A}">
      <dsp:nvSpPr>
        <dsp:cNvPr id="0" name=""/>
        <dsp:cNvSpPr/>
      </dsp:nvSpPr>
      <dsp:spPr>
        <a:xfrm>
          <a:off x="2690418" y="4928703"/>
          <a:ext cx="187599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187599" y="45720"/>
              </a:lnTo>
            </a:path>
          </a:pathLst>
        </a:custGeom>
        <a:noFill/>
        <a:ln w="127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500" kern="1200"/>
        </a:p>
      </dsp:txBody>
      <dsp:txXfrm>
        <a:off x="2779528" y="4969733"/>
        <a:ext cx="9379" cy="9379"/>
      </dsp:txXfrm>
    </dsp:sp>
    <dsp:sp modelId="{60A0F5E7-D1D3-49F8-A254-CFFCBE54AAF0}">
      <dsp:nvSpPr>
        <dsp:cNvPr id="0" name=""/>
        <dsp:cNvSpPr/>
      </dsp:nvSpPr>
      <dsp:spPr>
        <a:xfrm>
          <a:off x="2690418" y="4616955"/>
          <a:ext cx="187599" cy="357468"/>
        </a:xfrm>
        <a:custGeom>
          <a:avLst/>
          <a:gdLst/>
          <a:ahLst/>
          <a:cxnLst/>
          <a:rect l="0" t="0" r="0" b="0"/>
          <a:pathLst>
            <a:path>
              <a:moveTo>
                <a:pt x="0" y="357468"/>
              </a:moveTo>
              <a:lnTo>
                <a:pt x="93799" y="357468"/>
              </a:lnTo>
              <a:lnTo>
                <a:pt x="93799" y="0"/>
              </a:lnTo>
              <a:lnTo>
                <a:pt x="187599" y="0"/>
              </a:lnTo>
            </a:path>
          </a:pathLst>
        </a:custGeom>
        <a:noFill/>
        <a:ln w="127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500" kern="1200"/>
        </a:p>
      </dsp:txBody>
      <dsp:txXfrm>
        <a:off x="2774125" y="4785596"/>
        <a:ext cx="20185" cy="20185"/>
      </dsp:txXfrm>
    </dsp:sp>
    <dsp:sp modelId="{C4365B06-B9DB-4064-B93F-1043BD4B58B2}">
      <dsp:nvSpPr>
        <dsp:cNvPr id="0" name=""/>
        <dsp:cNvSpPr/>
      </dsp:nvSpPr>
      <dsp:spPr>
        <a:xfrm>
          <a:off x="1564822" y="3589234"/>
          <a:ext cx="187599" cy="138518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93799" y="0"/>
              </a:lnTo>
              <a:lnTo>
                <a:pt x="93799" y="1385189"/>
              </a:lnTo>
              <a:lnTo>
                <a:pt x="187599" y="1385189"/>
              </a:lnTo>
            </a:path>
          </a:pathLst>
        </a:custGeom>
        <a:noFill/>
        <a:ln w="12700" cap="flat" cmpd="sng" algn="ctr">
          <a:solidFill>
            <a:schemeClr val="accent4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500" kern="1200"/>
        </a:p>
      </dsp:txBody>
      <dsp:txXfrm>
        <a:off x="1623676" y="4246882"/>
        <a:ext cx="69891" cy="69891"/>
      </dsp:txXfrm>
    </dsp:sp>
    <dsp:sp modelId="{313DC26C-06DB-4098-B605-33485EFC9B29}">
      <dsp:nvSpPr>
        <dsp:cNvPr id="0" name=""/>
        <dsp:cNvSpPr/>
      </dsp:nvSpPr>
      <dsp:spPr>
        <a:xfrm>
          <a:off x="2690418" y="4080752"/>
          <a:ext cx="187599" cy="178734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93799" y="0"/>
              </a:lnTo>
              <a:lnTo>
                <a:pt x="93799" y="178734"/>
              </a:lnTo>
              <a:lnTo>
                <a:pt x="187599" y="178734"/>
              </a:lnTo>
            </a:path>
          </a:pathLst>
        </a:custGeom>
        <a:noFill/>
        <a:ln w="127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500" kern="1200"/>
        </a:p>
      </dsp:txBody>
      <dsp:txXfrm>
        <a:off x="2777740" y="4163642"/>
        <a:ext cx="12955" cy="12955"/>
      </dsp:txXfrm>
    </dsp:sp>
    <dsp:sp modelId="{037062E2-BE96-4A8B-9D2F-1FA0857207C1}">
      <dsp:nvSpPr>
        <dsp:cNvPr id="0" name=""/>
        <dsp:cNvSpPr/>
      </dsp:nvSpPr>
      <dsp:spPr>
        <a:xfrm>
          <a:off x="2690418" y="3902018"/>
          <a:ext cx="187599" cy="178734"/>
        </a:xfrm>
        <a:custGeom>
          <a:avLst/>
          <a:gdLst/>
          <a:ahLst/>
          <a:cxnLst/>
          <a:rect l="0" t="0" r="0" b="0"/>
          <a:pathLst>
            <a:path>
              <a:moveTo>
                <a:pt x="0" y="178734"/>
              </a:moveTo>
              <a:lnTo>
                <a:pt x="93799" y="178734"/>
              </a:lnTo>
              <a:lnTo>
                <a:pt x="93799" y="0"/>
              </a:lnTo>
              <a:lnTo>
                <a:pt x="187599" y="0"/>
              </a:lnTo>
            </a:path>
          </a:pathLst>
        </a:custGeom>
        <a:noFill/>
        <a:ln w="127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500" kern="1200"/>
        </a:p>
      </dsp:txBody>
      <dsp:txXfrm>
        <a:off x="2777740" y="3984907"/>
        <a:ext cx="12955" cy="12955"/>
      </dsp:txXfrm>
    </dsp:sp>
    <dsp:sp modelId="{CD37291B-5548-4F1B-8F2F-200AE5B0DCAE}">
      <dsp:nvSpPr>
        <dsp:cNvPr id="0" name=""/>
        <dsp:cNvSpPr/>
      </dsp:nvSpPr>
      <dsp:spPr>
        <a:xfrm>
          <a:off x="1564822" y="3589234"/>
          <a:ext cx="187599" cy="49151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93799" y="0"/>
              </a:lnTo>
              <a:lnTo>
                <a:pt x="93799" y="491518"/>
              </a:lnTo>
              <a:lnTo>
                <a:pt x="187599" y="491518"/>
              </a:lnTo>
            </a:path>
          </a:pathLst>
        </a:custGeom>
        <a:noFill/>
        <a:ln w="12700" cap="flat" cmpd="sng" algn="ctr">
          <a:solidFill>
            <a:schemeClr val="accent4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500" kern="1200"/>
        </a:p>
      </dsp:txBody>
      <dsp:txXfrm>
        <a:off x="1645469" y="3821840"/>
        <a:ext cx="26305" cy="26305"/>
      </dsp:txXfrm>
    </dsp:sp>
    <dsp:sp modelId="{690E36EE-5895-4B91-A347-3380A5FE5255}">
      <dsp:nvSpPr>
        <dsp:cNvPr id="0" name=""/>
        <dsp:cNvSpPr/>
      </dsp:nvSpPr>
      <dsp:spPr>
        <a:xfrm>
          <a:off x="2690418" y="2204044"/>
          <a:ext cx="187599" cy="1340505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93799" y="0"/>
              </a:lnTo>
              <a:lnTo>
                <a:pt x="93799" y="1340505"/>
              </a:lnTo>
              <a:lnTo>
                <a:pt x="187599" y="1340505"/>
              </a:lnTo>
            </a:path>
          </a:pathLst>
        </a:custGeom>
        <a:noFill/>
        <a:ln w="127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e-DE" sz="500" kern="1200"/>
        </a:p>
      </dsp:txBody>
      <dsp:txXfrm>
        <a:off x="2750379" y="2840458"/>
        <a:ext cx="67678" cy="67678"/>
      </dsp:txXfrm>
    </dsp:sp>
    <dsp:sp modelId="{460E764F-BDF5-4D22-9B4D-16DC71F64CAC}">
      <dsp:nvSpPr>
        <dsp:cNvPr id="0" name=""/>
        <dsp:cNvSpPr/>
      </dsp:nvSpPr>
      <dsp:spPr>
        <a:xfrm>
          <a:off x="2690418" y="2204044"/>
          <a:ext cx="187599" cy="98303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93799" y="0"/>
              </a:lnTo>
              <a:lnTo>
                <a:pt x="93799" y="983037"/>
              </a:lnTo>
              <a:lnTo>
                <a:pt x="187599" y="983037"/>
              </a:lnTo>
            </a:path>
          </a:pathLst>
        </a:custGeom>
        <a:noFill/>
        <a:ln w="127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e-DE" sz="500" kern="1200"/>
        </a:p>
      </dsp:txBody>
      <dsp:txXfrm>
        <a:off x="2759199" y="2670544"/>
        <a:ext cx="50038" cy="50038"/>
      </dsp:txXfrm>
    </dsp:sp>
    <dsp:sp modelId="{A4E05C94-2209-4BF4-B627-606397BBC1C5}">
      <dsp:nvSpPr>
        <dsp:cNvPr id="0" name=""/>
        <dsp:cNvSpPr/>
      </dsp:nvSpPr>
      <dsp:spPr>
        <a:xfrm>
          <a:off x="2690418" y="2204044"/>
          <a:ext cx="187599" cy="62556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93799" y="0"/>
              </a:lnTo>
              <a:lnTo>
                <a:pt x="93799" y="625569"/>
              </a:lnTo>
              <a:lnTo>
                <a:pt x="187599" y="625569"/>
              </a:lnTo>
            </a:path>
          </a:pathLst>
        </a:custGeom>
        <a:noFill/>
        <a:ln w="127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e-DE" sz="500" kern="1200"/>
        </a:p>
      </dsp:txBody>
      <dsp:txXfrm>
        <a:off x="2767891" y="2500502"/>
        <a:ext cx="32654" cy="32654"/>
      </dsp:txXfrm>
    </dsp:sp>
    <dsp:sp modelId="{329CD9E0-9945-40C9-89A5-5929AA1A3A82}">
      <dsp:nvSpPr>
        <dsp:cNvPr id="0" name=""/>
        <dsp:cNvSpPr/>
      </dsp:nvSpPr>
      <dsp:spPr>
        <a:xfrm>
          <a:off x="3816014" y="2472145"/>
          <a:ext cx="187599" cy="536202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93799" y="0"/>
              </a:lnTo>
              <a:lnTo>
                <a:pt x="93799" y="536202"/>
              </a:lnTo>
              <a:lnTo>
                <a:pt x="187599" y="536202"/>
              </a:lnTo>
            </a:path>
          </a:pathLst>
        </a:custGeom>
        <a:noFill/>
        <a:ln w="12700" cap="flat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e-DE" sz="500" kern="1200"/>
        </a:p>
      </dsp:txBody>
      <dsp:txXfrm>
        <a:off x="3895612" y="2726045"/>
        <a:ext cx="28403" cy="28403"/>
      </dsp:txXfrm>
    </dsp:sp>
    <dsp:sp modelId="{9458E52A-38CE-4EE6-A620-F703970B8164}">
      <dsp:nvSpPr>
        <dsp:cNvPr id="0" name=""/>
        <dsp:cNvSpPr/>
      </dsp:nvSpPr>
      <dsp:spPr>
        <a:xfrm>
          <a:off x="3816014" y="2472145"/>
          <a:ext cx="187599" cy="178734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93799" y="0"/>
              </a:lnTo>
              <a:lnTo>
                <a:pt x="93799" y="178734"/>
              </a:lnTo>
              <a:lnTo>
                <a:pt x="187599" y="178734"/>
              </a:lnTo>
            </a:path>
          </a:pathLst>
        </a:custGeom>
        <a:noFill/>
        <a:ln w="12700" cap="flat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e-DE" sz="500" kern="1200"/>
        </a:p>
      </dsp:txBody>
      <dsp:txXfrm>
        <a:off x="3903336" y="2555035"/>
        <a:ext cx="12955" cy="12955"/>
      </dsp:txXfrm>
    </dsp:sp>
    <dsp:sp modelId="{2B4072C3-2623-4EA4-94B7-025A9DCD72E9}">
      <dsp:nvSpPr>
        <dsp:cNvPr id="0" name=""/>
        <dsp:cNvSpPr/>
      </dsp:nvSpPr>
      <dsp:spPr>
        <a:xfrm>
          <a:off x="3816014" y="2293411"/>
          <a:ext cx="187599" cy="178734"/>
        </a:xfrm>
        <a:custGeom>
          <a:avLst/>
          <a:gdLst/>
          <a:ahLst/>
          <a:cxnLst/>
          <a:rect l="0" t="0" r="0" b="0"/>
          <a:pathLst>
            <a:path>
              <a:moveTo>
                <a:pt x="0" y="178734"/>
              </a:moveTo>
              <a:lnTo>
                <a:pt x="93799" y="178734"/>
              </a:lnTo>
              <a:lnTo>
                <a:pt x="93799" y="0"/>
              </a:lnTo>
              <a:lnTo>
                <a:pt x="187599" y="0"/>
              </a:lnTo>
            </a:path>
          </a:pathLst>
        </a:custGeom>
        <a:noFill/>
        <a:ln w="12700" cap="flat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e-DE" sz="500" kern="1200"/>
        </a:p>
      </dsp:txBody>
      <dsp:txXfrm>
        <a:off x="3903336" y="2376300"/>
        <a:ext cx="12955" cy="12955"/>
      </dsp:txXfrm>
    </dsp:sp>
    <dsp:sp modelId="{7F2C676C-E906-4B26-892E-C728B9239429}">
      <dsp:nvSpPr>
        <dsp:cNvPr id="0" name=""/>
        <dsp:cNvSpPr/>
      </dsp:nvSpPr>
      <dsp:spPr>
        <a:xfrm>
          <a:off x="3816014" y="1935943"/>
          <a:ext cx="187599" cy="536202"/>
        </a:xfrm>
        <a:custGeom>
          <a:avLst/>
          <a:gdLst/>
          <a:ahLst/>
          <a:cxnLst/>
          <a:rect l="0" t="0" r="0" b="0"/>
          <a:pathLst>
            <a:path>
              <a:moveTo>
                <a:pt x="0" y="536202"/>
              </a:moveTo>
              <a:lnTo>
                <a:pt x="93799" y="536202"/>
              </a:lnTo>
              <a:lnTo>
                <a:pt x="93799" y="0"/>
              </a:lnTo>
              <a:lnTo>
                <a:pt x="187599" y="0"/>
              </a:lnTo>
            </a:path>
          </a:pathLst>
        </a:custGeom>
        <a:noFill/>
        <a:ln w="12700" cap="flat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e-DE" sz="500" kern="1200"/>
        </a:p>
      </dsp:txBody>
      <dsp:txXfrm>
        <a:off x="3895612" y="2189842"/>
        <a:ext cx="28403" cy="28403"/>
      </dsp:txXfrm>
    </dsp:sp>
    <dsp:sp modelId="{5BC2DE1D-C4D7-4BFC-A0C1-3D282DC024CD}">
      <dsp:nvSpPr>
        <dsp:cNvPr id="0" name=""/>
        <dsp:cNvSpPr/>
      </dsp:nvSpPr>
      <dsp:spPr>
        <a:xfrm>
          <a:off x="2690418" y="2204044"/>
          <a:ext cx="187599" cy="268101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93799" y="0"/>
              </a:lnTo>
              <a:lnTo>
                <a:pt x="93799" y="268101"/>
              </a:lnTo>
              <a:lnTo>
                <a:pt x="187599" y="268101"/>
              </a:lnTo>
            </a:path>
          </a:pathLst>
        </a:custGeom>
        <a:noFill/>
        <a:ln w="127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e-DE" sz="500" kern="1200"/>
        </a:p>
      </dsp:txBody>
      <dsp:txXfrm>
        <a:off x="2776038" y="2329914"/>
        <a:ext cx="16360" cy="16360"/>
      </dsp:txXfrm>
    </dsp:sp>
    <dsp:sp modelId="{FAF45787-F807-4BB6-923D-0C0E2CD8C149}">
      <dsp:nvSpPr>
        <dsp:cNvPr id="0" name=""/>
        <dsp:cNvSpPr/>
      </dsp:nvSpPr>
      <dsp:spPr>
        <a:xfrm>
          <a:off x="3816014" y="863538"/>
          <a:ext cx="187599" cy="71493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93799" y="0"/>
              </a:lnTo>
              <a:lnTo>
                <a:pt x="93799" y="714936"/>
              </a:lnTo>
              <a:lnTo>
                <a:pt x="187599" y="714936"/>
              </a:lnTo>
            </a:path>
          </a:pathLst>
        </a:custGeom>
        <a:noFill/>
        <a:ln w="12700" cap="flat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e-DE" sz="500" kern="1200"/>
        </a:p>
      </dsp:txBody>
      <dsp:txXfrm>
        <a:off x="3891335" y="1202528"/>
        <a:ext cx="36956" cy="36956"/>
      </dsp:txXfrm>
    </dsp:sp>
    <dsp:sp modelId="{C5F46441-018D-4AD0-9984-278FB6B3653F}">
      <dsp:nvSpPr>
        <dsp:cNvPr id="0" name=""/>
        <dsp:cNvSpPr/>
      </dsp:nvSpPr>
      <dsp:spPr>
        <a:xfrm>
          <a:off x="3816014" y="863538"/>
          <a:ext cx="187599" cy="35746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93799" y="0"/>
              </a:lnTo>
              <a:lnTo>
                <a:pt x="93799" y="357468"/>
              </a:lnTo>
              <a:lnTo>
                <a:pt x="187599" y="357468"/>
              </a:lnTo>
            </a:path>
          </a:pathLst>
        </a:custGeom>
        <a:noFill/>
        <a:ln w="12700" cap="flat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e-DE" sz="500" kern="1200"/>
        </a:p>
      </dsp:txBody>
      <dsp:txXfrm>
        <a:off x="3899721" y="1032180"/>
        <a:ext cx="20185" cy="20185"/>
      </dsp:txXfrm>
    </dsp:sp>
    <dsp:sp modelId="{709C936E-7E65-4B5A-AC40-4548A25152AC}">
      <dsp:nvSpPr>
        <dsp:cNvPr id="0" name=""/>
        <dsp:cNvSpPr/>
      </dsp:nvSpPr>
      <dsp:spPr>
        <a:xfrm>
          <a:off x="3816014" y="817818"/>
          <a:ext cx="187599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187599" y="45720"/>
              </a:lnTo>
            </a:path>
          </a:pathLst>
        </a:custGeom>
        <a:noFill/>
        <a:ln w="12700" cap="flat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e-DE" sz="500" kern="1200"/>
        </a:p>
      </dsp:txBody>
      <dsp:txXfrm>
        <a:off x="3905124" y="858848"/>
        <a:ext cx="9379" cy="9379"/>
      </dsp:txXfrm>
    </dsp:sp>
    <dsp:sp modelId="{8F0AA0AA-EF8D-43DE-82C5-2D7BFD08315F}">
      <dsp:nvSpPr>
        <dsp:cNvPr id="0" name=""/>
        <dsp:cNvSpPr/>
      </dsp:nvSpPr>
      <dsp:spPr>
        <a:xfrm>
          <a:off x="3816014" y="506070"/>
          <a:ext cx="187599" cy="357468"/>
        </a:xfrm>
        <a:custGeom>
          <a:avLst/>
          <a:gdLst/>
          <a:ahLst/>
          <a:cxnLst/>
          <a:rect l="0" t="0" r="0" b="0"/>
          <a:pathLst>
            <a:path>
              <a:moveTo>
                <a:pt x="0" y="357468"/>
              </a:moveTo>
              <a:lnTo>
                <a:pt x="93799" y="357468"/>
              </a:lnTo>
              <a:lnTo>
                <a:pt x="93799" y="0"/>
              </a:lnTo>
              <a:lnTo>
                <a:pt x="187599" y="0"/>
              </a:lnTo>
            </a:path>
          </a:pathLst>
        </a:custGeom>
        <a:noFill/>
        <a:ln w="12700" cap="flat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e-DE" sz="500" kern="1200"/>
        </a:p>
      </dsp:txBody>
      <dsp:txXfrm>
        <a:off x="3899721" y="674712"/>
        <a:ext cx="20185" cy="20185"/>
      </dsp:txXfrm>
    </dsp:sp>
    <dsp:sp modelId="{6D05A90F-5A8D-42F9-A2CB-82F28C0FF2BC}">
      <dsp:nvSpPr>
        <dsp:cNvPr id="0" name=""/>
        <dsp:cNvSpPr/>
      </dsp:nvSpPr>
      <dsp:spPr>
        <a:xfrm>
          <a:off x="3816014" y="148602"/>
          <a:ext cx="187599" cy="714936"/>
        </a:xfrm>
        <a:custGeom>
          <a:avLst/>
          <a:gdLst/>
          <a:ahLst/>
          <a:cxnLst/>
          <a:rect l="0" t="0" r="0" b="0"/>
          <a:pathLst>
            <a:path>
              <a:moveTo>
                <a:pt x="0" y="714936"/>
              </a:moveTo>
              <a:lnTo>
                <a:pt x="93799" y="714936"/>
              </a:lnTo>
              <a:lnTo>
                <a:pt x="93799" y="0"/>
              </a:lnTo>
              <a:lnTo>
                <a:pt x="187599" y="0"/>
              </a:lnTo>
            </a:path>
          </a:pathLst>
        </a:custGeom>
        <a:noFill/>
        <a:ln w="12700" cap="flat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e-DE" sz="500" kern="1200"/>
        </a:p>
      </dsp:txBody>
      <dsp:txXfrm>
        <a:off x="3891335" y="487592"/>
        <a:ext cx="36956" cy="36956"/>
      </dsp:txXfrm>
    </dsp:sp>
    <dsp:sp modelId="{A00DE1AA-92DF-4607-98DB-1C3BB048DCF5}">
      <dsp:nvSpPr>
        <dsp:cNvPr id="0" name=""/>
        <dsp:cNvSpPr/>
      </dsp:nvSpPr>
      <dsp:spPr>
        <a:xfrm>
          <a:off x="2690418" y="863538"/>
          <a:ext cx="187599" cy="1340505"/>
        </a:xfrm>
        <a:custGeom>
          <a:avLst/>
          <a:gdLst/>
          <a:ahLst/>
          <a:cxnLst/>
          <a:rect l="0" t="0" r="0" b="0"/>
          <a:pathLst>
            <a:path>
              <a:moveTo>
                <a:pt x="0" y="1340505"/>
              </a:moveTo>
              <a:lnTo>
                <a:pt x="93799" y="1340505"/>
              </a:lnTo>
              <a:lnTo>
                <a:pt x="93799" y="0"/>
              </a:lnTo>
              <a:lnTo>
                <a:pt x="187599" y="0"/>
              </a:lnTo>
            </a:path>
          </a:pathLst>
        </a:custGeom>
        <a:noFill/>
        <a:ln w="127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e-DE" sz="500" kern="1200"/>
        </a:p>
      </dsp:txBody>
      <dsp:txXfrm>
        <a:off x="2750379" y="1499952"/>
        <a:ext cx="67678" cy="67678"/>
      </dsp:txXfrm>
    </dsp:sp>
    <dsp:sp modelId="{BE328E0A-C287-4B1A-BD90-C0F3098FFCD9}">
      <dsp:nvSpPr>
        <dsp:cNvPr id="0" name=""/>
        <dsp:cNvSpPr/>
      </dsp:nvSpPr>
      <dsp:spPr>
        <a:xfrm>
          <a:off x="1564822" y="2204044"/>
          <a:ext cx="187599" cy="1385189"/>
        </a:xfrm>
        <a:custGeom>
          <a:avLst/>
          <a:gdLst/>
          <a:ahLst/>
          <a:cxnLst/>
          <a:rect l="0" t="0" r="0" b="0"/>
          <a:pathLst>
            <a:path>
              <a:moveTo>
                <a:pt x="0" y="1385189"/>
              </a:moveTo>
              <a:lnTo>
                <a:pt x="93799" y="1385189"/>
              </a:lnTo>
              <a:lnTo>
                <a:pt x="93799" y="0"/>
              </a:lnTo>
              <a:lnTo>
                <a:pt x="187599" y="0"/>
              </a:lnTo>
            </a:path>
          </a:pathLst>
        </a:custGeom>
        <a:noFill/>
        <a:ln w="12700" cap="flat" cmpd="sng" algn="ctr">
          <a:solidFill>
            <a:schemeClr val="accent4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500" kern="1200"/>
        </a:p>
      </dsp:txBody>
      <dsp:txXfrm>
        <a:off x="1623676" y="2861693"/>
        <a:ext cx="69891" cy="69891"/>
      </dsp:txXfrm>
    </dsp:sp>
    <dsp:sp modelId="{DCF5B4EF-DE4F-4292-A3B2-724C163A44AB}">
      <dsp:nvSpPr>
        <dsp:cNvPr id="0" name=""/>
        <dsp:cNvSpPr/>
      </dsp:nvSpPr>
      <dsp:spPr>
        <a:xfrm rot="16200000">
          <a:off x="669270" y="3446246"/>
          <a:ext cx="1505129" cy="285974"/>
        </a:xfrm>
        <a:prstGeom prst="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400" b="0" i="0" kern="1200" dirty="0">
              <a:latin typeface="Myriad Pro" panose="020B0503030403020204" pitchFamily="34" charset="0"/>
            </a:rPr>
            <a:t>Eingabebild </a:t>
          </a:r>
        </a:p>
      </dsp:txBody>
      <dsp:txXfrm>
        <a:off x="669270" y="3446246"/>
        <a:ext cx="1505129" cy="285974"/>
      </dsp:txXfrm>
    </dsp:sp>
    <dsp:sp modelId="{49ADAAAB-354D-4968-9DE9-378E6595E5BB}">
      <dsp:nvSpPr>
        <dsp:cNvPr id="0" name=""/>
        <dsp:cNvSpPr/>
      </dsp:nvSpPr>
      <dsp:spPr>
        <a:xfrm>
          <a:off x="1752422" y="2061057"/>
          <a:ext cx="937996" cy="285974"/>
        </a:xfrm>
        <a:prstGeom prst="rect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000" b="1" i="0" kern="1200" cap="none" baseline="0" dirty="0">
              <a:latin typeface="Myriad Pro" panose="020B0503030403020204" pitchFamily="34" charset="0"/>
            </a:rPr>
            <a:t>Einzel Netzwerk</a:t>
          </a:r>
          <a:endParaRPr lang="de-DE" sz="1000" b="0" i="0" kern="1200" cap="none" baseline="0" dirty="0">
            <a:latin typeface="Myriad Pro" panose="020B0503030403020204" pitchFamily="34" charset="0"/>
          </a:endParaRPr>
        </a:p>
      </dsp:txBody>
      <dsp:txXfrm>
        <a:off x="1752422" y="2061057"/>
        <a:ext cx="937996" cy="285974"/>
      </dsp:txXfrm>
    </dsp:sp>
    <dsp:sp modelId="{F9F18759-F577-4686-9C34-EB964D732C77}">
      <dsp:nvSpPr>
        <dsp:cNvPr id="0" name=""/>
        <dsp:cNvSpPr/>
      </dsp:nvSpPr>
      <dsp:spPr>
        <a:xfrm>
          <a:off x="2878018" y="720551"/>
          <a:ext cx="937996" cy="285974"/>
        </a:xfrm>
        <a:prstGeom prst="rect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000" b="0" i="0" kern="1200" dirty="0">
              <a:latin typeface="Myriad Pro" panose="020B0503030403020204" pitchFamily="34" charset="0"/>
            </a:rPr>
            <a:t>Architektur</a:t>
          </a:r>
        </a:p>
      </dsp:txBody>
      <dsp:txXfrm>
        <a:off x="2878018" y="720551"/>
        <a:ext cx="937996" cy="285974"/>
      </dsp:txXfrm>
    </dsp:sp>
    <dsp:sp modelId="{F8A94DA1-2081-4A8B-816C-A9F98C2853F5}">
      <dsp:nvSpPr>
        <dsp:cNvPr id="0" name=""/>
        <dsp:cNvSpPr/>
      </dsp:nvSpPr>
      <dsp:spPr>
        <a:xfrm>
          <a:off x="4003614" y="5615"/>
          <a:ext cx="937996" cy="285974"/>
        </a:xfrm>
        <a:prstGeom prst="rect">
          <a:avLst/>
        </a:prstGeom>
        <a:solidFill>
          <a:schemeClr val="accent6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080" tIns="5080" rIns="5080" bIns="508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800" b="0" i="0" kern="1200" dirty="0">
              <a:latin typeface="Myriad Pro" panose="020B0503030403020204" pitchFamily="34" charset="0"/>
            </a:rPr>
            <a:t>U-Net</a:t>
          </a:r>
        </a:p>
      </dsp:txBody>
      <dsp:txXfrm>
        <a:off x="4003614" y="5615"/>
        <a:ext cx="937996" cy="285974"/>
      </dsp:txXfrm>
    </dsp:sp>
    <dsp:sp modelId="{571B8373-7DFF-4282-8AA6-80F7CC7EA7C8}">
      <dsp:nvSpPr>
        <dsp:cNvPr id="0" name=""/>
        <dsp:cNvSpPr/>
      </dsp:nvSpPr>
      <dsp:spPr>
        <a:xfrm>
          <a:off x="4003614" y="363083"/>
          <a:ext cx="937996" cy="285974"/>
        </a:xfrm>
        <a:prstGeom prst="rect">
          <a:avLst/>
        </a:prstGeom>
        <a:solidFill>
          <a:schemeClr val="accent6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080" tIns="5080" rIns="5080" bIns="508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800" b="0" i="0" kern="1200" dirty="0">
              <a:latin typeface="Myriad Pro" panose="020B0503030403020204" pitchFamily="34" charset="0"/>
            </a:rPr>
            <a:t>U-Net++</a:t>
          </a:r>
        </a:p>
      </dsp:txBody>
      <dsp:txXfrm>
        <a:off x="4003614" y="363083"/>
        <a:ext cx="937996" cy="285974"/>
      </dsp:txXfrm>
    </dsp:sp>
    <dsp:sp modelId="{9E59A063-5821-4E2B-8FD8-3EBA8922B98E}">
      <dsp:nvSpPr>
        <dsp:cNvPr id="0" name=""/>
        <dsp:cNvSpPr/>
      </dsp:nvSpPr>
      <dsp:spPr>
        <a:xfrm>
          <a:off x="4003614" y="720551"/>
          <a:ext cx="937996" cy="285974"/>
        </a:xfrm>
        <a:prstGeom prst="rect">
          <a:avLst/>
        </a:prstGeom>
        <a:solidFill>
          <a:schemeClr val="accent6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080" tIns="5080" rIns="5080" bIns="508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800" b="0" i="0" kern="1200" dirty="0">
              <a:latin typeface="Myriad Pro" panose="020B0503030403020204" pitchFamily="34" charset="0"/>
            </a:rPr>
            <a:t>FPN</a:t>
          </a:r>
        </a:p>
      </dsp:txBody>
      <dsp:txXfrm>
        <a:off x="4003614" y="720551"/>
        <a:ext cx="937996" cy="285974"/>
      </dsp:txXfrm>
    </dsp:sp>
    <dsp:sp modelId="{E35C2840-DB93-493D-B275-166B0E0C4A9D}">
      <dsp:nvSpPr>
        <dsp:cNvPr id="0" name=""/>
        <dsp:cNvSpPr/>
      </dsp:nvSpPr>
      <dsp:spPr>
        <a:xfrm>
          <a:off x="4003614" y="1078019"/>
          <a:ext cx="937996" cy="285974"/>
        </a:xfrm>
        <a:prstGeom prst="rect">
          <a:avLst/>
        </a:prstGeom>
        <a:solidFill>
          <a:schemeClr val="accent6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080" tIns="5080" rIns="5080" bIns="508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800" b="0" i="0" kern="1200" dirty="0">
              <a:latin typeface="Myriad Pro" panose="020B0503030403020204" pitchFamily="34" charset="0"/>
            </a:rPr>
            <a:t>PSPN</a:t>
          </a:r>
        </a:p>
      </dsp:txBody>
      <dsp:txXfrm>
        <a:off x="4003614" y="1078019"/>
        <a:ext cx="937996" cy="285974"/>
      </dsp:txXfrm>
    </dsp:sp>
    <dsp:sp modelId="{8F47A465-73D6-48E5-83FD-F149301C3BBD}">
      <dsp:nvSpPr>
        <dsp:cNvPr id="0" name=""/>
        <dsp:cNvSpPr/>
      </dsp:nvSpPr>
      <dsp:spPr>
        <a:xfrm>
          <a:off x="4003614" y="1435487"/>
          <a:ext cx="937996" cy="285974"/>
        </a:xfrm>
        <a:prstGeom prst="rect">
          <a:avLst/>
        </a:prstGeom>
        <a:solidFill>
          <a:schemeClr val="accent6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080" tIns="5080" rIns="5080" bIns="508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800" b="0" i="0" kern="1200" dirty="0">
              <a:latin typeface="Myriad Pro" panose="020B0503030403020204" pitchFamily="34" charset="0"/>
            </a:rPr>
            <a:t>PAN</a:t>
          </a:r>
        </a:p>
      </dsp:txBody>
      <dsp:txXfrm>
        <a:off x="4003614" y="1435487"/>
        <a:ext cx="937996" cy="285974"/>
      </dsp:txXfrm>
    </dsp:sp>
    <dsp:sp modelId="{DC0B28EB-699E-45BB-87EC-30E574E72821}">
      <dsp:nvSpPr>
        <dsp:cNvPr id="0" name=""/>
        <dsp:cNvSpPr/>
      </dsp:nvSpPr>
      <dsp:spPr>
        <a:xfrm>
          <a:off x="2878018" y="2329158"/>
          <a:ext cx="937996" cy="285974"/>
        </a:xfrm>
        <a:prstGeom prst="rect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000" b="0" i="0" kern="1200" dirty="0">
              <a:latin typeface="Myriad Pro" panose="020B0503030403020204" pitchFamily="34" charset="0"/>
            </a:rPr>
            <a:t>Encoder</a:t>
          </a:r>
        </a:p>
      </dsp:txBody>
      <dsp:txXfrm>
        <a:off x="2878018" y="2329158"/>
        <a:ext cx="937996" cy="285974"/>
      </dsp:txXfrm>
    </dsp:sp>
    <dsp:sp modelId="{81473451-3FF3-474B-98FB-6869E5682468}">
      <dsp:nvSpPr>
        <dsp:cNvPr id="0" name=""/>
        <dsp:cNvSpPr/>
      </dsp:nvSpPr>
      <dsp:spPr>
        <a:xfrm>
          <a:off x="4003614" y="1792956"/>
          <a:ext cx="937996" cy="285974"/>
        </a:xfrm>
        <a:prstGeom prst="rect">
          <a:avLst/>
        </a:prstGeom>
        <a:solidFill>
          <a:schemeClr val="accent6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080" tIns="5080" rIns="5080" bIns="508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800" b="0" i="0" kern="1200" dirty="0">
              <a:latin typeface="Myriad Pro" panose="020B0503030403020204" pitchFamily="34" charset="0"/>
            </a:rPr>
            <a:t>Inception-V4</a:t>
          </a:r>
        </a:p>
      </dsp:txBody>
      <dsp:txXfrm>
        <a:off x="4003614" y="1792956"/>
        <a:ext cx="937996" cy="285974"/>
      </dsp:txXfrm>
    </dsp:sp>
    <dsp:sp modelId="{A732D3F1-1291-409E-9A7C-778CAE167F89}">
      <dsp:nvSpPr>
        <dsp:cNvPr id="0" name=""/>
        <dsp:cNvSpPr/>
      </dsp:nvSpPr>
      <dsp:spPr>
        <a:xfrm>
          <a:off x="4003614" y="2150424"/>
          <a:ext cx="937996" cy="285974"/>
        </a:xfrm>
        <a:prstGeom prst="rect">
          <a:avLst/>
        </a:prstGeom>
        <a:solidFill>
          <a:schemeClr val="accent6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080" tIns="5080" rIns="5080" bIns="508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800" b="0" i="0" kern="1200" dirty="0">
              <a:latin typeface="Myriad Pro" panose="020B0503030403020204" pitchFamily="34" charset="0"/>
            </a:rPr>
            <a:t>Inception-</a:t>
          </a:r>
          <a:r>
            <a:rPr lang="de-DE" sz="800" b="0" i="0" kern="1200" dirty="0" err="1">
              <a:latin typeface="Myriad Pro" panose="020B0503030403020204" pitchFamily="34" charset="0"/>
            </a:rPr>
            <a:t>ResNet</a:t>
          </a:r>
          <a:endParaRPr lang="de-DE" sz="800" b="0" i="0" kern="1200" dirty="0">
            <a:latin typeface="Myriad Pro" panose="020B0503030403020204" pitchFamily="34" charset="0"/>
          </a:endParaRPr>
        </a:p>
      </dsp:txBody>
      <dsp:txXfrm>
        <a:off x="4003614" y="2150424"/>
        <a:ext cx="937996" cy="285974"/>
      </dsp:txXfrm>
    </dsp:sp>
    <dsp:sp modelId="{42C465EB-33D9-4AD2-A33B-930C8E39ED41}">
      <dsp:nvSpPr>
        <dsp:cNvPr id="0" name=""/>
        <dsp:cNvSpPr/>
      </dsp:nvSpPr>
      <dsp:spPr>
        <a:xfrm>
          <a:off x="4003614" y="2507892"/>
          <a:ext cx="937996" cy="285974"/>
        </a:xfrm>
        <a:prstGeom prst="rect">
          <a:avLst/>
        </a:prstGeom>
        <a:solidFill>
          <a:schemeClr val="accent6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080" tIns="5080" rIns="5080" bIns="508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800" b="0" i="0" kern="1200" dirty="0" err="1">
              <a:latin typeface="Myriad Pro" panose="020B0503030403020204" pitchFamily="34" charset="0"/>
            </a:rPr>
            <a:t>ResNet</a:t>
          </a:r>
          <a:endParaRPr lang="de-DE" sz="800" b="0" i="0" kern="1200" dirty="0">
            <a:latin typeface="Myriad Pro" panose="020B0503030403020204" pitchFamily="34" charset="0"/>
          </a:endParaRPr>
        </a:p>
      </dsp:txBody>
      <dsp:txXfrm>
        <a:off x="4003614" y="2507892"/>
        <a:ext cx="937996" cy="285974"/>
      </dsp:txXfrm>
    </dsp:sp>
    <dsp:sp modelId="{84D7F889-3498-48D8-ADC3-14251347C81B}">
      <dsp:nvSpPr>
        <dsp:cNvPr id="0" name=""/>
        <dsp:cNvSpPr/>
      </dsp:nvSpPr>
      <dsp:spPr>
        <a:xfrm>
          <a:off x="4003614" y="2865360"/>
          <a:ext cx="937996" cy="285974"/>
        </a:xfrm>
        <a:prstGeom prst="rect">
          <a:avLst/>
        </a:prstGeom>
        <a:solidFill>
          <a:schemeClr val="accent6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080" tIns="5080" rIns="5080" bIns="508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800" b="0" i="0" kern="1200" dirty="0" err="1">
              <a:latin typeface="Myriad Pro" panose="020B0503030403020204" pitchFamily="34" charset="0"/>
            </a:rPr>
            <a:t>ResNext</a:t>
          </a:r>
          <a:endParaRPr lang="de-DE" sz="800" b="0" i="0" kern="1200" dirty="0">
            <a:latin typeface="Myriad Pro" panose="020B0503030403020204" pitchFamily="34" charset="0"/>
          </a:endParaRPr>
        </a:p>
      </dsp:txBody>
      <dsp:txXfrm>
        <a:off x="4003614" y="2865360"/>
        <a:ext cx="937996" cy="285974"/>
      </dsp:txXfrm>
    </dsp:sp>
    <dsp:sp modelId="{485D5E8B-1295-4B72-BF14-74B2BE7008EE}">
      <dsp:nvSpPr>
        <dsp:cNvPr id="0" name=""/>
        <dsp:cNvSpPr/>
      </dsp:nvSpPr>
      <dsp:spPr>
        <a:xfrm>
          <a:off x="2878018" y="2686626"/>
          <a:ext cx="937996" cy="285974"/>
        </a:xfrm>
        <a:prstGeom prst="rect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000" b="0" i="0" kern="1200" dirty="0" err="1">
              <a:latin typeface="Myriad Pro" panose="020B0503030403020204" pitchFamily="34" charset="0"/>
            </a:rPr>
            <a:t>Lernrate</a:t>
          </a:r>
          <a:endParaRPr lang="de-DE" sz="1000" b="0" i="0" kern="1200" dirty="0">
            <a:latin typeface="Myriad Pro" panose="020B0503030403020204" pitchFamily="34" charset="0"/>
          </a:endParaRPr>
        </a:p>
      </dsp:txBody>
      <dsp:txXfrm>
        <a:off x="2878018" y="2686626"/>
        <a:ext cx="937996" cy="285974"/>
      </dsp:txXfrm>
    </dsp:sp>
    <dsp:sp modelId="{43996E1E-6F52-4F8E-9F4B-77A56824C63C}">
      <dsp:nvSpPr>
        <dsp:cNvPr id="0" name=""/>
        <dsp:cNvSpPr/>
      </dsp:nvSpPr>
      <dsp:spPr>
        <a:xfrm>
          <a:off x="2878018" y="3044094"/>
          <a:ext cx="937996" cy="285974"/>
        </a:xfrm>
        <a:prstGeom prst="rect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000" b="0" i="0" kern="1200" dirty="0" err="1">
              <a:latin typeface="Myriad Pro" panose="020B0503030403020204" pitchFamily="34" charset="0"/>
            </a:rPr>
            <a:t>Augmentierung</a:t>
          </a:r>
          <a:endParaRPr lang="de-DE" sz="1000" b="0" i="0" kern="1200" dirty="0">
            <a:latin typeface="Myriad Pro" panose="020B0503030403020204" pitchFamily="34" charset="0"/>
          </a:endParaRPr>
        </a:p>
      </dsp:txBody>
      <dsp:txXfrm>
        <a:off x="2878018" y="3044094"/>
        <a:ext cx="937996" cy="285974"/>
      </dsp:txXfrm>
    </dsp:sp>
    <dsp:sp modelId="{6E154881-954A-429F-9BBE-E92EEB4B1011}">
      <dsp:nvSpPr>
        <dsp:cNvPr id="0" name=""/>
        <dsp:cNvSpPr/>
      </dsp:nvSpPr>
      <dsp:spPr>
        <a:xfrm>
          <a:off x="2878018" y="3401563"/>
          <a:ext cx="937996" cy="285974"/>
        </a:xfrm>
        <a:prstGeom prst="rect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000" b="0" i="0" kern="1200" dirty="0">
              <a:latin typeface="Myriad Pro" panose="020B0503030403020204" pitchFamily="34" charset="0"/>
            </a:rPr>
            <a:t>Loss-Funktion </a:t>
          </a:r>
        </a:p>
      </dsp:txBody>
      <dsp:txXfrm>
        <a:off x="2878018" y="3401563"/>
        <a:ext cx="937996" cy="285974"/>
      </dsp:txXfrm>
    </dsp:sp>
    <dsp:sp modelId="{E077FA3E-A654-4D27-8616-5CDDA43F8AF6}">
      <dsp:nvSpPr>
        <dsp:cNvPr id="0" name=""/>
        <dsp:cNvSpPr/>
      </dsp:nvSpPr>
      <dsp:spPr>
        <a:xfrm>
          <a:off x="1752422" y="3937765"/>
          <a:ext cx="937996" cy="285974"/>
        </a:xfrm>
        <a:prstGeom prst="rect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000" b="1" i="0" kern="1200" cap="none" baseline="0" dirty="0">
              <a:latin typeface="Myriad Pro" panose="020B0503030403020204" pitchFamily="34" charset="0"/>
            </a:rPr>
            <a:t>Multi-Netzwerk </a:t>
          </a:r>
          <a:endParaRPr lang="de-DE" sz="1000" b="0" i="0" kern="1200" dirty="0">
            <a:latin typeface="Myriad Pro" panose="020B0503030403020204" pitchFamily="34" charset="0"/>
          </a:endParaRPr>
        </a:p>
      </dsp:txBody>
      <dsp:txXfrm>
        <a:off x="1752422" y="3937765"/>
        <a:ext cx="937996" cy="285974"/>
      </dsp:txXfrm>
    </dsp:sp>
    <dsp:sp modelId="{768C7647-12EF-40E9-94EB-C1868C4AFE59}">
      <dsp:nvSpPr>
        <dsp:cNvPr id="0" name=""/>
        <dsp:cNvSpPr/>
      </dsp:nvSpPr>
      <dsp:spPr>
        <a:xfrm>
          <a:off x="2878018" y="3759031"/>
          <a:ext cx="937996" cy="285974"/>
        </a:xfrm>
        <a:prstGeom prst="rect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000" b="0" i="0" kern="1200" dirty="0">
              <a:latin typeface="Myriad Pro" panose="020B0503030403020204" pitchFamily="34" charset="0"/>
            </a:rPr>
            <a:t>U-Net</a:t>
          </a:r>
        </a:p>
      </dsp:txBody>
      <dsp:txXfrm>
        <a:off x="2878018" y="3759031"/>
        <a:ext cx="937996" cy="285974"/>
      </dsp:txXfrm>
    </dsp:sp>
    <dsp:sp modelId="{49B6876F-A108-4FF0-9A81-E34DBB9D0BD7}">
      <dsp:nvSpPr>
        <dsp:cNvPr id="0" name=""/>
        <dsp:cNvSpPr/>
      </dsp:nvSpPr>
      <dsp:spPr>
        <a:xfrm>
          <a:off x="2878018" y="4116499"/>
          <a:ext cx="937996" cy="285974"/>
        </a:xfrm>
        <a:prstGeom prst="rect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000" b="0" i="0" kern="1200" dirty="0">
              <a:latin typeface="Myriad Pro" panose="020B0503030403020204" pitchFamily="34" charset="0"/>
            </a:rPr>
            <a:t>YOLO</a:t>
          </a:r>
        </a:p>
      </dsp:txBody>
      <dsp:txXfrm>
        <a:off x="2878018" y="4116499"/>
        <a:ext cx="937996" cy="285974"/>
      </dsp:txXfrm>
    </dsp:sp>
    <dsp:sp modelId="{B3E59FB2-885F-4B71-9DC5-B6F45C8017DE}">
      <dsp:nvSpPr>
        <dsp:cNvPr id="0" name=""/>
        <dsp:cNvSpPr/>
      </dsp:nvSpPr>
      <dsp:spPr>
        <a:xfrm>
          <a:off x="1752422" y="4831436"/>
          <a:ext cx="937996" cy="285974"/>
        </a:xfrm>
        <a:prstGeom prst="rect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000" b="1" i="0" kern="1200" cap="none" baseline="0" dirty="0">
              <a:latin typeface="Myriad Pro" panose="020B0503030403020204" pitchFamily="34" charset="0"/>
            </a:rPr>
            <a:t>Ensembles </a:t>
          </a:r>
          <a:endParaRPr lang="de-DE" sz="1000" b="0" i="0" kern="1200" cap="none" baseline="0" dirty="0">
            <a:latin typeface="Myriad Pro" panose="020B0503030403020204" pitchFamily="34" charset="0"/>
          </a:endParaRPr>
        </a:p>
      </dsp:txBody>
      <dsp:txXfrm>
        <a:off x="1752422" y="4831436"/>
        <a:ext cx="937996" cy="285974"/>
      </dsp:txXfrm>
    </dsp:sp>
    <dsp:sp modelId="{9E81B654-57F3-4178-8807-AB7AAC7BE08E}">
      <dsp:nvSpPr>
        <dsp:cNvPr id="0" name=""/>
        <dsp:cNvSpPr/>
      </dsp:nvSpPr>
      <dsp:spPr>
        <a:xfrm>
          <a:off x="2878018" y="4473967"/>
          <a:ext cx="937996" cy="285974"/>
        </a:xfrm>
        <a:prstGeom prst="rect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000" b="0" i="0" kern="1200" dirty="0">
              <a:latin typeface="Myriad Pro" panose="020B0503030403020204" pitchFamily="34" charset="0"/>
            </a:rPr>
            <a:t>Homogen</a:t>
          </a:r>
        </a:p>
      </dsp:txBody>
      <dsp:txXfrm>
        <a:off x="2878018" y="4473967"/>
        <a:ext cx="937996" cy="285974"/>
      </dsp:txXfrm>
    </dsp:sp>
    <dsp:sp modelId="{0CCC40AA-D80B-4B90-9188-E5CA017E63B0}">
      <dsp:nvSpPr>
        <dsp:cNvPr id="0" name=""/>
        <dsp:cNvSpPr/>
      </dsp:nvSpPr>
      <dsp:spPr>
        <a:xfrm>
          <a:off x="2878018" y="4831436"/>
          <a:ext cx="937996" cy="285974"/>
        </a:xfrm>
        <a:prstGeom prst="rect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000" b="0" i="0" kern="1200" dirty="0">
              <a:latin typeface="Myriad Pro" panose="020B0503030403020204" pitchFamily="34" charset="0"/>
            </a:rPr>
            <a:t>Heterogen</a:t>
          </a:r>
        </a:p>
      </dsp:txBody>
      <dsp:txXfrm>
        <a:off x="2878018" y="4831436"/>
        <a:ext cx="937996" cy="285974"/>
      </dsp:txXfrm>
    </dsp:sp>
    <dsp:sp modelId="{E51A201A-58C4-4839-BBF3-03A3D4BA1DE9}">
      <dsp:nvSpPr>
        <dsp:cNvPr id="0" name=""/>
        <dsp:cNvSpPr/>
      </dsp:nvSpPr>
      <dsp:spPr>
        <a:xfrm>
          <a:off x="2878018" y="5188904"/>
          <a:ext cx="937996" cy="285974"/>
        </a:xfrm>
        <a:prstGeom prst="rect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000" b="0" i="0" kern="1200" dirty="0" err="1">
              <a:latin typeface="Myriad Pro" panose="020B0503030403020204" pitchFamily="34" charset="0"/>
            </a:rPr>
            <a:t>Expizit</a:t>
          </a:r>
          <a:r>
            <a:rPr lang="de-DE" sz="1000" b="0" i="0" kern="1200" dirty="0">
              <a:latin typeface="Myriad Pro" panose="020B0503030403020204" pitchFamily="34" charset="0"/>
            </a:rPr>
            <a:t> </a:t>
          </a:r>
        </a:p>
      </dsp:txBody>
      <dsp:txXfrm>
        <a:off x="2878018" y="5188904"/>
        <a:ext cx="937996" cy="285974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9C34007-6CA8-4ABF-890A-47AA50B267EA}">
      <dsp:nvSpPr>
        <dsp:cNvPr id="0" name=""/>
        <dsp:cNvSpPr/>
      </dsp:nvSpPr>
      <dsp:spPr>
        <a:xfrm>
          <a:off x="2690418" y="4974423"/>
          <a:ext cx="187599" cy="35746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93799" y="0"/>
              </a:lnTo>
              <a:lnTo>
                <a:pt x="93799" y="357468"/>
              </a:lnTo>
              <a:lnTo>
                <a:pt x="187599" y="357468"/>
              </a:lnTo>
            </a:path>
          </a:pathLst>
        </a:custGeom>
        <a:noFill/>
        <a:ln w="127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e-DE" sz="500" kern="1200"/>
        </a:p>
      </dsp:txBody>
      <dsp:txXfrm>
        <a:off x="2774125" y="5143064"/>
        <a:ext cx="20185" cy="20185"/>
      </dsp:txXfrm>
    </dsp:sp>
    <dsp:sp modelId="{1CD57466-73E5-43BB-AF51-980153E8039A}">
      <dsp:nvSpPr>
        <dsp:cNvPr id="0" name=""/>
        <dsp:cNvSpPr/>
      </dsp:nvSpPr>
      <dsp:spPr>
        <a:xfrm>
          <a:off x="2690418" y="4928703"/>
          <a:ext cx="187599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187599" y="45720"/>
              </a:lnTo>
            </a:path>
          </a:pathLst>
        </a:custGeom>
        <a:noFill/>
        <a:ln w="127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500" kern="1200"/>
        </a:p>
      </dsp:txBody>
      <dsp:txXfrm>
        <a:off x="2779528" y="4969733"/>
        <a:ext cx="9379" cy="9379"/>
      </dsp:txXfrm>
    </dsp:sp>
    <dsp:sp modelId="{60A0F5E7-D1D3-49F8-A254-CFFCBE54AAF0}">
      <dsp:nvSpPr>
        <dsp:cNvPr id="0" name=""/>
        <dsp:cNvSpPr/>
      </dsp:nvSpPr>
      <dsp:spPr>
        <a:xfrm>
          <a:off x="2690418" y="4616955"/>
          <a:ext cx="187599" cy="357468"/>
        </a:xfrm>
        <a:custGeom>
          <a:avLst/>
          <a:gdLst/>
          <a:ahLst/>
          <a:cxnLst/>
          <a:rect l="0" t="0" r="0" b="0"/>
          <a:pathLst>
            <a:path>
              <a:moveTo>
                <a:pt x="0" y="357468"/>
              </a:moveTo>
              <a:lnTo>
                <a:pt x="93799" y="357468"/>
              </a:lnTo>
              <a:lnTo>
                <a:pt x="93799" y="0"/>
              </a:lnTo>
              <a:lnTo>
                <a:pt x="187599" y="0"/>
              </a:lnTo>
            </a:path>
          </a:pathLst>
        </a:custGeom>
        <a:noFill/>
        <a:ln w="127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500" kern="1200"/>
        </a:p>
      </dsp:txBody>
      <dsp:txXfrm>
        <a:off x="2774125" y="4785596"/>
        <a:ext cx="20185" cy="20185"/>
      </dsp:txXfrm>
    </dsp:sp>
    <dsp:sp modelId="{C4365B06-B9DB-4064-B93F-1043BD4B58B2}">
      <dsp:nvSpPr>
        <dsp:cNvPr id="0" name=""/>
        <dsp:cNvSpPr/>
      </dsp:nvSpPr>
      <dsp:spPr>
        <a:xfrm>
          <a:off x="1564822" y="3589234"/>
          <a:ext cx="187599" cy="138518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93799" y="0"/>
              </a:lnTo>
              <a:lnTo>
                <a:pt x="93799" y="1385189"/>
              </a:lnTo>
              <a:lnTo>
                <a:pt x="187599" y="1385189"/>
              </a:lnTo>
            </a:path>
          </a:pathLst>
        </a:custGeom>
        <a:noFill/>
        <a:ln w="12700" cap="flat" cmpd="sng" algn="ctr">
          <a:solidFill>
            <a:schemeClr val="accent4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500" kern="1200"/>
        </a:p>
      </dsp:txBody>
      <dsp:txXfrm>
        <a:off x="1623676" y="4246882"/>
        <a:ext cx="69891" cy="69891"/>
      </dsp:txXfrm>
    </dsp:sp>
    <dsp:sp modelId="{313DC26C-06DB-4098-B605-33485EFC9B29}">
      <dsp:nvSpPr>
        <dsp:cNvPr id="0" name=""/>
        <dsp:cNvSpPr/>
      </dsp:nvSpPr>
      <dsp:spPr>
        <a:xfrm>
          <a:off x="2690418" y="4080752"/>
          <a:ext cx="187599" cy="178734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93799" y="0"/>
              </a:lnTo>
              <a:lnTo>
                <a:pt x="93799" y="178734"/>
              </a:lnTo>
              <a:lnTo>
                <a:pt x="187599" y="178734"/>
              </a:lnTo>
            </a:path>
          </a:pathLst>
        </a:custGeom>
        <a:noFill/>
        <a:ln w="127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500" kern="1200"/>
        </a:p>
      </dsp:txBody>
      <dsp:txXfrm>
        <a:off x="2777740" y="4163642"/>
        <a:ext cx="12955" cy="12955"/>
      </dsp:txXfrm>
    </dsp:sp>
    <dsp:sp modelId="{037062E2-BE96-4A8B-9D2F-1FA0857207C1}">
      <dsp:nvSpPr>
        <dsp:cNvPr id="0" name=""/>
        <dsp:cNvSpPr/>
      </dsp:nvSpPr>
      <dsp:spPr>
        <a:xfrm>
          <a:off x="2690418" y="3902018"/>
          <a:ext cx="187599" cy="178734"/>
        </a:xfrm>
        <a:custGeom>
          <a:avLst/>
          <a:gdLst/>
          <a:ahLst/>
          <a:cxnLst/>
          <a:rect l="0" t="0" r="0" b="0"/>
          <a:pathLst>
            <a:path>
              <a:moveTo>
                <a:pt x="0" y="178734"/>
              </a:moveTo>
              <a:lnTo>
                <a:pt x="93799" y="178734"/>
              </a:lnTo>
              <a:lnTo>
                <a:pt x="93799" y="0"/>
              </a:lnTo>
              <a:lnTo>
                <a:pt x="187599" y="0"/>
              </a:lnTo>
            </a:path>
          </a:pathLst>
        </a:custGeom>
        <a:noFill/>
        <a:ln w="127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500" kern="1200"/>
        </a:p>
      </dsp:txBody>
      <dsp:txXfrm>
        <a:off x="2777740" y="3984907"/>
        <a:ext cx="12955" cy="12955"/>
      </dsp:txXfrm>
    </dsp:sp>
    <dsp:sp modelId="{CD37291B-5548-4F1B-8F2F-200AE5B0DCAE}">
      <dsp:nvSpPr>
        <dsp:cNvPr id="0" name=""/>
        <dsp:cNvSpPr/>
      </dsp:nvSpPr>
      <dsp:spPr>
        <a:xfrm>
          <a:off x="1564822" y="3589234"/>
          <a:ext cx="187599" cy="49151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93799" y="0"/>
              </a:lnTo>
              <a:lnTo>
                <a:pt x="93799" y="491518"/>
              </a:lnTo>
              <a:lnTo>
                <a:pt x="187599" y="491518"/>
              </a:lnTo>
            </a:path>
          </a:pathLst>
        </a:custGeom>
        <a:noFill/>
        <a:ln w="12700" cap="flat" cmpd="sng" algn="ctr">
          <a:solidFill>
            <a:schemeClr val="accent4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500" kern="1200"/>
        </a:p>
      </dsp:txBody>
      <dsp:txXfrm>
        <a:off x="1645469" y="3821840"/>
        <a:ext cx="26305" cy="26305"/>
      </dsp:txXfrm>
    </dsp:sp>
    <dsp:sp modelId="{690E36EE-5895-4B91-A347-3380A5FE5255}">
      <dsp:nvSpPr>
        <dsp:cNvPr id="0" name=""/>
        <dsp:cNvSpPr/>
      </dsp:nvSpPr>
      <dsp:spPr>
        <a:xfrm>
          <a:off x="2690418" y="2204044"/>
          <a:ext cx="187599" cy="1340505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93799" y="0"/>
              </a:lnTo>
              <a:lnTo>
                <a:pt x="93799" y="1340505"/>
              </a:lnTo>
              <a:lnTo>
                <a:pt x="187599" y="1340505"/>
              </a:lnTo>
            </a:path>
          </a:pathLst>
        </a:custGeom>
        <a:noFill/>
        <a:ln w="127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e-DE" sz="500" kern="1200"/>
        </a:p>
      </dsp:txBody>
      <dsp:txXfrm>
        <a:off x="2750379" y="2840458"/>
        <a:ext cx="67678" cy="67678"/>
      </dsp:txXfrm>
    </dsp:sp>
    <dsp:sp modelId="{460E764F-BDF5-4D22-9B4D-16DC71F64CAC}">
      <dsp:nvSpPr>
        <dsp:cNvPr id="0" name=""/>
        <dsp:cNvSpPr/>
      </dsp:nvSpPr>
      <dsp:spPr>
        <a:xfrm>
          <a:off x="2690418" y="2204044"/>
          <a:ext cx="187599" cy="98303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93799" y="0"/>
              </a:lnTo>
              <a:lnTo>
                <a:pt x="93799" y="983037"/>
              </a:lnTo>
              <a:lnTo>
                <a:pt x="187599" y="983037"/>
              </a:lnTo>
            </a:path>
          </a:pathLst>
        </a:custGeom>
        <a:noFill/>
        <a:ln w="127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e-DE" sz="500" kern="1200"/>
        </a:p>
      </dsp:txBody>
      <dsp:txXfrm>
        <a:off x="2759199" y="2670544"/>
        <a:ext cx="50038" cy="50038"/>
      </dsp:txXfrm>
    </dsp:sp>
    <dsp:sp modelId="{A4E05C94-2209-4BF4-B627-606397BBC1C5}">
      <dsp:nvSpPr>
        <dsp:cNvPr id="0" name=""/>
        <dsp:cNvSpPr/>
      </dsp:nvSpPr>
      <dsp:spPr>
        <a:xfrm>
          <a:off x="2690418" y="2204044"/>
          <a:ext cx="187599" cy="62556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93799" y="0"/>
              </a:lnTo>
              <a:lnTo>
                <a:pt x="93799" y="625569"/>
              </a:lnTo>
              <a:lnTo>
                <a:pt x="187599" y="625569"/>
              </a:lnTo>
            </a:path>
          </a:pathLst>
        </a:custGeom>
        <a:noFill/>
        <a:ln w="127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e-DE" sz="500" kern="1200"/>
        </a:p>
      </dsp:txBody>
      <dsp:txXfrm>
        <a:off x="2767891" y="2500502"/>
        <a:ext cx="32654" cy="32654"/>
      </dsp:txXfrm>
    </dsp:sp>
    <dsp:sp modelId="{329CD9E0-9945-40C9-89A5-5929AA1A3A82}">
      <dsp:nvSpPr>
        <dsp:cNvPr id="0" name=""/>
        <dsp:cNvSpPr/>
      </dsp:nvSpPr>
      <dsp:spPr>
        <a:xfrm>
          <a:off x="3816014" y="2472145"/>
          <a:ext cx="187599" cy="536202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93799" y="0"/>
              </a:lnTo>
              <a:lnTo>
                <a:pt x="93799" y="536202"/>
              </a:lnTo>
              <a:lnTo>
                <a:pt x="187599" y="536202"/>
              </a:lnTo>
            </a:path>
          </a:pathLst>
        </a:custGeom>
        <a:noFill/>
        <a:ln w="12700" cap="flat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e-DE" sz="500" kern="1200"/>
        </a:p>
      </dsp:txBody>
      <dsp:txXfrm>
        <a:off x="3895612" y="2726045"/>
        <a:ext cx="28403" cy="28403"/>
      </dsp:txXfrm>
    </dsp:sp>
    <dsp:sp modelId="{9458E52A-38CE-4EE6-A620-F703970B8164}">
      <dsp:nvSpPr>
        <dsp:cNvPr id="0" name=""/>
        <dsp:cNvSpPr/>
      </dsp:nvSpPr>
      <dsp:spPr>
        <a:xfrm>
          <a:off x="3816014" y="2472145"/>
          <a:ext cx="187599" cy="178734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93799" y="0"/>
              </a:lnTo>
              <a:lnTo>
                <a:pt x="93799" y="178734"/>
              </a:lnTo>
              <a:lnTo>
                <a:pt x="187599" y="178734"/>
              </a:lnTo>
            </a:path>
          </a:pathLst>
        </a:custGeom>
        <a:noFill/>
        <a:ln w="12700" cap="flat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e-DE" sz="500" kern="1200"/>
        </a:p>
      </dsp:txBody>
      <dsp:txXfrm>
        <a:off x="3903336" y="2555035"/>
        <a:ext cx="12955" cy="12955"/>
      </dsp:txXfrm>
    </dsp:sp>
    <dsp:sp modelId="{2B4072C3-2623-4EA4-94B7-025A9DCD72E9}">
      <dsp:nvSpPr>
        <dsp:cNvPr id="0" name=""/>
        <dsp:cNvSpPr/>
      </dsp:nvSpPr>
      <dsp:spPr>
        <a:xfrm>
          <a:off x="3816014" y="2293411"/>
          <a:ext cx="187599" cy="178734"/>
        </a:xfrm>
        <a:custGeom>
          <a:avLst/>
          <a:gdLst/>
          <a:ahLst/>
          <a:cxnLst/>
          <a:rect l="0" t="0" r="0" b="0"/>
          <a:pathLst>
            <a:path>
              <a:moveTo>
                <a:pt x="0" y="178734"/>
              </a:moveTo>
              <a:lnTo>
                <a:pt x="93799" y="178734"/>
              </a:lnTo>
              <a:lnTo>
                <a:pt x="93799" y="0"/>
              </a:lnTo>
              <a:lnTo>
                <a:pt x="187599" y="0"/>
              </a:lnTo>
            </a:path>
          </a:pathLst>
        </a:custGeom>
        <a:noFill/>
        <a:ln w="12700" cap="flat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e-DE" sz="500" kern="1200"/>
        </a:p>
      </dsp:txBody>
      <dsp:txXfrm>
        <a:off x="3903336" y="2376300"/>
        <a:ext cx="12955" cy="12955"/>
      </dsp:txXfrm>
    </dsp:sp>
    <dsp:sp modelId="{7F2C676C-E906-4B26-892E-C728B9239429}">
      <dsp:nvSpPr>
        <dsp:cNvPr id="0" name=""/>
        <dsp:cNvSpPr/>
      </dsp:nvSpPr>
      <dsp:spPr>
        <a:xfrm>
          <a:off x="3816014" y="1935943"/>
          <a:ext cx="187599" cy="536202"/>
        </a:xfrm>
        <a:custGeom>
          <a:avLst/>
          <a:gdLst/>
          <a:ahLst/>
          <a:cxnLst/>
          <a:rect l="0" t="0" r="0" b="0"/>
          <a:pathLst>
            <a:path>
              <a:moveTo>
                <a:pt x="0" y="536202"/>
              </a:moveTo>
              <a:lnTo>
                <a:pt x="93799" y="536202"/>
              </a:lnTo>
              <a:lnTo>
                <a:pt x="93799" y="0"/>
              </a:lnTo>
              <a:lnTo>
                <a:pt x="187599" y="0"/>
              </a:lnTo>
            </a:path>
          </a:pathLst>
        </a:custGeom>
        <a:noFill/>
        <a:ln w="12700" cap="flat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e-DE" sz="500" kern="1200"/>
        </a:p>
      </dsp:txBody>
      <dsp:txXfrm>
        <a:off x="3895612" y="2189842"/>
        <a:ext cx="28403" cy="28403"/>
      </dsp:txXfrm>
    </dsp:sp>
    <dsp:sp modelId="{5BC2DE1D-C4D7-4BFC-A0C1-3D282DC024CD}">
      <dsp:nvSpPr>
        <dsp:cNvPr id="0" name=""/>
        <dsp:cNvSpPr/>
      </dsp:nvSpPr>
      <dsp:spPr>
        <a:xfrm>
          <a:off x="2690418" y="2204044"/>
          <a:ext cx="187599" cy="268101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93799" y="0"/>
              </a:lnTo>
              <a:lnTo>
                <a:pt x="93799" y="268101"/>
              </a:lnTo>
              <a:lnTo>
                <a:pt x="187599" y="268101"/>
              </a:lnTo>
            </a:path>
          </a:pathLst>
        </a:custGeom>
        <a:noFill/>
        <a:ln w="127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e-DE" sz="500" kern="1200"/>
        </a:p>
      </dsp:txBody>
      <dsp:txXfrm>
        <a:off x="2776038" y="2329914"/>
        <a:ext cx="16360" cy="16360"/>
      </dsp:txXfrm>
    </dsp:sp>
    <dsp:sp modelId="{FAF45787-F807-4BB6-923D-0C0E2CD8C149}">
      <dsp:nvSpPr>
        <dsp:cNvPr id="0" name=""/>
        <dsp:cNvSpPr/>
      </dsp:nvSpPr>
      <dsp:spPr>
        <a:xfrm>
          <a:off x="3816014" y="863538"/>
          <a:ext cx="187599" cy="71493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93799" y="0"/>
              </a:lnTo>
              <a:lnTo>
                <a:pt x="93799" y="714936"/>
              </a:lnTo>
              <a:lnTo>
                <a:pt x="187599" y="714936"/>
              </a:lnTo>
            </a:path>
          </a:pathLst>
        </a:custGeom>
        <a:noFill/>
        <a:ln w="12700" cap="flat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e-DE" sz="500" kern="1200"/>
        </a:p>
      </dsp:txBody>
      <dsp:txXfrm>
        <a:off x="3891335" y="1202528"/>
        <a:ext cx="36956" cy="36956"/>
      </dsp:txXfrm>
    </dsp:sp>
    <dsp:sp modelId="{C5F46441-018D-4AD0-9984-278FB6B3653F}">
      <dsp:nvSpPr>
        <dsp:cNvPr id="0" name=""/>
        <dsp:cNvSpPr/>
      </dsp:nvSpPr>
      <dsp:spPr>
        <a:xfrm>
          <a:off x="3816014" y="863538"/>
          <a:ext cx="187599" cy="35746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93799" y="0"/>
              </a:lnTo>
              <a:lnTo>
                <a:pt x="93799" y="357468"/>
              </a:lnTo>
              <a:lnTo>
                <a:pt x="187599" y="357468"/>
              </a:lnTo>
            </a:path>
          </a:pathLst>
        </a:custGeom>
        <a:noFill/>
        <a:ln w="12700" cap="flat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e-DE" sz="500" kern="1200"/>
        </a:p>
      </dsp:txBody>
      <dsp:txXfrm>
        <a:off x="3899721" y="1032180"/>
        <a:ext cx="20185" cy="20185"/>
      </dsp:txXfrm>
    </dsp:sp>
    <dsp:sp modelId="{709C936E-7E65-4B5A-AC40-4548A25152AC}">
      <dsp:nvSpPr>
        <dsp:cNvPr id="0" name=""/>
        <dsp:cNvSpPr/>
      </dsp:nvSpPr>
      <dsp:spPr>
        <a:xfrm>
          <a:off x="3816014" y="817818"/>
          <a:ext cx="187599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187599" y="45720"/>
              </a:lnTo>
            </a:path>
          </a:pathLst>
        </a:custGeom>
        <a:noFill/>
        <a:ln w="12700" cap="flat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e-DE" sz="500" kern="1200"/>
        </a:p>
      </dsp:txBody>
      <dsp:txXfrm>
        <a:off x="3905124" y="858848"/>
        <a:ext cx="9379" cy="9379"/>
      </dsp:txXfrm>
    </dsp:sp>
    <dsp:sp modelId="{8F0AA0AA-EF8D-43DE-82C5-2D7BFD08315F}">
      <dsp:nvSpPr>
        <dsp:cNvPr id="0" name=""/>
        <dsp:cNvSpPr/>
      </dsp:nvSpPr>
      <dsp:spPr>
        <a:xfrm>
          <a:off x="3816014" y="506070"/>
          <a:ext cx="187599" cy="357468"/>
        </a:xfrm>
        <a:custGeom>
          <a:avLst/>
          <a:gdLst/>
          <a:ahLst/>
          <a:cxnLst/>
          <a:rect l="0" t="0" r="0" b="0"/>
          <a:pathLst>
            <a:path>
              <a:moveTo>
                <a:pt x="0" y="357468"/>
              </a:moveTo>
              <a:lnTo>
                <a:pt x="93799" y="357468"/>
              </a:lnTo>
              <a:lnTo>
                <a:pt x="93799" y="0"/>
              </a:lnTo>
              <a:lnTo>
                <a:pt x="187599" y="0"/>
              </a:lnTo>
            </a:path>
          </a:pathLst>
        </a:custGeom>
        <a:noFill/>
        <a:ln w="12700" cap="flat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e-DE" sz="500" kern="1200"/>
        </a:p>
      </dsp:txBody>
      <dsp:txXfrm>
        <a:off x="3899721" y="674712"/>
        <a:ext cx="20185" cy="20185"/>
      </dsp:txXfrm>
    </dsp:sp>
    <dsp:sp modelId="{6D05A90F-5A8D-42F9-A2CB-82F28C0FF2BC}">
      <dsp:nvSpPr>
        <dsp:cNvPr id="0" name=""/>
        <dsp:cNvSpPr/>
      </dsp:nvSpPr>
      <dsp:spPr>
        <a:xfrm>
          <a:off x="3816014" y="148602"/>
          <a:ext cx="187599" cy="714936"/>
        </a:xfrm>
        <a:custGeom>
          <a:avLst/>
          <a:gdLst/>
          <a:ahLst/>
          <a:cxnLst/>
          <a:rect l="0" t="0" r="0" b="0"/>
          <a:pathLst>
            <a:path>
              <a:moveTo>
                <a:pt x="0" y="714936"/>
              </a:moveTo>
              <a:lnTo>
                <a:pt x="93799" y="714936"/>
              </a:lnTo>
              <a:lnTo>
                <a:pt x="93799" y="0"/>
              </a:lnTo>
              <a:lnTo>
                <a:pt x="187599" y="0"/>
              </a:lnTo>
            </a:path>
          </a:pathLst>
        </a:custGeom>
        <a:noFill/>
        <a:ln w="12700" cap="flat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e-DE" sz="500" kern="1200"/>
        </a:p>
      </dsp:txBody>
      <dsp:txXfrm>
        <a:off x="3891335" y="487592"/>
        <a:ext cx="36956" cy="36956"/>
      </dsp:txXfrm>
    </dsp:sp>
    <dsp:sp modelId="{A00DE1AA-92DF-4607-98DB-1C3BB048DCF5}">
      <dsp:nvSpPr>
        <dsp:cNvPr id="0" name=""/>
        <dsp:cNvSpPr/>
      </dsp:nvSpPr>
      <dsp:spPr>
        <a:xfrm>
          <a:off x="2690418" y="863538"/>
          <a:ext cx="187599" cy="1340505"/>
        </a:xfrm>
        <a:custGeom>
          <a:avLst/>
          <a:gdLst/>
          <a:ahLst/>
          <a:cxnLst/>
          <a:rect l="0" t="0" r="0" b="0"/>
          <a:pathLst>
            <a:path>
              <a:moveTo>
                <a:pt x="0" y="1340505"/>
              </a:moveTo>
              <a:lnTo>
                <a:pt x="93799" y="1340505"/>
              </a:lnTo>
              <a:lnTo>
                <a:pt x="93799" y="0"/>
              </a:lnTo>
              <a:lnTo>
                <a:pt x="187599" y="0"/>
              </a:lnTo>
            </a:path>
          </a:pathLst>
        </a:custGeom>
        <a:noFill/>
        <a:ln w="127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e-DE" sz="500" kern="1200"/>
        </a:p>
      </dsp:txBody>
      <dsp:txXfrm>
        <a:off x="2750379" y="1499952"/>
        <a:ext cx="67678" cy="67678"/>
      </dsp:txXfrm>
    </dsp:sp>
    <dsp:sp modelId="{BE328E0A-C287-4B1A-BD90-C0F3098FFCD9}">
      <dsp:nvSpPr>
        <dsp:cNvPr id="0" name=""/>
        <dsp:cNvSpPr/>
      </dsp:nvSpPr>
      <dsp:spPr>
        <a:xfrm>
          <a:off x="1564822" y="2204044"/>
          <a:ext cx="187599" cy="1385189"/>
        </a:xfrm>
        <a:custGeom>
          <a:avLst/>
          <a:gdLst/>
          <a:ahLst/>
          <a:cxnLst/>
          <a:rect l="0" t="0" r="0" b="0"/>
          <a:pathLst>
            <a:path>
              <a:moveTo>
                <a:pt x="0" y="1385189"/>
              </a:moveTo>
              <a:lnTo>
                <a:pt x="93799" y="1385189"/>
              </a:lnTo>
              <a:lnTo>
                <a:pt x="93799" y="0"/>
              </a:lnTo>
              <a:lnTo>
                <a:pt x="187599" y="0"/>
              </a:lnTo>
            </a:path>
          </a:pathLst>
        </a:custGeom>
        <a:noFill/>
        <a:ln w="12700" cap="flat" cmpd="sng" algn="ctr">
          <a:solidFill>
            <a:schemeClr val="accent4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500" kern="1200"/>
        </a:p>
      </dsp:txBody>
      <dsp:txXfrm>
        <a:off x="1623676" y="2861693"/>
        <a:ext cx="69891" cy="69891"/>
      </dsp:txXfrm>
    </dsp:sp>
    <dsp:sp modelId="{DCF5B4EF-DE4F-4292-A3B2-724C163A44AB}">
      <dsp:nvSpPr>
        <dsp:cNvPr id="0" name=""/>
        <dsp:cNvSpPr/>
      </dsp:nvSpPr>
      <dsp:spPr>
        <a:xfrm rot="16200000">
          <a:off x="669270" y="3446246"/>
          <a:ext cx="1505129" cy="285974"/>
        </a:xfrm>
        <a:prstGeom prst="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400" b="0" i="0" kern="1200" dirty="0">
              <a:latin typeface="Myriad Pro" panose="020B0503030403020204" pitchFamily="34" charset="0"/>
            </a:rPr>
            <a:t>Eingabebild </a:t>
          </a:r>
        </a:p>
      </dsp:txBody>
      <dsp:txXfrm>
        <a:off x="669270" y="3446246"/>
        <a:ext cx="1505129" cy="285974"/>
      </dsp:txXfrm>
    </dsp:sp>
    <dsp:sp modelId="{49ADAAAB-354D-4968-9DE9-378E6595E5BB}">
      <dsp:nvSpPr>
        <dsp:cNvPr id="0" name=""/>
        <dsp:cNvSpPr/>
      </dsp:nvSpPr>
      <dsp:spPr>
        <a:xfrm>
          <a:off x="1752422" y="2061057"/>
          <a:ext cx="937996" cy="285974"/>
        </a:xfrm>
        <a:prstGeom prst="rect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000" b="1" i="0" kern="1200" cap="none" baseline="0" dirty="0">
              <a:latin typeface="Myriad Pro" panose="020B0503030403020204" pitchFamily="34" charset="0"/>
            </a:rPr>
            <a:t>Einzel Netzwerk</a:t>
          </a:r>
          <a:endParaRPr lang="de-DE" sz="1000" b="0" i="0" kern="1200" cap="none" baseline="0" dirty="0">
            <a:latin typeface="Myriad Pro" panose="020B0503030403020204" pitchFamily="34" charset="0"/>
          </a:endParaRPr>
        </a:p>
      </dsp:txBody>
      <dsp:txXfrm>
        <a:off x="1752422" y="2061057"/>
        <a:ext cx="937996" cy="285974"/>
      </dsp:txXfrm>
    </dsp:sp>
    <dsp:sp modelId="{F9F18759-F577-4686-9C34-EB964D732C77}">
      <dsp:nvSpPr>
        <dsp:cNvPr id="0" name=""/>
        <dsp:cNvSpPr/>
      </dsp:nvSpPr>
      <dsp:spPr>
        <a:xfrm>
          <a:off x="2878018" y="720551"/>
          <a:ext cx="937996" cy="285974"/>
        </a:xfrm>
        <a:prstGeom prst="rect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000" b="0" i="0" kern="1200" dirty="0">
              <a:latin typeface="Myriad Pro" panose="020B0503030403020204" pitchFamily="34" charset="0"/>
            </a:rPr>
            <a:t>Architektur</a:t>
          </a:r>
        </a:p>
      </dsp:txBody>
      <dsp:txXfrm>
        <a:off x="2878018" y="720551"/>
        <a:ext cx="937996" cy="285974"/>
      </dsp:txXfrm>
    </dsp:sp>
    <dsp:sp modelId="{F8A94DA1-2081-4A8B-816C-A9F98C2853F5}">
      <dsp:nvSpPr>
        <dsp:cNvPr id="0" name=""/>
        <dsp:cNvSpPr/>
      </dsp:nvSpPr>
      <dsp:spPr>
        <a:xfrm>
          <a:off x="4003614" y="5615"/>
          <a:ext cx="937996" cy="285974"/>
        </a:xfrm>
        <a:prstGeom prst="rect">
          <a:avLst/>
        </a:prstGeom>
        <a:solidFill>
          <a:schemeClr val="accent6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080" tIns="5080" rIns="5080" bIns="508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800" b="0" i="0" kern="1200" dirty="0">
              <a:latin typeface="Myriad Pro" panose="020B0503030403020204" pitchFamily="34" charset="0"/>
            </a:rPr>
            <a:t>U-Net</a:t>
          </a:r>
        </a:p>
      </dsp:txBody>
      <dsp:txXfrm>
        <a:off x="4003614" y="5615"/>
        <a:ext cx="937996" cy="285974"/>
      </dsp:txXfrm>
    </dsp:sp>
    <dsp:sp modelId="{571B8373-7DFF-4282-8AA6-80F7CC7EA7C8}">
      <dsp:nvSpPr>
        <dsp:cNvPr id="0" name=""/>
        <dsp:cNvSpPr/>
      </dsp:nvSpPr>
      <dsp:spPr>
        <a:xfrm>
          <a:off x="4003614" y="363083"/>
          <a:ext cx="937996" cy="285974"/>
        </a:xfrm>
        <a:prstGeom prst="rect">
          <a:avLst/>
        </a:prstGeom>
        <a:solidFill>
          <a:schemeClr val="accent6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080" tIns="5080" rIns="5080" bIns="508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800" b="0" i="0" kern="1200" dirty="0">
              <a:latin typeface="Myriad Pro" panose="020B0503030403020204" pitchFamily="34" charset="0"/>
            </a:rPr>
            <a:t>U-Net++</a:t>
          </a:r>
        </a:p>
      </dsp:txBody>
      <dsp:txXfrm>
        <a:off x="4003614" y="363083"/>
        <a:ext cx="937996" cy="285974"/>
      </dsp:txXfrm>
    </dsp:sp>
    <dsp:sp modelId="{9E59A063-5821-4E2B-8FD8-3EBA8922B98E}">
      <dsp:nvSpPr>
        <dsp:cNvPr id="0" name=""/>
        <dsp:cNvSpPr/>
      </dsp:nvSpPr>
      <dsp:spPr>
        <a:xfrm>
          <a:off x="4003614" y="720551"/>
          <a:ext cx="937996" cy="285974"/>
        </a:xfrm>
        <a:prstGeom prst="rect">
          <a:avLst/>
        </a:prstGeom>
        <a:solidFill>
          <a:schemeClr val="accent6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080" tIns="5080" rIns="5080" bIns="508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800" b="0" i="0" kern="1200" dirty="0">
              <a:latin typeface="Myriad Pro" panose="020B0503030403020204" pitchFamily="34" charset="0"/>
            </a:rPr>
            <a:t>FPN</a:t>
          </a:r>
        </a:p>
      </dsp:txBody>
      <dsp:txXfrm>
        <a:off x="4003614" y="720551"/>
        <a:ext cx="937996" cy="285974"/>
      </dsp:txXfrm>
    </dsp:sp>
    <dsp:sp modelId="{E35C2840-DB93-493D-B275-166B0E0C4A9D}">
      <dsp:nvSpPr>
        <dsp:cNvPr id="0" name=""/>
        <dsp:cNvSpPr/>
      </dsp:nvSpPr>
      <dsp:spPr>
        <a:xfrm>
          <a:off x="4003614" y="1078019"/>
          <a:ext cx="937996" cy="285974"/>
        </a:xfrm>
        <a:prstGeom prst="rect">
          <a:avLst/>
        </a:prstGeom>
        <a:solidFill>
          <a:schemeClr val="accent6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080" tIns="5080" rIns="5080" bIns="508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800" b="0" i="0" kern="1200" dirty="0">
              <a:latin typeface="Myriad Pro" panose="020B0503030403020204" pitchFamily="34" charset="0"/>
            </a:rPr>
            <a:t>PSPN</a:t>
          </a:r>
        </a:p>
      </dsp:txBody>
      <dsp:txXfrm>
        <a:off x="4003614" y="1078019"/>
        <a:ext cx="937996" cy="285974"/>
      </dsp:txXfrm>
    </dsp:sp>
    <dsp:sp modelId="{8F47A465-73D6-48E5-83FD-F149301C3BBD}">
      <dsp:nvSpPr>
        <dsp:cNvPr id="0" name=""/>
        <dsp:cNvSpPr/>
      </dsp:nvSpPr>
      <dsp:spPr>
        <a:xfrm>
          <a:off x="4003614" y="1435487"/>
          <a:ext cx="937996" cy="285974"/>
        </a:xfrm>
        <a:prstGeom prst="rect">
          <a:avLst/>
        </a:prstGeom>
        <a:solidFill>
          <a:schemeClr val="accent6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080" tIns="5080" rIns="5080" bIns="508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800" b="0" i="0" kern="1200" dirty="0">
              <a:latin typeface="Myriad Pro" panose="020B0503030403020204" pitchFamily="34" charset="0"/>
            </a:rPr>
            <a:t>PAN</a:t>
          </a:r>
        </a:p>
      </dsp:txBody>
      <dsp:txXfrm>
        <a:off x="4003614" y="1435487"/>
        <a:ext cx="937996" cy="285974"/>
      </dsp:txXfrm>
    </dsp:sp>
    <dsp:sp modelId="{DC0B28EB-699E-45BB-87EC-30E574E72821}">
      <dsp:nvSpPr>
        <dsp:cNvPr id="0" name=""/>
        <dsp:cNvSpPr/>
      </dsp:nvSpPr>
      <dsp:spPr>
        <a:xfrm>
          <a:off x="2878018" y="2329158"/>
          <a:ext cx="937996" cy="285974"/>
        </a:xfrm>
        <a:prstGeom prst="rect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000" b="0" i="0" kern="1200" dirty="0">
              <a:latin typeface="Myriad Pro" panose="020B0503030403020204" pitchFamily="34" charset="0"/>
            </a:rPr>
            <a:t>Encoder</a:t>
          </a:r>
        </a:p>
      </dsp:txBody>
      <dsp:txXfrm>
        <a:off x="2878018" y="2329158"/>
        <a:ext cx="937996" cy="285974"/>
      </dsp:txXfrm>
    </dsp:sp>
    <dsp:sp modelId="{81473451-3FF3-474B-98FB-6869E5682468}">
      <dsp:nvSpPr>
        <dsp:cNvPr id="0" name=""/>
        <dsp:cNvSpPr/>
      </dsp:nvSpPr>
      <dsp:spPr>
        <a:xfrm>
          <a:off x="4003614" y="1792956"/>
          <a:ext cx="937996" cy="285974"/>
        </a:xfrm>
        <a:prstGeom prst="rect">
          <a:avLst/>
        </a:prstGeom>
        <a:solidFill>
          <a:schemeClr val="accent6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080" tIns="5080" rIns="5080" bIns="508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800" b="0" i="0" kern="1200" dirty="0">
              <a:latin typeface="Myriad Pro" panose="020B0503030403020204" pitchFamily="34" charset="0"/>
            </a:rPr>
            <a:t>Inception-V4</a:t>
          </a:r>
        </a:p>
      </dsp:txBody>
      <dsp:txXfrm>
        <a:off x="4003614" y="1792956"/>
        <a:ext cx="937996" cy="285974"/>
      </dsp:txXfrm>
    </dsp:sp>
    <dsp:sp modelId="{A732D3F1-1291-409E-9A7C-778CAE167F89}">
      <dsp:nvSpPr>
        <dsp:cNvPr id="0" name=""/>
        <dsp:cNvSpPr/>
      </dsp:nvSpPr>
      <dsp:spPr>
        <a:xfrm>
          <a:off x="4003614" y="2150424"/>
          <a:ext cx="937996" cy="285974"/>
        </a:xfrm>
        <a:prstGeom prst="rect">
          <a:avLst/>
        </a:prstGeom>
        <a:solidFill>
          <a:schemeClr val="accent6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080" tIns="5080" rIns="5080" bIns="508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800" b="0" i="0" kern="1200" dirty="0" err="1">
              <a:latin typeface="Myriad Pro" panose="020B0503030403020204" pitchFamily="34" charset="0"/>
            </a:rPr>
            <a:t>Inception-ResNet</a:t>
          </a:r>
          <a:endParaRPr lang="de-DE" sz="800" b="0" i="0" kern="1200" dirty="0">
            <a:latin typeface="Myriad Pro" panose="020B0503030403020204" pitchFamily="34" charset="0"/>
          </a:endParaRPr>
        </a:p>
      </dsp:txBody>
      <dsp:txXfrm>
        <a:off x="4003614" y="2150424"/>
        <a:ext cx="937996" cy="285974"/>
      </dsp:txXfrm>
    </dsp:sp>
    <dsp:sp modelId="{42C465EB-33D9-4AD2-A33B-930C8E39ED41}">
      <dsp:nvSpPr>
        <dsp:cNvPr id="0" name=""/>
        <dsp:cNvSpPr/>
      </dsp:nvSpPr>
      <dsp:spPr>
        <a:xfrm>
          <a:off x="4003614" y="2507892"/>
          <a:ext cx="937996" cy="285974"/>
        </a:xfrm>
        <a:prstGeom prst="rect">
          <a:avLst/>
        </a:prstGeom>
        <a:solidFill>
          <a:schemeClr val="accent6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080" tIns="5080" rIns="5080" bIns="508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800" b="0" i="0" kern="1200" dirty="0">
              <a:latin typeface="Myriad Pro" panose="020B0503030403020204" pitchFamily="34" charset="0"/>
            </a:rPr>
            <a:t>Res-Net</a:t>
          </a:r>
        </a:p>
      </dsp:txBody>
      <dsp:txXfrm>
        <a:off x="4003614" y="2507892"/>
        <a:ext cx="937996" cy="285974"/>
      </dsp:txXfrm>
    </dsp:sp>
    <dsp:sp modelId="{84D7F889-3498-48D8-ADC3-14251347C81B}">
      <dsp:nvSpPr>
        <dsp:cNvPr id="0" name=""/>
        <dsp:cNvSpPr/>
      </dsp:nvSpPr>
      <dsp:spPr>
        <a:xfrm>
          <a:off x="4003614" y="2865360"/>
          <a:ext cx="937996" cy="285974"/>
        </a:xfrm>
        <a:prstGeom prst="rect">
          <a:avLst/>
        </a:prstGeom>
        <a:solidFill>
          <a:schemeClr val="accent6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080" tIns="5080" rIns="5080" bIns="508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800" b="0" i="0" kern="1200" dirty="0" err="1">
              <a:latin typeface="Myriad Pro" panose="020B0503030403020204" pitchFamily="34" charset="0"/>
            </a:rPr>
            <a:t>ResNext</a:t>
          </a:r>
          <a:endParaRPr lang="de-DE" sz="800" b="0" i="0" kern="1200" dirty="0">
            <a:latin typeface="Myriad Pro" panose="020B0503030403020204" pitchFamily="34" charset="0"/>
          </a:endParaRPr>
        </a:p>
      </dsp:txBody>
      <dsp:txXfrm>
        <a:off x="4003614" y="2865360"/>
        <a:ext cx="937996" cy="285974"/>
      </dsp:txXfrm>
    </dsp:sp>
    <dsp:sp modelId="{485D5E8B-1295-4B72-BF14-74B2BE7008EE}">
      <dsp:nvSpPr>
        <dsp:cNvPr id="0" name=""/>
        <dsp:cNvSpPr/>
      </dsp:nvSpPr>
      <dsp:spPr>
        <a:xfrm>
          <a:off x="2878018" y="2686626"/>
          <a:ext cx="937996" cy="285974"/>
        </a:xfrm>
        <a:prstGeom prst="rect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000" b="0" i="0" kern="1200" dirty="0" err="1">
              <a:latin typeface="Myriad Pro" panose="020B0503030403020204" pitchFamily="34" charset="0"/>
            </a:rPr>
            <a:t>Lernrate</a:t>
          </a:r>
          <a:endParaRPr lang="de-DE" sz="1000" b="0" i="0" kern="1200" dirty="0">
            <a:latin typeface="Myriad Pro" panose="020B0503030403020204" pitchFamily="34" charset="0"/>
          </a:endParaRPr>
        </a:p>
      </dsp:txBody>
      <dsp:txXfrm>
        <a:off x="2878018" y="2686626"/>
        <a:ext cx="937996" cy="285974"/>
      </dsp:txXfrm>
    </dsp:sp>
    <dsp:sp modelId="{43996E1E-6F52-4F8E-9F4B-77A56824C63C}">
      <dsp:nvSpPr>
        <dsp:cNvPr id="0" name=""/>
        <dsp:cNvSpPr/>
      </dsp:nvSpPr>
      <dsp:spPr>
        <a:xfrm>
          <a:off x="2878018" y="3044094"/>
          <a:ext cx="937996" cy="285974"/>
        </a:xfrm>
        <a:prstGeom prst="rect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000" b="0" i="0" kern="1200" dirty="0" err="1">
              <a:latin typeface="Myriad Pro" panose="020B0503030403020204" pitchFamily="34" charset="0"/>
            </a:rPr>
            <a:t>Augmentierung</a:t>
          </a:r>
          <a:endParaRPr lang="de-DE" sz="1000" b="0" i="0" kern="1200" dirty="0">
            <a:latin typeface="Myriad Pro" panose="020B0503030403020204" pitchFamily="34" charset="0"/>
          </a:endParaRPr>
        </a:p>
      </dsp:txBody>
      <dsp:txXfrm>
        <a:off x="2878018" y="3044094"/>
        <a:ext cx="937996" cy="285974"/>
      </dsp:txXfrm>
    </dsp:sp>
    <dsp:sp modelId="{6E154881-954A-429F-9BBE-E92EEB4B1011}">
      <dsp:nvSpPr>
        <dsp:cNvPr id="0" name=""/>
        <dsp:cNvSpPr/>
      </dsp:nvSpPr>
      <dsp:spPr>
        <a:xfrm>
          <a:off x="2878018" y="3401563"/>
          <a:ext cx="937996" cy="285974"/>
        </a:xfrm>
        <a:prstGeom prst="rect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000" b="0" i="0" kern="1200" dirty="0">
              <a:latin typeface="Myriad Pro" panose="020B0503030403020204" pitchFamily="34" charset="0"/>
            </a:rPr>
            <a:t>Loss-Funktion </a:t>
          </a:r>
        </a:p>
      </dsp:txBody>
      <dsp:txXfrm>
        <a:off x="2878018" y="3401563"/>
        <a:ext cx="937996" cy="285974"/>
      </dsp:txXfrm>
    </dsp:sp>
    <dsp:sp modelId="{E077FA3E-A654-4D27-8616-5CDDA43F8AF6}">
      <dsp:nvSpPr>
        <dsp:cNvPr id="0" name=""/>
        <dsp:cNvSpPr/>
      </dsp:nvSpPr>
      <dsp:spPr>
        <a:xfrm>
          <a:off x="1752422" y="3937765"/>
          <a:ext cx="937996" cy="285974"/>
        </a:xfrm>
        <a:prstGeom prst="rect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000" b="1" i="0" kern="1200" cap="none" baseline="0" dirty="0">
              <a:latin typeface="Myriad Pro" panose="020B0503030403020204" pitchFamily="34" charset="0"/>
            </a:rPr>
            <a:t>Multi-Netzwerk </a:t>
          </a:r>
          <a:endParaRPr lang="de-DE" sz="1000" b="0" i="0" kern="1200" dirty="0">
            <a:latin typeface="Myriad Pro" panose="020B0503030403020204" pitchFamily="34" charset="0"/>
          </a:endParaRPr>
        </a:p>
      </dsp:txBody>
      <dsp:txXfrm>
        <a:off x="1752422" y="3937765"/>
        <a:ext cx="937996" cy="285974"/>
      </dsp:txXfrm>
    </dsp:sp>
    <dsp:sp modelId="{768C7647-12EF-40E9-94EB-C1868C4AFE59}">
      <dsp:nvSpPr>
        <dsp:cNvPr id="0" name=""/>
        <dsp:cNvSpPr/>
      </dsp:nvSpPr>
      <dsp:spPr>
        <a:xfrm>
          <a:off x="2878018" y="3759031"/>
          <a:ext cx="937996" cy="285974"/>
        </a:xfrm>
        <a:prstGeom prst="rect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000" b="0" i="0" kern="1200" dirty="0">
              <a:latin typeface="Myriad Pro" panose="020B0503030403020204" pitchFamily="34" charset="0"/>
            </a:rPr>
            <a:t>U-Net</a:t>
          </a:r>
        </a:p>
      </dsp:txBody>
      <dsp:txXfrm>
        <a:off x="2878018" y="3759031"/>
        <a:ext cx="937996" cy="285974"/>
      </dsp:txXfrm>
    </dsp:sp>
    <dsp:sp modelId="{49B6876F-A108-4FF0-9A81-E34DBB9D0BD7}">
      <dsp:nvSpPr>
        <dsp:cNvPr id="0" name=""/>
        <dsp:cNvSpPr/>
      </dsp:nvSpPr>
      <dsp:spPr>
        <a:xfrm>
          <a:off x="2878018" y="4116499"/>
          <a:ext cx="937996" cy="285974"/>
        </a:xfrm>
        <a:prstGeom prst="rect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000" b="0" i="0" kern="1200" dirty="0">
              <a:latin typeface="Myriad Pro" panose="020B0503030403020204" pitchFamily="34" charset="0"/>
            </a:rPr>
            <a:t>YOLO</a:t>
          </a:r>
        </a:p>
      </dsp:txBody>
      <dsp:txXfrm>
        <a:off x="2878018" y="4116499"/>
        <a:ext cx="937996" cy="285974"/>
      </dsp:txXfrm>
    </dsp:sp>
    <dsp:sp modelId="{B3E59FB2-885F-4B71-9DC5-B6F45C8017DE}">
      <dsp:nvSpPr>
        <dsp:cNvPr id="0" name=""/>
        <dsp:cNvSpPr/>
      </dsp:nvSpPr>
      <dsp:spPr>
        <a:xfrm>
          <a:off x="1752422" y="4831436"/>
          <a:ext cx="937996" cy="285974"/>
        </a:xfrm>
        <a:prstGeom prst="rect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000" b="1" i="0" kern="1200" cap="none" baseline="0" dirty="0">
              <a:latin typeface="Myriad Pro" panose="020B0503030403020204" pitchFamily="34" charset="0"/>
            </a:rPr>
            <a:t>Ensembles </a:t>
          </a:r>
          <a:endParaRPr lang="de-DE" sz="1000" b="0" i="0" kern="1200" cap="none" baseline="0" dirty="0">
            <a:latin typeface="Myriad Pro" panose="020B0503030403020204" pitchFamily="34" charset="0"/>
          </a:endParaRPr>
        </a:p>
      </dsp:txBody>
      <dsp:txXfrm>
        <a:off x="1752422" y="4831436"/>
        <a:ext cx="937996" cy="285974"/>
      </dsp:txXfrm>
    </dsp:sp>
    <dsp:sp modelId="{9E81B654-57F3-4178-8807-AB7AAC7BE08E}">
      <dsp:nvSpPr>
        <dsp:cNvPr id="0" name=""/>
        <dsp:cNvSpPr/>
      </dsp:nvSpPr>
      <dsp:spPr>
        <a:xfrm>
          <a:off x="2878018" y="4473967"/>
          <a:ext cx="937996" cy="285974"/>
        </a:xfrm>
        <a:prstGeom prst="rect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000" b="0" i="0" kern="1200" dirty="0">
              <a:latin typeface="Myriad Pro" panose="020B0503030403020204" pitchFamily="34" charset="0"/>
            </a:rPr>
            <a:t>Homogen</a:t>
          </a:r>
        </a:p>
      </dsp:txBody>
      <dsp:txXfrm>
        <a:off x="2878018" y="4473967"/>
        <a:ext cx="937996" cy="285974"/>
      </dsp:txXfrm>
    </dsp:sp>
    <dsp:sp modelId="{0CCC40AA-D80B-4B90-9188-E5CA017E63B0}">
      <dsp:nvSpPr>
        <dsp:cNvPr id="0" name=""/>
        <dsp:cNvSpPr/>
      </dsp:nvSpPr>
      <dsp:spPr>
        <a:xfrm>
          <a:off x="2878018" y="4831436"/>
          <a:ext cx="937996" cy="285974"/>
        </a:xfrm>
        <a:prstGeom prst="rect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000" b="0" i="0" kern="1200" dirty="0">
              <a:latin typeface="Myriad Pro" panose="020B0503030403020204" pitchFamily="34" charset="0"/>
            </a:rPr>
            <a:t>Heterogen</a:t>
          </a:r>
        </a:p>
      </dsp:txBody>
      <dsp:txXfrm>
        <a:off x="2878018" y="4831436"/>
        <a:ext cx="937996" cy="285974"/>
      </dsp:txXfrm>
    </dsp:sp>
    <dsp:sp modelId="{E51A201A-58C4-4839-BBF3-03A3D4BA1DE9}">
      <dsp:nvSpPr>
        <dsp:cNvPr id="0" name=""/>
        <dsp:cNvSpPr/>
      </dsp:nvSpPr>
      <dsp:spPr>
        <a:xfrm>
          <a:off x="2878018" y="5188904"/>
          <a:ext cx="937996" cy="285974"/>
        </a:xfrm>
        <a:prstGeom prst="rect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000" b="0" i="0" kern="1200" dirty="0" err="1">
              <a:latin typeface="Myriad Pro" panose="020B0503030403020204" pitchFamily="34" charset="0"/>
            </a:rPr>
            <a:t>Expizit</a:t>
          </a:r>
          <a:r>
            <a:rPr lang="de-DE" sz="1000" b="0" i="0" kern="1200" dirty="0">
              <a:latin typeface="Myriad Pro" panose="020B0503030403020204" pitchFamily="34" charset="0"/>
            </a:rPr>
            <a:t> </a:t>
          </a:r>
        </a:p>
      </dsp:txBody>
      <dsp:txXfrm>
        <a:off x="2878018" y="5188904"/>
        <a:ext cx="937996" cy="285974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D37291B-5548-4F1B-8F2F-200AE5B0DCAE}">
      <dsp:nvSpPr>
        <dsp:cNvPr id="0" name=""/>
        <dsp:cNvSpPr/>
      </dsp:nvSpPr>
      <dsp:spPr>
        <a:xfrm>
          <a:off x="287092" y="1085850"/>
          <a:ext cx="178076" cy="588930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89038" y="0"/>
              </a:lnTo>
              <a:lnTo>
                <a:pt x="89038" y="588930"/>
              </a:lnTo>
              <a:lnTo>
                <a:pt x="178076" y="588930"/>
              </a:lnTo>
            </a:path>
          </a:pathLst>
        </a:custGeom>
        <a:noFill/>
        <a:ln w="12700" cap="flat" cmpd="sng" algn="ctr">
          <a:solidFill>
            <a:schemeClr val="accent4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500" kern="1200"/>
        </a:p>
      </dsp:txBody>
      <dsp:txXfrm>
        <a:off x="360748" y="1364934"/>
        <a:ext cx="30763" cy="30763"/>
      </dsp:txXfrm>
    </dsp:sp>
    <dsp:sp modelId="{BE328E0A-C287-4B1A-BD90-C0F3098FFCD9}">
      <dsp:nvSpPr>
        <dsp:cNvPr id="0" name=""/>
        <dsp:cNvSpPr/>
      </dsp:nvSpPr>
      <dsp:spPr>
        <a:xfrm>
          <a:off x="287092" y="486726"/>
          <a:ext cx="180190" cy="599124"/>
        </a:xfrm>
        <a:custGeom>
          <a:avLst/>
          <a:gdLst/>
          <a:ahLst/>
          <a:cxnLst/>
          <a:rect l="0" t="0" r="0" b="0"/>
          <a:pathLst>
            <a:path>
              <a:moveTo>
                <a:pt x="0" y="599124"/>
              </a:moveTo>
              <a:lnTo>
                <a:pt x="90095" y="599124"/>
              </a:lnTo>
              <a:lnTo>
                <a:pt x="90095" y="0"/>
              </a:lnTo>
              <a:lnTo>
                <a:pt x="180190" y="0"/>
              </a:lnTo>
            </a:path>
          </a:pathLst>
        </a:custGeom>
        <a:noFill/>
        <a:ln w="12700" cap="flat" cmpd="sng" algn="ctr">
          <a:solidFill>
            <a:schemeClr val="accent4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500" kern="1200"/>
        </a:p>
      </dsp:txBody>
      <dsp:txXfrm>
        <a:off x="361546" y="770647"/>
        <a:ext cx="31281" cy="31281"/>
      </dsp:txXfrm>
    </dsp:sp>
    <dsp:sp modelId="{DCF5B4EF-DE4F-4292-A3B2-724C163A44AB}">
      <dsp:nvSpPr>
        <dsp:cNvPr id="0" name=""/>
        <dsp:cNvSpPr/>
      </dsp:nvSpPr>
      <dsp:spPr>
        <a:xfrm rot="16200000">
          <a:off x="-610102" y="942600"/>
          <a:ext cx="1507890" cy="286499"/>
        </a:xfrm>
        <a:prstGeom prst="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400" b="0" i="0" kern="1200" dirty="0">
              <a:latin typeface="Myriad Pro" panose="020B0503030403020204" pitchFamily="34" charset="0"/>
            </a:rPr>
            <a:t>Eingabebild </a:t>
          </a:r>
        </a:p>
      </dsp:txBody>
      <dsp:txXfrm>
        <a:off x="-610102" y="942600"/>
        <a:ext cx="1507890" cy="286499"/>
      </dsp:txXfrm>
    </dsp:sp>
    <dsp:sp modelId="{49ADAAAB-354D-4968-9DE9-378E6595E5BB}">
      <dsp:nvSpPr>
        <dsp:cNvPr id="0" name=""/>
        <dsp:cNvSpPr/>
      </dsp:nvSpPr>
      <dsp:spPr>
        <a:xfrm>
          <a:off x="467283" y="343476"/>
          <a:ext cx="939717" cy="286499"/>
        </a:xfrm>
        <a:prstGeom prst="rect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000" b="0" i="0" kern="1200" cap="none" baseline="0" dirty="0" err="1">
              <a:latin typeface="Myriad Pro" panose="020B0503030403020204" pitchFamily="34" charset="0"/>
            </a:rPr>
            <a:t>Supervised</a:t>
          </a:r>
          <a:endParaRPr lang="de-DE" sz="1000" b="0" i="0" kern="1200" cap="none" baseline="0" dirty="0">
            <a:latin typeface="Myriad Pro" panose="020B0503030403020204" pitchFamily="34" charset="0"/>
          </a:endParaRPr>
        </a:p>
      </dsp:txBody>
      <dsp:txXfrm>
        <a:off x="467283" y="343476"/>
        <a:ext cx="939717" cy="286499"/>
      </dsp:txXfrm>
    </dsp:sp>
    <dsp:sp modelId="{E077FA3E-A654-4D27-8616-5CDDA43F8AF6}">
      <dsp:nvSpPr>
        <dsp:cNvPr id="0" name=""/>
        <dsp:cNvSpPr/>
      </dsp:nvSpPr>
      <dsp:spPr>
        <a:xfrm>
          <a:off x="465168" y="1531531"/>
          <a:ext cx="939717" cy="286499"/>
        </a:xfrm>
        <a:prstGeom prst="rect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000" b="0" i="0" kern="1200" dirty="0" err="1">
              <a:latin typeface="Myriad Pro" panose="020B0503030403020204" pitchFamily="34" charset="0"/>
            </a:rPr>
            <a:t>Unsupervised</a:t>
          </a:r>
          <a:endParaRPr lang="de-DE" sz="1000" b="0" i="0" kern="1200" dirty="0">
            <a:latin typeface="Myriad Pro" panose="020B0503030403020204" pitchFamily="34" charset="0"/>
          </a:endParaRPr>
        </a:p>
      </dsp:txBody>
      <dsp:txXfrm>
        <a:off x="465168" y="1531531"/>
        <a:ext cx="939717" cy="286499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9C34007-6CA8-4ABF-890A-47AA50B267EA}">
      <dsp:nvSpPr>
        <dsp:cNvPr id="0" name=""/>
        <dsp:cNvSpPr/>
      </dsp:nvSpPr>
      <dsp:spPr>
        <a:xfrm>
          <a:off x="2690418" y="4974423"/>
          <a:ext cx="187599" cy="35746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93799" y="0"/>
              </a:lnTo>
              <a:lnTo>
                <a:pt x="93799" y="357468"/>
              </a:lnTo>
              <a:lnTo>
                <a:pt x="187599" y="357468"/>
              </a:lnTo>
            </a:path>
          </a:pathLst>
        </a:custGeom>
        <a:noFill/>
        <a:ln w="127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e-DE" sz="500" kern="1200"/>
        </a:p>
      </dsp:txBody>
      <dsp:txXfrm>
        <a:off x="2774125" y="5143064"/>
        <a:ext cx="20185" cy="20185"/>
      </dsp:txXfrm>
    </dsp:sp>
    <dsp:sp modelId="{1CD57466-73E5-43BB-AF51-980153E8039A}">
      <dsp:nvSpPr>
        <dsp:cNvPr id="0" name=""/>
        <dsp:cNvSpPr/>
      </dsp:nvSpPr>
      <dsp:spPr>
        <a:xfrm>
          <a:off x="2690418" y="4928703"/>
          <a:ext cx="187599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187599" y="45720"/>
              </a:lnTo>
            </a:path>
          </a:pathLst>
        </a:custGeom>
        <a:noFill/>
        <a:ln w="127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500" kern="1200"/>
        </a:p>
      </dsp:txBody>
      <dsp:txXfrm>
        <a:off x="2779528" y="4969733"/>
        <a:ext cx="9379" cy="9379"/>
      </dsp:txXfrm>
    </dsp:sp>
    <dsp:sp modelId="{60A0F5E7-D1D3-49F8-A254-CFFCBE54AAF0}">
      <dsp:nvSpPr>
        <dsp:cNvPr id="0" name=""/>
        <dsp:cNvSpPr/>
      </dsp:nvSpPr>
      <dsp:spPr>
        <a:xfrm>
          <a:off x="2690418" y="4616955"/>
          <a:ext cx="187599" cy="357468"/>
        </a:xfrm>
        <a:custGeom>
          <a:avLst/>
          <a:gdLst/>
          <a:ahLst/>
          <a:cxnLst/>
          <a:rect l="0" t="0" r="0" b="0"/>
          <a:pathLst>
            <a:path>
              <a:moveTo>
                <a:pt x="0" y="357468"/>
              </a:moveTo>
              <a:lnTo>
                <a:pt x="93799" y="357468"/>
              </a:lnTo>
              <a:lnTo>
                <a:pt x="93799" y="0"/>
              </a:lnTo>
              <a:lnTo>
                <a:pt x="187599" y="0"/>
              </a:lnTo>
            </a:path>
          </a:pathLst>
        </a:custGeom>
        <a:noFill/>
        <a:ln w="127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500" kern="1200"/>
        </a:p>
      </dsp:txBody>
      <dsp:txXfrm>
        <a:off x="2774125" y="4785596"/>
        <a:ext cx="20185" cy="20185"/>
      </dsp:txXfrm>
    </dsp:sp>
    <dsp:sp modelId="{C4365B06-B9DB-4064-B93F-1043BD4B58B2}">
      <dsp:nvSpPr>
        <dsp:cNvPr id="0" name=""/>
        <dsp:cNvSpPr/>
      </dsp:nvSpPr>
      <dsp:spPr>
        <a:xfrm>
          <a:off x="1564822" y="3589234"/>
          <a:ext cx="187599" cy="138518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93799" y="0"/>
              </a:lnTo>
              <a:lnTo>
                <a:pt x="93799" y="1385189"/>
              </a:lnTo>
              <a:lnTo>
                <a:pt x="187599" y="1385189"/>
              </a:lnTo>
            </a:path>
          </a:pathLst>
        </a:custGeom>
        <a:noFill/>
        <a:ln w="12700" cap="flat" cmpd="sng" algn="ctr">
          <a:solidFill>
            <a:schemeClr val="accent4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500" kern="1200"/>
        </a:p>
      </dsp:txBody>
      <dsp:txXfrm>
        <a:off x="1623676" y="4246882"/>
        <a:ext cx="69891" cy="69891"/>
      </dsp:txXfrm>
    </dsp:sp>
    <dsp:sp modelId="{313DC26C-06DB-4098-B605-33485EFC9B29}">
      <dsp:nvSpPr>
        <dsp:cNvPr id="0" name=""/>
        <dsp:cNvSpPr/>
      </dsp:nvSpPr>
      <dsp:spPr>
        <a:xfrm>
          <a:off x="2690418" y="4080752"/>
          <a:ext cx="187599" cy="178734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93799" y="0"/>
              </a:lnTo>
              <a:lnTo>
                <a:pt x="93799" y="178734"/>
              </a:lnTo>
              <a:lnTo>
                <a:pt x="187599" y="178734"/>
              </a:lnTo>
            </a:path>
          </a:pathLst>
        </a:custGeom>
        <a:noFill/>
        <a:ln w="127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500" kern="1200"/>
        </a:p>
      </dsp:txBody>
      <dsp:txXfrm>
        <a:off x="2777740" y="4163642"/>
        <a:ext cx="12955" cy="12955"/>
      </dsp:txXfrm>
    </dsp:sp>
    <dsp:sp modelId="{037062E2-BE96-4A8B-9D2F-1FA0857207C1}">
      <dsp:nvSpPr>
        <dsp:cNvPr id="0" name=""/>
        <dsp:cNvSpPr/>
      </dsp:nvSpPr>
      <dsp:spPr>
        <a:xfrm>
          <a:off x="2690418" y="3902018"/>
          <a:ext cx="187599" cy="178734"/>
        </a:xfrm>
        <a:custGeom>
          <a:avLst/>
          <a:gdLst/>
          <a:ahLst/>
          <a:cxnLst/>
          <a:rect l="0" t="0" r="0" b="0"/>
          <a:pathLst>
            <a:path>
              <a:moveTo>
                <a:pt x="0" y="178734"/>
              </a:moveTo>
              <a:lnTo>
                <a:pt x="93799" y="178734"/>
              </a:lnTo>
              <a:lnTo>
                <a:pt x="93799" y="0"/>
              </a:lnTo>
              <a:lnTo>
                <a:pt x="187599" y="0"/>
              </a:lnTo>
            </a:path>
          </a:pathLst>
        </a:custGeom>
        <a:noFill/>
        <a:ln w="127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500" kern="1200"/>
        </a:p>
      </dsp:txBody>
      <dsp:txXfrm>
        <a:off x="2777740" y="3984907"/>
        <a:ext cx="12955" cy="12955"/>
      </dsp:txXfrm>
    </dsp:sp>
    <dsp:sp modelId="{CD37291B-5548-4F1B-8F2F-200AE5B0DCAE}">
      <dsp:nvSpPr>
        <dsp:cNvPr id="0" name=""/>
        <dsp:cNvSpPr/>
      </dsp:nvSpPr>
      <dsp:spPr>
        <a:xfrm>
          <a:off x="1564822" y="3589234"/>
          <a:ext cx="187599" cy="49151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93799" y="0"/>
              </a:lnTo>
              <a:lnTo>
                <a:pt x="93799" y="491518"/>
              </a:lnTo>
              <a:lnTo>
                <a:pt x="187599" y="491518"/>
              </a:lnTo>
            </a:path>
          </a:pathLst>
        </a:custGeom>
        <a:noFill/>
        <a:ln w="12700" cap="flat" cmpd="sng" algn="ctr">
          <a:solidFill>
            <a:schemeClr val="accent4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500" kern="1200"/>
        </a:p>
      </dsp:txBody>
      <dsp:txXfrm>
        <a:off x="1645469" y="3821840"/>
        <a:ext cx="26305" cy="26305"/>
      </dsp:txXfrm>
    </dsp:sp>
    <dsp:sp modelId="{690E36EE-5895-4B91-A347-3380A5FE5255}">
      <dsp:nvSpPr>
        <dsp:cNvPr id="0" name=""/>
        <dsp:cNvSpPr/>
      </dsp:nvSpPr>
      <dsp:spPr>
        <a:xfrm>
          <a:off x="2690418" y="2204044"/>
          <a:ext cx="187599" cy="1340505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93799" y="0"/>
              </a:lnTo>
              <a:lnTo>
                <a:pt x="93799" y="1340505"/>
              </a:lnTo>
              <a:lnTo>
                <a:pt x="187599" y="1340505"/>
              </a:lnTo>
            </a:path>
          </a:pathLst>
        </a:custGeom>
        <a:noFill/>
        <a:ln w="127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e-DE" sz="500" kern="1200"/>
        </a:p>
      </dsp:txBody>
      <dsp:txXfrm>
        <a:off x="2750379" y="2840458"/>
        <a:ext cx="67678" cy="67678"/>
      </dsp:txXfrm>
    </dsp:sp>
    <dsp:sp modelId="{460E764F-BDF5-4D22-9B4D-16DC71F64CAC}">
      <dsp:nvSpPr>
        <dsp:cNvPr id="0" name=""/>
        <dsp:cNvSpPr/>
      </dsp:nvSpPr>
      <dsp:spPr>
        <a:xfrm>
          <a:off x="2690418" y="2204044"/>
          <a:ext cx="187599" cy="98303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93799" y="0"/>
              </a:lnTo>
              <a:lnTo>
                <a:pt x="93799" y="983037"/>
              </a:lnTo>
              <a:lnTo>
                <a:pt x="187599" y="983037"/>
              </a:lnTo>
            </a:path>
          </a:pathLst>
        </a:custGeom>
        <a:noFill/>
        <a:ln w="127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e-DE" sz="500" kern="1200"/>
        </a:p>
      </dsp:txBody>
      <dsp:txXfrm>
        <a:off x="2759199" y="2670544"/>
        <a:ext cx="50038" cy="50038"/>
      </dsp:txXfrm>
    </dsp:sp>
    <dsp:sp modelId="{A4E05C94-2209-4BF4-B627-606397BBC1C5}">
      <dsp:nvSpPr>
        <dsp:cNvPr id="0" name=""/>
        <dsp:cNvSpPr/>
      </dsp:nvSpPr>
      <dsp:spPr>
        <a:xfrm>
          <a:off x="2690418" y="2204044"/>
          <a:ext cx="187599" cy="62556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93799" y="0"/>
              </a:lnTo>
              <a:lnTo>
                <a:pt x="93799" y="625569"/>
              </a:lnTo>
              <a:lnTo>
                <a:pt x="187599" y="625569"/>
              </a:lnTo>
            </a:path>
          </a:pathLst>
        </a:custGeom>
        <a:noFill/>
        <a:ln w="127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e-DE" sz="500" kern="1200"/>
        </a:p>
      </dsp:txBody>
      <dsp:txXfrm>
        <a:off x="2767891" y="2500502"/>
        <a:ext cx="32654" cy="32654"/>
      </dsp:txXfrm>
    </dsp:sp>
    <dsp:sp modelId="{329CD9E0-9945-40C9-89A5-5929AA1A3A82}">
      <dsp:nvSpPr>
        <dsp:cNvPr id="0" name=""/>
        <dsp:cNvSpPr/>
      </dsp:nvSpPr>
      <dsp:spPr>
        <a:xfrm>
          <a:off x="3816014" y="2472145"/>
          <a:ext cx="187599" cy="536202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93799" y="0"/>
              </a:lnTo>
              <a:lnTo>
                <a:pt x="93799" y="536202"/>
              </a:lnTo>
              <a:lnTo>
                <a:pt x="187599" y="536202"/>
              </a:lnTo>
            </a:path>
          </a:pathLst>
        </a:custGeom>
        <a:noFill/>
        <a:ln w="12700" cap="flat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e-DE" sz="500" kern="1200"/>
        </a:p>
      </dsp:txBody>
      <dsp:txXfrm>
        <a:off x="3895612" y="2726045"/>
        <a:ext cx="28403" cy="28403"/>
      </dsp:txXfrm>
    </dsp:sp>
    <dsp:sp modelId="{9458E52A-38CE-4EE6-A620-F703970B8164}">
      <dsp:nvSpPr>
        <dsp:cNvPr id="0" name=""/>
        <dsp:cNvSpPr/>
      </dsp:nvSpPr>
      <dsp:spPr>
        <a:xfrm>
          <a:off x="3816014" y="2472145"/>
          <a:ext cx="187599" cy="178734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93799" y="0"/>
              </a:lnTo>
              <a:lnTo>
                <a:pt x="93799" y="178734"/>
              </a:lnTo>
              <a:lnTo>
                <a:pt x="187599" y="178734"/>
              </a:lnTo>
            </a:path>
          </a:pathLst>
        </a:custGeom>
        <a:noFill/>
        <a:ln w="12700" cap="flat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e-DE" sz="500" kern="1200"/>
        </a:p>
      </dsp:txBody>
      <dsp:txXfrm>
        <a:off x="3903336" y="2555035"/>
        <a:ext cx="12955" cy="12955"/>
      </dsp:txXfrm>
    </dsp:sp>
    <dsp:sp modelId="{2B4072C3-2623-4EA4-94B7-025A9DCD72E9}">
      <dsp:nvSpPr>
        <dsp:cNvPr id="0" name=""/>
        <dsp:cNvSpPr/>
      </dsp:nvSpPr>
      <dsp:spPr>
        <a:xfrm>
          <a:off x="3816014" y="2293411"/>
          <a:ext cx="187599" cy="178734"/>
        </a:xfrm>
        <a:custGeom>
          <a:avLst/>
          <a:gdLst/>
          <a:ahLst/>
          <a:cxnLst/>
          <a:rect l="0" t="0" r="0" b="0"/>
          <a:pathLst>
            <a:path>
              <a:moveTo>
                <a:pt x="0" y="178734"/>
              </a:moveTo>
              <a:lnTo>
                <a:pt x="93799" y="178734"/>
              </a:lnTo>
              <a:lnTo>
                <a:pt x="93799" y="0"/>
              </a:lnTo>
              <a:lnTo>
                <a:pt x="187599" y="0"/>
              </a:lnTo>
            </a:path>
          </a:pathLst>
        </a:custGeom>
        <a:noFill/>
        <a:ln w="12700" cap="flat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e-DE" sz="500" kern="1200"/>
        </a:p>
      </dsp:txBody>
      <dsp:txXfrm>
        <a:off x="3903336" y="2376300"/>
        <a:ext cx="12955" cy="12955"/>
      </dsp:txXfrm>
    </dsp:sp>
    <dsp:sp modelId="{7F2C676C-E906-4B26-892E-C728B9239429}">
      <dsp:nvSpPr>
        <dsp:cNvPr id="0" name=""/>
        <dsp:cNvSpPr/>
      </dsp:nvSpPr>
      <dsp:spPr>
        <a:xfrm>
          <a:off x="3816014" y="1935943"/>
          <a:ext cx="187599" cy="536202"/>
        </a:xfrm>
        <a:custGeom>
          <a:avLst/>
          <a:gdLst/>
          <a:ahLst/>
          <a:cxnLst/>
          <a:rect l="0" t="0" r="0" b="0"/>
          <a:pathLst>
            <a:path>
              <a:moveTo>
                <a:pt x="0" y="536202"/>
              </a:moveTo>
              <a:lnTo>
                <a:pt x="93799" y="536202"/>
              </a:lnTo>
              <a:lnTo>
                <a:pt x="93799" y="0"/>
              </a:lnTo>
              <a:lnTo>
                <a:pt x="187599" y="0"/>
              </a:lnTo>
            </a:path>
          </a:pathLst>
        </a:custGeom>
        <a:noFill/>
        <a:ln w="12700" cap="flat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e-DE" sz="500" kern="1200"/>
        </a:p>
      </dsp:txBody>
      <dsp:txXfrm>
        <a:off x="3895612" y="2189842"/>
        <a:ext cx="28403" cy="28403"/>
      </dsp:txXfrm>
    </dsp:sp>
    <dsp:sp modelId="{5BC2DE1D-C4D7-4BFC-A0C1-3D282DC024CD}">
      <dsp:nvSpPr>
        <dsp:cNvPr id="0" name=""/>
        <dsp:cNvSpPr/>
      </dsp:nvSpPr>
      <dsp:spPr>
        <a:xfrm>
          <a:off x="2690418" y="2204044"/>
          <a:ext cx="187599" cy="268101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93799" y="0"/>
              </a:lnTo>
              <a:lnTo>
                <a:pt x="93799" y="268101"/>
              </a:lnTo>
              <a:lnTo>
                <a:pt x="187599" y="268101"/>
              </a:lnTo>
            </a:path>
          </a:pathLst>
        </a:custGeom>
        <a:noFill/>
        <a:ln w="127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e-DE" sz="500" kern="1200"/>
        </a:p>
      </dsp:txBody>
      <dsp:txXfrm>
        <a:off x="2776038" y="2329914"/>
        <a:ext cx="16360" cy="16360"/>
      </dsp:txXfrm>
    </dsp:sp>
    <dsp:sp modelId="{FAF45787-F807-4BB6-923D-0C0E2CD8C149}">
      <dsp:nvSpPr>
        <dsp:cNvPr id="0" name=""/>
        <dsp:cNvSpPr/>
      </dsp:nvSpPr>
      <dsp:spPr>
        <a:xfrm>
          <a:off x="3816014" y="863538"/>
          <a:ext cx="187599" cy="71493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93799" y="0"/>
              </a:lnTo>
              <a:lnTo>
                <a:pt x="93799" y="714936"/>
              </a:lnTo>
              <a:lnTo>
                <a:pt x="187599" y="714936"/>
              </a:lnTo>
            </a:path>
          </a:pathLst>
        </a:custGeom>
        <a:noFill/>
        <a:ln w="12700" cap="flat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e-DE" sz="500" kern="1200"/>
        </a:p>
      </dsp:txBody>
      <dsp:txXfrm>
        <a:off x="3891335" y="1202528"/>
        <a:ext cx="36956" cy="36956"/>
      </dsp:txXfrm>
    </dsp:sp>
    <dsp:sp modelId="{C5F46441-018D-4AD0-9984-278FB6B3653F}">
      <dsp:nvSpPr>
        <dsp:cNvPr id="0" name=""/>
        <dsp:cNvSpPr/>
      </dsp:nvSpPr>
      <dsp:spPr>
        <a:xfrm>
          <a:off x="3816014" y="863538"/>
          <a:ext cx="187599" cy="35746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93799" y="0"/>
              </a:lnTo>
              <a:lnTo>
                <a:pt x="93799" y="357468"/>
              </a:lnTo>
              <a:lnTo>
                <a:pt x="187599" y="357468"/>
              </a:lnTo>
            </a:path>
          </a:pathLst>
        </a:custGeom>
        <a:noFill/>
        <a:ln w="12700" cap="flat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e-DE" sz="500" kern="1200"/>
        </a:p>
      </dsp:txBody>
      <dsp:txXfrm>
        <a:off x="3899721" y="1032180"/>
        <a:ext cx="20185" cy="20185"/>
      </dsp:txXfrm>
    </dsp:sp>
    <dsp:sp modelId="{709C936E-7E65-4B5A-AC40-4548A25152AC}">
      <dsp:nvSpPr>
        <dsp:cNvPr id="0" name=""/>
        <dsp:cNvSpPr/>
      </dsp:nvSpPr>
      <dsp:spPr>
        <a:xfrm>
          <a:off x="3816014" y="817818"/>
          <a:ext cx="187599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187599" y="45720"/>
              </a:lnTo>
            </a:path>
          </a:pathLst>
        </a:custGeom>
        <a:noFill/>
        <a:ln w="12700" cap="flat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e-DE" sz="500" kern="1200"/>
        </a:p>
      </dsp:txBody>
      <dsp:txXfrm>
        <a:off x="3905124" y="858848"/>
        <a:ext cx="9379" cy="9379"/>
      </dsp:txXfrm>
    </dsp:sp>
    <dsp:sp modelId="{8F0AA0AA-EF8D-43DE-82C5-2D7BFD08315F}">
      <dsp:nvSpPr>
        <dsp:cNvPr id="0" name=""/>
        <dsp:cNvSpPr/>
      </dsp:nvSpPr>
      <dsp:spPr>
        <a:xfrm>
          <a:off x="3816014" y="506070"/>
          <a:ext cx="187599" cy="357468"/>
        </a:xfrm>
        <a:custGeom>
          <a:avLst/>
          <a:gdLst/>
          <a:ahLst/>
          <a:cxnLst/>
          <a:rect l="0" t="0" r="0" b="0"/>
          <a:pathLst>
            <a:path>
              <a:moveTo>
                <a:pt x="0" y="357468"/>
              </a:moveTo>
              <a:lnTo>
                <a:pt x="93799" y="357468"/>
              </a:lnTo>
              <a:lnTo>
                <a:pt x="93799" y="0"/>
              </a:lnTo>
              <a:lnTo>
                <a:pt x="187599" y="0"/>
              </a:lnTo>
            </a:path>
          </a:pathLst>
        </a:custGeom>
        <a:noFill/>
        <a:ln w="12700" cap="flat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e-DE" sz="500" kern="1200"/>
        </a:p>
      </dsp:txBody>
      <dsp:txXfrm>
        <a:off x="3899721" y="674712"/>
        <a:ext cx="20185" cy="20185"/>
      </dsp:txXfrm>
    </dsp:sp>
    <dsp:sp modelId="{6D05A90F-5A8D-42F9-A2CB-82F28C0FF2BC}">
      <dsp:nvSpPr>
        <dsp:cNvPr id="0" name=""/>
        <dsp:cNvSpPr/>
      </dsp:nvSpPr>
      <dsp:spPr>
        <a:xfrm>
          <a:off x="3816014" y="148602"/>
          <a:ext cx="187599" cy="714936"/>
        </a:xfrm>
        <a:custGeom>
          <a:avLst/>
          <a:gdLst/>
          <a:ahLst/>
          <a:cxnLst/>
          <a:rect l="0" t="0" r="0" b="0"/>
          <a:pathLst>
            <a:path>
              <a:moveTo>
                <a:pt x="0" y="714936"/>
              </a:moveTo>
              <a:lnTo>
                <a:pt x="93799" y="714936"/>
              </a:lnTo>
              <a:lnTo>
                <a:pt x="93799" y="0"/>
              </a:lnTo>
              <a:lnTo>
                <a:pt x="187599" y="0"/>
              </a:lnTo>
            </a:path>
          </a:pathLst>
        </a:custGeom>
        <a:noFill/>
        <a:ln w="12700" cap="flat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e-DE" sz="500" kern="1200"/>
        </a:p>
      </dsp:txBody>
      <dsp:txXfrm>
        <a:off x="3891335" y="487592"/>
        <a:ext cx="36956" cy="36956"/>
      </dsp:txXfrm>
    </dsp:sp>
    <dsp:sp modelId="{A00DE1AA-92DF-4607-98DB-1C3BB048DCF5}">
      <dsp:nvSpPr>
        <dsp:cNvPr id="0" name=""/>
        <dsp:cNvSpPr/>
      </dsp:nvSpPr>
      <dsp:spPr>
        <a:xfrm>
          <a:off x="2690418" y="863538"/>
          <a:ext cx="187599" cy="1340505"/>
        </a:xfrm>
        <a:custGeom>
          <a:avLst/>
          <a:gdLst/>
          <a:ahLst/>
          <a:cxnLst/>
          <a:rect l="0" t="0" r="0" b="0"/>
          <a:pathLst>
            <a:path>
              <a:moveTo>
                <a:pt x="0" y="1340505"/>
              </a:moveTo>
              <a:lnTo>
                <a:pt x="93799" y="1340505"/>
              </a:lnTo>
              <a:lnTo>
                <a:pt x="93799" y="0"/>
              </a:lnTo>
              <a:lnTo>
                <a:pt x="187599" y="0"/>
              </a:lnTo>
            </a:path>
          </a:pathLst>
        </a:custGeom>
        <a:noFill/>
        <a:ln w="127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e-DE" sz="500" kern="1200"/>
        </a:p>
      </dsp:txBody>
      <dsp:txXfrm>
        <a:off x="2750379" y="1499952"/>
        <a:ext cx="67678" cy="67678"/>
      </dsp:txXfrm>
    </dsp:sp>
    <dsp:sp modelId="{BE328E0A-C287-4B1A-BD90-C0F3098FFCD9}">
      <dsp:nvSpPr>
        <dsp:cNvPr id="0" name=""/>
        <dsp:cNvSpPr/>
      </dsp:nvSpPr>
      <dsp:spPr>
        <a:xfrm>
          <a:off x="1564822" y="2204044"/>
          <a:ext cx="187599" cy="1385189"/>
        </a:xfrm>
        <a:custGeom>
          <a:avLst/>
          <a:gdLst/>
          <a:ahLst/>
          <a:cxnLst/>
          <a:rect l="0" t="0" r="0" b="0"/>
          <a:pathLst>
            <a:path>
              <a:moveTo>
                <a:pt x="0" y="1385189"/>
              </a:moveTo>
              <a:lnTo>
                <a:pt x="93799" y="1385189"/>
              </a:lnTo>
              <a:lnTo>
                <a:pt x="93799" y="0"/>
              </a:lnTo>
              <a:lnTo>
                <a:pt x="187599" y="0"/>
              </a:lnTo>
            </a:path>
          </a:pathLst>
        </a:custGeom>
        <a:noFill/>
        <a:ln w="12700" cap="flat" cmpd="sng" algn="ctr">
          <a:solidFill>
            <a:schemeClr val="accent4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500" kern="1200"/>
        </a:p>
      </dsp:txBody>
      <dsp:txXfrm>
        <a:off x="1623676" y="2861693"/>
        <a:ext cx="69891" cy="69891"/>
      </dsp:txXfrm>
    </dsp:sp>
    <dsp:sp modelId="{DCF5B4EF-DE4F-4292-A3B2-724C163A44AB}">
      <dsp:nvSpPr>
        <dsp:cNvPr id="0" name=""/>
        <dsp:cNvSpPr/>
      </dsp:nvSpPr>
      <dsp:spPr>
        <a:xfrm rot="16200000">
          <a:off x="669270" y="3446246"/>
          <a:ext cx="1505129" cy="285974"/>
        </a:xfrm>
        <a:prstGeom prst="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400" b="0" i="0" kern="1200" dirty="0">
              <a:latin typeface="Myriad Pro" panose="020B0503030403020204" pitchFamily="34" charset="0"/>
            </a:rPr>
            <a:t>Eingabebild </a:t>
          </a:r>
        </a:p>
      </dsp:txBody>
      <dsp:txXfrm>
        <a:off x="669270" y="3446246"/>
        <a:ext cx="1505129" cy="285974"/>
      </dsp:txXfrm>
    </dsp:sp>
    <dsp:sp modelId="{49ADAAAB-354D-4968-9DE9-378E6595E5BB}">
      <dsp:nvSpPr>
        <dsp:cNvPr id="0" name=""/>
        <dsp:cNvSpPr/>
      </dsp:nvSpPr>
      <dsp:spPr>
        <a:xfrm>
          <a:off x="1752422" y="2061057"/>
          <a:ext cx="937996" cy="285974"/>
        </a:xfrm>
        <a:prstGeom prst="rect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000" b="1" i="0" kern="1200" cap="none" baseline="0" dirty="0">
              <a:latin typeface="Myriad Pro" panose="020B0503030403020204" pitchFamily="34" charset="0"/>
            </a:rPr>
            <a:t>Einzel Netzwerk</a:t>
          </a:r>
          <a:endParaRPr lang="de-DE" sz="1000" b="0" i="0" kern="1200" cap="none" baseline="0" dirty="0">
            <a:latin typeface="Myriad Pro" panose="020B0503030403020204" pitchFamily="34" charset="0"/>
          </a:endParaRPr>
        </a:p>
      </dsp:txBody>
      <dsp:txXfrm>
        <a:off x="1752422" y="2061057"/>
        <a:ext cx="937996" cy="285974"/>
      </dsp:txXfrm>
    </dsp:sp>
    <dsp:sp modelId="{F9F18759-F577-4686-9C34-EB964D732C77}">
      <dsp:nvSpPr>
        <dsp:cNvPr id="0" name=""/>
        <dsp:cNvSpPr/>
      </dsp:nvSpPr>
      <dsp:spPr>
        <a:xfrm>
          <a:off x="2878018" y="720551"/>
          <a:ext cx="937996" cy="285974"/>
        </a:xfrm>
        <a:prstGeom prst="rect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000" b="0" i="0" kern="1200" dirty="0">
              <a:latin typeface="Myriad Pro" panose="020B0503030403020204" pitchFamily="34" charset="0"/>
            </a:rPr>
            <a:t>Architektur</a:t>
          </a:r>
        </a:p>
      </dsp:txBody>
      <dsp:txXfrm>
        <a:off x="2878018" y="720551"/>
        <a:ext cx="937996" cy="285974"/>
      </dsp:txXfrm>
    </dsp:sp>
    <dsp:sp modelId="{F8A94DA1-2081-4A8B-816C-A9F98C2853F5}">
      <dsp:nvSpPr>
        <dsp:cNvPr id="0" name=""/>
        <dsp:cNvSpPr/>
      </dsp:nvSpPr>
      <dsp:spPr>
        <a:xfrm>
          <a:off x="4003614" y="5615"/>
          <a:ext cx="937996" cy="285974"/>
        </a:xfrm>
        <a:prstGeom prst="rect">
          <a:avLst/>
        </a:prstGeom>
        <a:solidFill>
          <a:schemeClr val="accent6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080" tIns="5080" rIns="5080" bIns="508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800" b="0" i="0" kern="1200" dirty="0">
              <a:latin typeface="Myriad Pro" panose="020B0503030403020204" pitchFamily="34" charset="0"/>
            </a:rPr>
            <a:t>U-Net</a:t>
          </a:r>
        </a:p>
      </dsp:txBody>
      <dsp:txXfrm>
        <a:off x="4003614" y="5615"/>
        <a:ext cx="937996" cy="285974"/>
      </dsp:txXfrm>
    </dsp:sp>
    <dsp:sp modelId="{571B8373-7DFF-4282-8AA6-80F7CC7EA7C8}">
      <dsp:nvSpPr>
        <dsp:cNvPr id="0" name=""/>
        <dsp:cNvSpPr/>
      </dsp:nvSpPr>
      <dsp:spPr>
        <a:xfrm>
          <a:off x="4003614" y="363083"/>
          <a:ext cx="937996" cy="285974"/>
        </a:xfrm>
        <a:prstGeom prst="rect">
          <a:avLst/>
        </a:prstGeom>
        <a:solidFill>
          <a:schemeClr val="accent6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080" tIns="5080" rIns="5080" bIns="508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800" b="0" i="0" kern="1200" dirty="0">
              <a:latin typeface="Myriad Pro" panose="020B0503030403020204" pitchFamily="34" charset="0"/>
            </a:rPr>
            <a:t>U-Net++</a:t>
          </a:r>
        </a:p>
      </dsp:txBody>
      <dsp:txXfrm>
        <a:off x="4003614" y="363083"/>
        <a:ext cx="937996" cy="285974"/>
      </dsp:txXfrm>
    </dsp:sp>
    <dsp:sp modelId="{9E59A063-5821-4E2B-8FD8-3EBA8922B98E}">
      <dsp:nvSpPr>
        <dsp:cNvPr id="0" name=""/>
        <dsp:cNvSpPr/>
      </dsp:nvSpPr>
      <dsp:spPr>
        <a:xfrm>
          <a:off x="4003614" y="720551"/>
          <a:ext cx="937996" cy="285974"/>
        </a:xfrm>
        <a:prstGeom prst="rect">
          <a:avLst/>
        </a:prstGeom>
        <a:solidFill>
          <a:schemeClr val="accent6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080" tIns="5080" rIns="5080" bIns="508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800" b="0" i="0" kern="1200" dirty="0">
              <a:latin typeface="Myriad Pro" panose="020B0503030403020204" pitchFamily="34" charset="0"/>
            </a:rPr>
            <a:t>FPN</a:t>
          </a:r>
        </a:p>
      </dsp:txBody>
      <dsp:txXfrm>
        <a:off x="4003614" y="720551"/>
        <a:ext cx="937996" cy="285974"/>
      </dsp:txXfrm>
    </dsp:sp>
    <dsp:sp modelId="{E35C2840-DB93-493D-B275-166B0E0C4A9D}">
      <dsp:nvSpPr>
        <dsp:cNvPr id="0" name=""/>
        <dsp:cNvSpPr/>
      </dsp:nvSpPr>
      <dsp:spPr>
        <a:xfrm>
          <a:off x="4003614" y="1078019"/>
          <a:ext cx="937996" cy="285974"/>
        </a:xfrm>
        <a:prstGeom prst="rect">
          <a:avLst/>
        </a:prstGeom>
        <a:solidFill>
          <a:schemeClr val="accent6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080" tIns="5080" rIns="5080" bIns="508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800" b="0" i="0" kern="1200" dirty="0">
              <a:latin typeface="Myriad Pro" panose="020B0503030403020204" pitchFamily="34" charset="0"/>
            </a:rPr>
            <a:t>PSPN</a:t>
          </a:r>
        </a:p>
      </dsp:txBody>
      <dsp:txXfrm>
        <a:off x="4003614" y="1078019"/>
        <a:ext cx="937996" cy="285974"/>
      </dsp:txXfrm>
    </dsp:sp>
    <dsp:sp modelId="{8F47A465-73D6-48E5-83FD-F149301C3BBD}">
      <dsp:nvSpPr>
        <dsp:cNvPr id="0" name=""/>
        <dsp:cNvSpPr/>
      </dsp:nvSpPr>
      <dsp:spPr>
        <a:xfrm>
          <a:off x="4003614" y="1435487"/>
          <a:ext cx="937996" cy="285974"/>
        </a:xfrm>
        <a:prstGeom prst="rect">
          <a:avLst/>
        </a:prstGeom>
        <a:solidFill>
          <a:schemeClr val="accent6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080" tIns="5080" rIns="5080" bIns="508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800" b="0" i="0" kern="1200" dirty="0">
              <a:latin typeface="Myriad Pro" panose="020B0503030403020204" pitchFamily="34" charset="0"/>
            </a:rPr>
            <a:t>PAN</a:t>
          </a:r>
        </a:p>
      </dsp:txBody>
      <dsp:txXfrm>
        <a:off x="4003614" y="1435487"/>
        <a:ext cx="937996" cy="285974"/>
      </dsp:txXfrm>
    </dsp:sp>
    <dsp:sp modelId="{DC0B28EB-699E-45BB-87EC-30E574E72821}">
      <dsp:nvSpPr>
        <dsp:cNvPr id="0" name=""/>
        <dsp:cNvSpPr/>
      </dsp:nvSpPr>
      <dsp:spPr>
        <a:xfrm>
          <a:off x="2878018" y="2329158"/>
          <a:ext cx="937996" cy="285974"/>
        </a:xfrm>
        <a:prstGeom prst="rect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000" b="0" i="0" kern="1200" dirty="0">
              <a:latin typeface="Myriad Pro" panose="020B0503030403020204" pitchFamily="34" charset="0"/>
            </a:rPr>
            <a:t>Encoder</a:t>
          </a:r>
        </a:p>
      </dsp:txBody>
      <dsp:txXfrm>
        <a:off x="2878018" y="2329158"/>
        <a:ext cx="937996" cy="285974"/>
      </dsp:txXfrm>
    </dsp:sp>
    <dsp:sp modelId="{81473451-3FF3-474B-98FB-6869E5682468}">
      <dsp:nvSpPr>
        <dsp:cNvPr id="0" name=""/>
        <dsp:cNvSpPr/>
      </dsp:nvSpPr>
      <dsp:spPr>
        <a:xfrm>
          <a:off x="4003614" y="1792956"/>
          <a:ext cx="937996" cy="285974"/>
        </a:xfrm>
        <a:prstGeom prst="rect">
          <a:avLst/>
        </a:prstGeom>
        <a:solidFill>
          <a:schemeClr val="accent6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080" tIns="5080" rIns="5080" bIns="508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800" b="0" i="0" kern="1200" dirty="0">
              <a:latin typeface="Myriad Pro" panose="020B0503030403020204" pitchFamily="34" charset="0"/>
            </a:rPr>
            <a:t>Inception-V4</a:t>
          </a:r>
        </a:p>
      </dsp:txBody>
      <dsp:txXfrm>
        <a:off x="4003614" y="1792956"/>
        <a:ext cx="937996" cy="285974"/>
      </dsp:txXfrm>
    </dsp:sp>
    <dsp:sp modelId="{A732D3F1-1291-409E-9A7C-778CAE167F89}">
      <dsp:nvSpPr>
        <dsp:cNvPr id="0" name=""/>
        <dsp:cNvSpPr/>
      </dsp:nvSpPr>
      <dsp:spPr>
        <a:xfrm>
          <a:off x="4003614" y="2150424"/>
          <a:ext cx="937996" cy="285974"/>
        </a:xfrm>
        <a:prstGeom prst="rect">
          <a:avLst/>
        </a:prstGeom>
        <a:solidFill>
          <a:schemeClr val="accent6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080" tIns="5080" rIns="5080" bIns="508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800" b="0" i="0" kern="1200" dirty="0">
              <a:latin typeface="Myriad Pro" panose="020B0503030403020204" pitchFamily="34" charset="0"/>
            </a:rPr>
            <a:t>Inception-</a:t>
          </a:r>
          <a:r>
            <a:rPr lang="de-DE" sz="800" b="0" i="0" kern="1200" dirty="0" err="1">
              <a:latin typeface="Myriad Pro" panose="020B0503030403020204" pitchFamily="34" charset="0"/>
            </a:rPr>
            <a:t>ResNet</a:t>
          </a:r>
          <a:endParaRPr lang="de-DE" sz="800" b="0" i="0" kern="1200" dirty="0">
            <a:latin typeface="Myriad Pro" panose="020B0503030403020204" pitchFamily="34" charset="0"/>
          </a:endParaRPr>
        </a:p>
      </dsp:txBody>
      <dsp:txXfrm>
        <a:off x="4003614" y="2150424"/>
        <a:ext cx="937996" cy="285974"/>
      </dsp:txXfrm>
    </dsp:sp>
    <dsp:sp modelId="{42C465EB-33D9-4AD2-A33B-930C8E39ED41}">
      <dsp:nvSpPr>
        <dsp:cNvPr id="0" name=""/>
        <dsp:cNvSpPr/>
      </dsp:nvSpPr>
      <dsp:spPr>
        <a:xfrm>
          <a:off x="4003614" y="2507892"/>
          <a:ext cx="937996" cy="285974"/>
        </a:xfrm>
        <a:prstGeom prst="rect">
          <a:avLst/>
        </a:prstGeom>
        <a:solidFill>
          <a:schemeClr val="accent6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080" tIns="5080" rIns="5080" bIns="508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800" b="0" i="0" kern="1200" dirty="0" err="1">
              <a:latin typeface="Myriad Pro" panose="020B0503030403020204" pitchFamily="34" charset="0"/>
            </a:rPr>
            <a:t>ResNet</a:t>
          </a:r>
          <a:endParaRPr lang="de-DE" sz="800" b="0" i="0" kern="1200" dirty="0">
            <a:latin typeface="Myriad Pro" panose="020B0503030403020204" pitchFamily="34" charset="0"/>
          </a:endParaRPr>
        </a:p>
      </dsp:txBody>
      <dsp:txXfrm>
        <a:off x="4003614" y="2507892"/>
        <a:ext cx="937996" cy="285974"/>
      </dsp:txXfrm>
    </dsp:sp>
    <dsp:sp modelId="{84D7F889-3498-48D8-ADC3-14251347C81B}">
      <dsp:nvSpPr>
        <dsp:cNvPr id="0" name=""/>
        <dsp:cNvSpPr/>
      </dsp:nvSpPr>
      <dsp:spPr>
        <a:xfrm>
          <a:off x="4003614" y="2865360"/>
          <a:ext cx="937996" cy="285974"/>
        </a:xfrm>
        <a:prstGeom prst="rect">
          <a:avLst/>
        </a:prstGeom>
        <a:solidFill>
          <a:schemeClr val="accent6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080" tIns="5080" rIns="5080" bIns="508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800" b="0" i="0" kern="1200" dirty="0" err="1">
              <a:latin typeface="Myriad Pro" panose="020B0503030403020204" pitchFamily="34" charset="0"/>
            </a:rPr>
            <a:t>ResNext</a:t>
          </a:r>
          <a:endParaRPr lang="de-DE" sz="800" b="0" i="0" kern="1200" dirty="0">
            <a:latin typeface="Myriad Pro" panose="020B0503030403020204" pitchFamily="34" charset="0"/>
          </a:endParaRPr>
        </a:p>
      </dsp:txBody>
      <dsp:txXfrm>
        <a:off x="4003614" y="2865360"/>
        <a:ext cx="937996" cy="285974"/>
      </dsp:txXfrm>
    </dsp:sp>
    <dsp:sp modelId="{485D5E8B-1295-4B72-BF14-74B2BE7008EE}">
      <dsp:nvSpPr>
        <dsp:cNvPr id="0" name=""/>
        <dsp:cNvSpPr/>
      </dsp:nvSpPr>
      <dsp:spPr>
        <a:xfrm>
          <a:off x="2878018" y="2686626"/>
          <a:ext cx="937996" cy="285974"/>
        </a:xfrm>
        <a:prstGeom prst="rect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000" b="0" i="0" kern="1200" dirty="0" err="1">
              <a:latin typeface="Myriad Pro" panose="020B0503030403020204" pitchFamily="34" charset="0"/>
            </a:rPr>
            <a:t>Lernrate</a:t>
          </a:r>
          <a:endParaRPr lang="de-DE" sz="1000" b="0" i="0" kern="1200" dirty="0">
            <a:latin typeface="Myriad Pro" panose="020B0503030403020204" pitchFamily="34" charset="0"/>
          </a:endParaRPr>
        </a:p>
      </dsp:txBody>
      <dsp:txXfrm>
        <a:off x="2878018" y="2686626"/>
        <a:ext cx="937996" cy="285974"/>
      </dsp:txXfrm>
    </dsp:sp>
    <dsp:sp modelId="{43996E1E-6F52-4F8E-9F4B-77A56824C63C}">
      <dsp:nvSpPr>
        <dsp:cNvPr id="0" name=""/>
        <dsp:cNvSpPr/>
      </dsp:nvSpPr>
      <dsp:spPr>
        <a:xfrm>
          <a:off x="2878018" y="3044094"/>
          <a:ext cx="937996" cy="285974"/>
        </a:xfrm>
        <a:prstGeom prst="rect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000" b="0" i="0" kern="1200" dirty="0" err="1">
              <a:latin typeface="Myriad Pro" panose="020B0503030403020204" pitchFamily="34" charset="0"/>
            </a:rPr>
            <a:t>Augmentierung</a:t>
          </a:r>
          <a:endParaRPr lang="de-DE" sz="1000" b="0" i="0" kern="1200" dirty="0">
            <a:latin typeface="Myriad Pro" panose="020B0503030403020204" pitchFamily="34" charset="0"/>
          </a:endParaRPr>
        </a:p>
      </dsp:txBody>
      <dsp:txXfrm>
        <a:off x="2878018" y="3044094"/>
        <a:ext cx="937996" cy="285974"/>
      </dsp:txXfrm>
    </dsp:sp>
    <dsp:sp modelId="{6E154881-954A-429F-9BBE-E92EEB4B1011}">
      <dsp:nvSpPr>
        <dsp:cNvPr id="0" name=""/>
        <dsp:cNvSpPr/>
      </dsp:nvSpPr>
      <dsp:spPr>
        <a:xfrm>
          <a:off x="2878018" y="3401563"/>
          <a:ext cx="937996" cy="285974"/>
        </a:xfrm>
        <a:prstGeom prst="rect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000" b="0" i="0" kern="1200" dirty="0">
              <a:latin typeface="Myriad Pro" panose="020B0503030403020204" pitchFamily="34" charset="0"/>
            </a:rPr>
            <a:t>Loss-Funktion </a:t>
          </a:r>
        </a:p>
      </dsp:txBody>
      <dsp:txXfrm>
        <a:off x="2878018" y="3401563"/>
        <a:ext cx="937996" cy="285974"/>
      </dsp:txXfrm>
    </dsp:sp>
    <dsp:sp modelId="{E077FA3E-A654-4D27-8616-5CDDA43F8AF6}">
      <dsp:nvSpPr>
        <dsp:cNvPr id="0" name=""/>
        <dsp:cNvSpPr/>
      </dsp:nvSpPr>
      <dsp:spPr>
        <a:xfrm>
          <a:off x="1752422" y="3937765"/>
          <a:ext cx="937996" cy="285974"/>
        </a:xfrm>
        <a:prstGeom prst="rect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000" b="1" i="0" kern="1200" cap="none" baseline="0" dirty="0">
              <a:latin typeface="Myriad Pro" panose="020B0503030403020204" pitchFamily="34" charset="0"/>
            </a:rPr>
            <a:t>Multi-Netzwerk </a:t>
          </a:r>
          <a:endParaRPr lang="de-DE" sz="1000" b="0" i="0" kern="1200" dirty="0">
            <a:latin typeface="Myriad Pro" panose="020B0503030403020204" pitchFamily="34" charset="0"/>
          </a:endParaRPr>
        </a:p>
      </dsp:txBody>
      <dsp:txXfrm>
        <a:off x="1752422" y="3937765"/>
        <a:ext cx="937996" cy="285974"/>
      </dsp:txXfrm>
    </dsp:sp>
    <dsp:sp modelId="{768C7647-12EF-40E9-94EB-C1868C4AFE59}">
      <dsp:nvSpPr>
        <dsp:cNvPr id="0" name=""/>
        <dsp:cNvSpPr/>
      </dsp:nvSpPr>
      <dsp:spPr>
        <a:xfrm>
          <a:off x="2878018" y="3759031"/>
          <a:ext cx="937996" cy="285974"/>
        </a:xfrm>
        <a:prstGeom prst="rect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000" b="0" i="0" kern="1200" dirty="0">
              <a:latin typeface="Myriad Pro" panose="020B0503030403020204" pitchFamily="34" charset="0"/>
            </a:rPr>
            <a:t>U-Net</a:t>
          </a:r>
        </a:p>
      </dsp:txBody>
      <dsp:txXfrm>
        <a:off x="2878018" y="3759031"/>
        <a:ext cx="937996" cy="285974"/>
      </dsp:txXfrm>
    </dsp:sp>
    <dsp:sp modelId="{49B6876F-A108-4FF0-9A81-E34DBB9D0BD7}">
      <dsp:nvSpPr>
        <dsp:cNvPr id="0" name=""/>
        <dsp:cNvSpPr/>
      </dsp:nvSpPr>
      <dsp:spPr>
        <a:xfrm>
          <a:off x="2878018" y="4116499"/>
          <a:ext cx="937996" cy="285974"/>
        </a:xfrm>
        <a:prstGeom prst="rect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000" b="0" i="0" kern="1200" dirty="0">
              <a:latin typeface="Myriad Pro" panose="020B0503030403020204" pitchFamily="34" charset="0"/>
            </a:rPr>
            <a:t>YOLO</a:t>
          </a:r>
        </a:p>
      </dsp:txBody>
      <dsp:txXfrm>
        <a:off x="2878018" y="4116499"/>
        <a:ext cx="937996" cy="285974"/>
      </dsp:txXfrm>
    </dsp:sp>
    <dsp:sp modelId="{B3E59FB2-885F-4B71-9DC5-B6F45C8017DE}">
      <dsp:nvSpPr>
        <dsp:cNvPr id="0" name=""/>
        <dsp:cNvSpPr/>
      </dsp:nvSpPr>
      <dsp:spPr>
        <a:xfrm>
          <a:off x="1752422" y="4831436"/>
          <a:ext cx="937996" cy="285974"/>
        </a:xfrm>
        <a:prstGeom prst="rect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000" b="1" i="0" kern="1200" cap="none" baseline="0" dirty="0">
              <a:latin typeface="Myriad Pro" panose="020B0503030403020204" pitchFamily="34" charset="0"/>
            </a:rPr>
            <a:t>Ensembles </a:t>
          </a:r>
          <a:endParaRPr lang="de-DE" sz="1000" b="0" i="0" kern="1200" cap="none" baseline="0" dirty="0">
            <a:latin typeface="Myriad Pro" panose="020B0503030403020204" pitchFamily="34" charset="0"/>
          </a:endParaRPr>
        </a:p>
      </dsp:txBody>
      <dsp:txXfrm>
        <a:off x="1752422" y="4831436"/>
        <a:ext cx="937996" cy="285974"/>
      </dsp:txXfrm>
    </dsp:sp>
    <dsp:sp modelId="{9E81B654-57F3-4178-8807-AB7AAC7BE08E}">
      <dsp:nvSpPr>
        <dsp:cNvPr id="0" name=""/>
        <dsp:cNvSpPr/>
      </dsp:nvSpPr>
      <dsp:spPr>
        <a:xfrm>
          <a:off x="2878018" y="4473967"/>
          <a:ext cx="937996" cy="285974"/>
        </a:xfrm>
        <a:prstGeom prst="rect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000" b="0" i="0" kern="1200" dirty="0">
              <a:latin typeface="Myriad Pro" panose="020B0503030403020204" pitchFamily="34" charset="0"/>
            </a:rPr>
            <a:t>Homogen</a:t>
          </a:r>
        </a:p>
      </dsp:txBody>
      <dsp:txXfrm>
        <a:off x="2878018" y="4473967"/>
        <a:ext cx="937996" cy="285974"/>
      </dsp:txXfrm>
    </dsp:sp>
    <dsp:sp modelId="{0CCC40AA-D80B-4B90-9188-E5CA017E63B0}">
      <dsp:nvSpPr>
        <dsp:cNvPr id="0" name=""/>
        <dsp:cNvSpPr/>
      </dsp:nvSpPr>
      <dsp:spPr>
        <a:xfrm>
          <a:off x="2878018" y="4831436"/>
          <a:ext cx="937996" cy="285974"/>
        </a:xfrm>
        <a:prstGeom prst="rect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000" b="0" i="0" kern="1200" dirty="0">
              <a:latin typeface="Myriad Pro" panose="020B0503030403020204" pitchFamily="34" charset="0"/>
            </a:rPr>
            <a:t>Heterogen</a:t>
          </a:r>
        </a:p>
      </dsp:txBody>
      <dsp:txXfrm>
        <a:off x="2878018" y="4831436"/>
        <a:ext cx="937996" cy="285974"/>
      </dsp:txXfrm>
    </dsp:sp>
    <dsp:sp modelId="{E51A201A-58C4-4839-BBF3-03A3D4BA1DE9}">
      <dsp:nvSpPr>
        <dsp:cNvPr id="0" name=""/>
        <dsp:cNvSpPr/>
      </dsp:nvSpPr>
      <dsp:spPr>
        <a:xfrm>
          <a:off x="2878018" y="5188904"/>
          <a:ext cx="937996" cy="285974"/>
        </a:xfrm>
        <a:prstGeom prst="rect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000" b="0" i="0" kern="1200" dirty="0" err="1">
              <a:latin typeface="Myriad Pro" panose="020B0503030403020204" pitchFamily="34" charset="0"/>
            </a:rPr>
            <a:t>Expizit</a:t>
          </a:r>
          <a:r>
            <a:rPr lang="de-DE" sz="1000" b="0" i="0" kern="1200" dirty="0">
              <a:latin typeface="Myriad Pro" panose="020B0503030403020204" pitchFamily="34" charset="0"/>
            </a:rPr>
            <a:t> </a:t>
          </a:r>
        </a:p>
      </dsp:txBody>
      <dsp:txXfrm>
        <a:off x="2878018" y="5188904"/>
        <a:ext cx="937996" cy="285974"/>
      </dsp:txXfrm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D37291B-5548-4F1B-8F2F-200AE5B0DCAE}">
      <dsp:nvSpPr>
        <dsp:cNvPr id="0" name=""/>
        <dsp:cNvSpPr/>
      </dsp:nvSpPr>
      <dsp:spPr>
        <a:xfrm>
          <a:off x="287092" y="1085850"/>
          <a:ext cx="178076" cy="588930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89038" y="0"/>
              </a:lnTo>
              <a:lnTo>
                <a:pt x="89038" y="588930"/>
              </a:lnTo>
              <a:lnTo>
                <a:pt x="178076" y="588930"/>
              </a:lnTo>
            </a:path>
          </a:pathLst>
        </a:custGeom>
        <a:noFill/>
        <a:ln w="12700" cap="flat" cmpd="sng" algn="ctr">
          <a:solidFill>
            <a:schemeClr val="accent4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500" kern="1200"/>
        </a:p>
      </dsp:txBody>
      <dsp:txXfrm>
        <a:off x="360748" y="1364934"/>
        <a:ext cx="30763" cy="30763"/>
      </dsp:txXfrm>
    </dsp:sp>
    <dsp:sp modelId="{BE328E0A-C287-4B1A-BD90-C0F3098FFCD9}">
      <dsp:nvSpPr>
        <dsp:cNvPr id="0" name=""/>
        <dsp:cNvSpPr/>
      </dsp:nvSpPr>
      <dsp:spPr>
        <a:xfrm>
          <a:off x="287092" y="486726"/>
          <a:ext cx="180190" cy="599124"/>
        </a:xfrm>
        <a:custGeom>
          <a:avLst/>
          <a:gdLst/>
          <a:ahLst/>
          <a:cxnLst/>
          <a:rect l="0" t="0" r="0" b="0"/>
          <a:pathLst>
            <a:path>
              <a:moveTo>
                <a:pt x="0" y="599124"/>
              </a:moveTo>
              <a:lnTo>
                <a:pt x="90095" y="599124"/>
              </a:lnTo>
              <a:lnTo>
                <a:pt x="90095" y="0"/>
              </a:lnTo>
              <a:lnTo>
                <a:pt x="180190" y="0"/>
              </a:lnTo>
            </a:path>
          </a:pathLst>
        </a:custGeom>
        <a:noFill/>
        <a:ln w="12700" cap="flat" cmpd="sng" algn="ctr">
          <a:solidFill>
            <a:schemeClr val="accent4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500" kern="1200"/>
        </a:p>
      </dsp:txBody>
      <dsp:txXfrm>
        <a:off x="361546" y="770647"/>
        <a:ext cx="31281" cy="31281"/>
      </dsp:txXfrm>
    </dsp:sp>
    <dsp:sp modelId="{DCF5B4EF-DE4F-4292-A3B2-724C163A44AB}">
      <dsp:nvSpPr>
        <dsp:cNvPr id="0" name=""/>
        <dsp:cNvSpPr/>
      </dsp:nvSpPr>
      <dsp:spPr>
        <a:xfrm rot="16200000">
          <a:off x="-610102" y="942600"/>
          <a:ext cx="1507890" cy="286499"/>
        </a:xfrm>
        <a:prstGeom prst="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400" b="0" i="0" kern="1200" dirty="0">
              <a:latin typeface="Myriad Pro" panose="020B0503030403020204" pitchFamily="34" charset="0"/>
            </a:rPr>
            <a:t>Eingabebild </a:t>
          </a:r>
        </a:p>
      </dsp:txBody>
      <dsp:txXfrm>
        <a:off x="-610102" y="942600"/>
        <a:ext cx="1507890" cy="286499"/>
      </dsp:txXfrm>
    </dsp:sp>
    <dsp:sp modelId="{49ADAAAB-354D-4968-9DE9-378E6595E5BB}">
      <dsp:nvSpPr>
        <dsp:cNvPr id="0" name=""/>
        <dsp:cNvSpPr/>
      </dsp:nvSpPr>
      <dsp:spPr>
        <a:xfrm>
          <a:off x="467283" y="343476"/>
          <a:ext cx="939717" cy="286499"/>
        </a:xfrm>
        <a:prstGeom prst="rect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000" b="0" i="0" kern="1200" cap="none" baseline="0" dirty="0" err="1">
              <a:latin typeface="Myriad Pro" panose="020B0503030403020204" pitchFamily="34" charset="0"/>
            </a:rPr>
            <a:t>Supervised</a:t>
          </a:r>
          <a:endParaRPr lang="de-DE" sz="1000" b="0" i="0" kern="1200" cap="none" baseline="0" dirty="0">
            <a:latin typeface="Myriad Pro" panose="020B0503030403020204" pitchFamily="34" charset="0"/>
          </a:endParaRPr>
        </a:p>
      </dsp:txBody>
      <dsp:txXfrm>
        <a:off x="467283" y="343476"/>
        <a:ext cx="939717" cy="286499"/>
      </dsp:txXfrm>
    </dsp:sp>
    <dsp:sp modelId="{E077FA3E-A654-4D27-8616-5CDDA43F8AF6}">
      <dsp:nvSpPr>
        <dsp:cNvPr id="0" name=""/>
        <dsp:cNvSpPr/>
      </dsp:nvSpPr>
      <dsp:spPr>
        <a:xfrm>
          <a:off x="465168" y="1531531"/>
          <a:ext cx="939717" cy="286499"/>
        </a:xfrm>
        <a:prstGeom prst="rect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000" b="0" i="0" kern="1200" dirty="0" err="1">
              <a:latin typeface="Myriad Pro" panose="020B0503030403020204" pitchFamily="34" charset="0"/>
            </a:rPr>
            <a:t>Unsupervised</a:t>
          </a:r>
          <a:endParaRPr lang="de-DE" sz="1000" b="0" i="0" kern="1200" dirty="0">
            <a:latin typeface="Myriad Pro" panose="020B0503030403020204" pitchFamily="34" charset="0"/>
          </a:endParaRPr>
        </a:p>
      </dsp:txBody>
      <dsp:txXfrm>
        <a:off x="465168" y="1531531"/>
        <a:ext cx="939717" cy="286499"/>
      </dsp:txXfrm>
    </dsp:sp>
  </dsp:spTree>
</dsp:drawing>
</file>

<file path=ppt/diagrams/drawing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9C34007-6CA8-4ABF-890A-47AA50B267EA}">
      <dsp:nvSpPr>
        <dsp:cNvPr id="0" name=""/>
        <dsp:cNvSpPr/>
      </dsp:nvSpPr>
      <dsp:spPr>
        <a:xfrm>
          <a:off x="2690418" y="4974423"/>
          <a:ext cx="187599" cy="35746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93799" y="0"/>
              </a:lnTo>
              <a:lnTo>
                <a:pt x="93799" y="357468"/>
              </a:lnTo>
              <a:lnTo>
                <a:pt x="187599" y="357468"/>
              </a:lnTo>
            </a:path>
          </a:pathLst>
        </a:custGeom>
        <a:noFill/>
        <a:ln w="127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e-DE" sz="500" kern="1200"/>
        </a:p>
      </dsp:txBody>
      <dsp:txXfrm>
        <a:off x="2774125" y="5143064"/>
        <a:ext cx="20185" cy="20185"/>
      </dsp:txXfrm>
    </dsp:sp>
    <dsp:sp modelId="{1CD57466-73E5-43BB-AF51-980153E8039A}">
      <dsp:nvSpPr>
        <dsp:cNvPr id="0" name=""/>
        <dsp:cNvSpPr/>
      </dsp:nvSpPr>
      <dsp:spPr>
        <a:xfrm>
          <a:off x="2690418" y="4928703"/>
          <a:ext cx="187599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187599" y="45720"/>
              </a:lnTo>
            </a:path>
          </a:pathLst>
        </a:custGeom>
        <a:noFill/>
        <a:ln w="127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500" kern="1200"/>
        </a:p>
      </dsp:txBody>
      <dsp:txXfrm>
        <a:off x="2779528" y="4969733"/>
        <a:ext cx="9379" cy="9379"/>
      </dsp:txXfrm>
    </dsp:sp>
    <dsp:sp modelId="{60A0F5E7-D1D3-49F8-A254-CFFCBE54AAF0}">
      <dsp:nvSpPr>
        <dsp:cNvPr id="0" name=""/>
        <dsp:cNvSpPr/>
      </dsp:nvSpPr>
      <dsp:spPr>
        <a:xfrm>
          <a:off x="2690418" y="4616955"/>
          <a:ext cx="187599" cy="357468"/>
        </a:xfrm>
        <a:custGeom>
          <a:avLst/>
          <a:gdLst/>
          <a:ahLst/>
          <a:cxnLst/>
          <a:rect l="0" t="0" r="0" b="0"/>
          <a:pathLst>
            <a:path>
              <a:moveTo>
                <a:pt x="0" y="357468"/>
              </a:moveTo>
              <a:lnTo>
                <a:pt x="93799" y="357468"/>
              </a:lnTo>
              <a:lnTo>
                <a:pt x="93799" y="0"/>
              </a:lnTo>
              <a:lnTo>
                <a:pt x="187599" y="0"/>
              </a:lnTo>
            </a:path>
          </a:pathLst>
        </a:custGeom>
        <a:noFill/>
        <a:ln w="127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500" kern="1200"/>
        </a:p>
      </dsp:txBody>
      <dsp:txXfrm>
        <a:off x="2774125" y="4785596"/>
        <a:ext cx="20185" cy="20185"/>
      </dsp:txXfrm>
    </dsp:sp>
    <dsp:sp modelId="{C4365B06-B9DB-4064-B93F-1043BD4B58B2}">
      <dsp:nvSpPr>
        <dsp:cNvPr id="0" name=""/>
        <dsp:cNvSpPr/>
      </dsp:nvSpPr>
      <dsp:spPr>
        <a:xfrm>
          <a:off x="1564822" y="3589234"/>
          <a:ext cx="187599" cy="138518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93799" y="0"/>
              </a:lnTo>
              <a:lnTo>
                <a:pt x="93799" y="1385189"/>
              </a:lnTo>
              <a:lnTo>
                <a:pt x="187599" y="1385189"/>
              </a:lnTo>
            </a:path>
          </a:pathLst>
        </a:custGeom>
        <a:noFill/>
        <a:ln w="12700" cap="flat" cmpd="sng" algn="ctr">
          <a:solidFill>
            <a:schemeClr val="accent4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500" kern="1200"/>
        </a:p>
      </dsp:txBody>
      <dsp:txXfrm>
        <a:off x="1623676" y="4246882"/>
        <a:ext cx="69891" cy="69891"/>
      </dsp:txXfrm>
    </dsp:sp>
    <dsp:sp modelId="{313DC26C-06DB-4098-B605-33485EFC9B29}">
      <dsp:nvSpPr>
        <dsp:cNvPr id="0" name=""/>
        <dsp:cNvSpPr/>
      </dsp:nvSpPr>
      <dsp:spPr>
        <a:xfrm>
          <a:off x="2690418" y="4080752"/>
          <a:ext cx="187599" cy="178734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93799" y="0"/>
              </a:lnTo>
              <a:lnTo>
                <a:pt x="93799" y="178734"/>
              </a:lnTo>
              <a:lnTo>
                <a:pt x="187599" y="178734"/>
              </a:lnTo>
            </a:path>
          </a:pathLst>
        </a:custGeom>
        <a:noFill/>
        <a:ln w="127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500" kern="1200"/>
        </a:p>
      </dsp:txBody>
      <dsp:txXfrm>
        <a:off x="2777740" y="4163642"/>
        <a:ext cx="12955" cy="12955"/>
      </dsp:txXfrm>
    </dsp:sp>
    <dsp:sp modelId="{037062E2-BE96-4A8B-9D2F-1FA0857207C1}">
      <dsp:nvSpPr>
        <dsp:cNvPr id="0" name=""/>
        <dsp:cNvSpPr/>
      </dsp:nvSpPr>
      <dsp:spPr>
        <a:xfrm>
          <a:off x="2690418" y="3902018"/>
          <a:ext cx="187599" cy="178734"/>
        </a:xfrm>
        <a:custGeom>
          <a:avLst/>
          <a:gdLst/>
          <a:ahLst/>
          <a:cxnLst/>
          <a:rect l="0" t="0" r="0" b="0"/>
          <a:pathLst>
            <a:path>
              <a:moveTo>
                <a:pt x="0" y="178734"/>
              </a:moveTo>
              <a:lnTo>
                <a:pt x="93799" y="178734"/>
              </a:lnTo>
              <a:lnTo>
                <a:pt x="93799" y="0"/>
              </a:lnTo>
              <a:lnTo>
                <a:pt x="187599" y="0"/>
              </a:lnTo>
            </a:path>
          </a:pathLst>
        </a:custGeom>
        <a:noFill/>
        <a:ln w="127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500" kern="1200"/>
        </a:p>
      </dsp:txBody>
      <dsp:txXfrm>
        <a:off x="2777740" y="3984907"/>
        <a:ext cx="12955" cy="12955"/>
      </dsp:txXfrm>
    </dsp:sp>
    <dsp:sp modelId="{CD37291B-5548-4F1B-8F2F-200AE5B0DCAE}">
      <dsp:nvSpPr>
        <dsp:cNvPr id="0" name=""/>
        <dsp:cNvSpPr/>
      </dsp:nvSpPr>
      <dsp:spPr>
        <a:xfrm>
          <a:off x="1564822" y="3589234"/>
          <a:ext cx="187599" cy="49151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93799" y="0"/>
              </a:lnTo>
              <a:lnTo>
                <a:pt x="93799" y="491518"/>
              </a:lnTo>
              <a:lnTo>
                <a:pt x="187599" y="491518"/>
              </a:lnTo>
            </a:path>
          </a:pathLst>
        </a:custGeom>
        <a:noFill/>
        <a:ln w="12700" cap="flat" cmpd="sng" algn="ctr">
          <a:solidFill>
            <a:schemeClr val="accent4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500" kern="1200"/>
        </a:p>
      </dsp:txBody>
      <dsp:txXfrm>
        <a:off x="1645469" y="3821840"/>
        <a:ext cx="26305" cy="26305"/>
      </dsp:txXfrm>
    </dsp:sp>
    <dsp:sp modelId="{690E36EE-5895-4B91-A347-3380A5FE5255}">
      <dsp:nvSpPr>
        <dsp:cNvPr id="0" name=""/>
        <dsp:cNvSpPr/>
      </dsp:nvSpPr>
      <dsp:spPr>
        <a:xfrm>
          <a:off x="2690418" y="2204044"/>
          <a:ext cx="187599" cy="1340505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93799" y="0"/>
              </a:lnTo>
              <a:lnTo>
                <a:pt x="93799" y="1340505"/>
              </a:lnTo>
              <a:lnTo>
                <a:pt x="187599" y="1340505"/>
              </a:lnTo>
            </a:path>
          </a:pathLst>
        </a:custGeom>
        <a:noFill/>
        <a:ln w="127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e-DE" sz="500" kern="1200"/>
        </a:p>
      </dsp:txBody>
      <dsp:txXfrm>
        <a:off x="2750379" y="2840458"/>
        <a:ext cx="67678" cy="67678"/>
      </dsp:txXfrm>
    </dsp:sp>
    <dsp:sp modelId="{460E764F-BDF5-4D22-9B4D-16DC71F64CAC}">
      <dsp:nvSpPr>
        <dsp:cNvPr id="0" name=""/>
        <dsp:cNvSpPr/>
      </dsp:nvSpPr>
      <dsp:spPr>
        <a:xfrm>
          <a:off x="2690418" y="2204044"/>
          <a:ext cx="187599" cy="98303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93799" y="0"/>
              </a:lnTo>
              <a:lnTo>
                <a:pt x="93799" y="983037"/>
              </a:lnTo>
              <a:lnTo>
                <a:pt x="187599" y="983037"/>
              </a:lnTo>
            </a:path>
          </a:pathLst>
        </a:custGeom>
        <a:noFill/>
        <a:ln w="127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e-DE" sz="500" kern="1200"/>
        </a:p>
      </dsp:txBody>
      <dsp:txXfrm>
        <a:off x="2759199" y="2670544"/>
        <a:ext cx="50038" cy="50038"/>
      </dsp:txXfrm>
    </dsp:sp>
    <dsp:sp modelId="{A4E05C94-2209-4BF4-B627-606397BBC1C5}">
      <dsp:nvSpPr>
        <dsp:cNvPr id="0" name=""/>
        <dsp:cNvSpPr/>
      </dsp:nvSpPr>
      <dsp:spPr>
        <a:xfrm>
          <a:off x="2690418" y="2204044"/>
          <a:ext cx="187599" cy="62556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93799" y="0"/>
              </a:lnTo>
              <a:lnTo>
                <a:pt x="93799" y="625569"/>
              </a:lnTo>
              <a:lnTo>
                <a:pt x="187599" y="625569"/>
              </a:lnTo>
            </a:path>
          </a:pathLst>
        </a:custGeom>
        <a:noFill/>
        <a:ln w="127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e-DE" sz="500" kern="1200"/>
        </a:p>
      </dsp:txBody>
      <dsp:txXfrm>
        <a:off x="2767891" y="2500502"/>
        <a:ext cx="32654" cy="32654"/>
      </dsp:txXfrm>
    </dsp:sp>
    <dsp:sp modelId="{329CD9E0-9945-40C9-89A5-5929AA1A3A82}">
      <dsp:nvSpPr>
        <dsp:cNvPr id="0" name=""/>
        <dsp:cNvSpPr/>
      </dsp:nvSpPr>
      <dsp:spPr>
        <a:xfrm>
          <a:off x="3816014" y="2472145"/>
          <a:ext cx="187599" cy="536202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93799" y="0"/>
              </a:lnTo>
              <a:lnTo>
                <a:pt x="93799" y="536202"/>
              </a:lnTo>
              <a:lnTo>
                <a:pt x="187599" y="536202"/>
              </a:lnTo>
            </a:path>
          </a:pathLst>
        </a:custGeom>
        <a:noFill/>
        <a:ln w="12700" cap="flat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e-DE" sz="500" kern="1200"/>
        </a:p>
      </dsp:txBody>
      <dsp:txXfrm>
        <a:off x="3895612" y="2726045"/>
        <a:ext cx="28403" cy="28403"/>
      </dsp:txXfrm>
    </dsp:sp>
    <dsp:sp modelId="{9458E52A-38CE-4EE6-A620-F703970B8164}">
      <dsp:nvSpPr>
        <dsp:cNvPr id="0" name=""/>
        <dsp:cNvSpPr/>
      </dsp:nvSpPr>
      <dsp:spPr>
        <a:xfrm>
          <a:off x="3816014" y="2472145"/>
          <a:ext cx="187599" cy="178734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93799" y="0"/>
              </a:lnTo>
              <a:lnTo>
                <a:pt x="93799" y="178734"/>
              </a:lnTo>
              <a:lnTo>
                <a:pt x="187599" y="178734"/>
              </a:lnTo>
            </a:path>
          </a:pathLst>
        </a:custGeom>
        <a:noFill/>
        <a:ln w="12700" cap="flat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e-DE" sz="500" kern="1200"/>
        </a:p>
      </dsp:txBody>
      <dsp:txXfrm>
        <a:off x="3903336" y="2555035"/>
        <a:ext cx="12955" cy="12955"/>
      </dsp:txXfrm>
    </dsp:sp>
    <dsp:sp modelId="{2B4072C3-2623-4EA4-94B7-025A9DCD72E9}">
      <dsp:nvSpPr>
        <dsp:cNvPr id="0" name=""/>
        <dsp:cNvSpPr/>
      </dsp:nvSpPr>
      <dsp:spPr>
        <a:xfrm>
          <a:off x="3816014" y="2293411"/>
          <a:ext cx="187599" cy="178734"/>
        </a:xfrm>
        <a:custGeom>
          <a:avLst/>
          <a:gdLst/>
          <a:ahLst/>
          <a:cxnLst/>
          <a:rect l="0" t="0" r="0" b="0"/>
          <a:pathLst>
            <a:path>
              <a:moveTo>
                <a:pt x="0" y="178734"/>
              </a:moveTo>
              <a:lnTo>
                <a:pt x="93799" y="178734"/>
              </a:lnTo>
              <a:lnTo>
                <a:pt x="93799" y="0"/>
              </a:lnTo>
              <a:lnTo>
                <a:pt x="187599" y="0"/>
              </a:lnTo>
            </a:path>
          </a:pathLst>
        </a:custGeom>
        <a:noFill/>
        <a:ln w="12700" cap="flat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e-DE" sz="500" kern="1200"/>
        </a:p>
      </dsp:txBody>
      <dsp:txXfrm>
        <a:off x="3903336" y="2376300"/>
        <a:ext cx="12955" cy="12955"/>
      </dsp:txXfrm>
    </dsp:sp>
    <dsp:sp modelId="{7F2C676C-E906-4B26-892E-C728B9239429}">
      <dsp:nvSpPr>
        <dsp:cNvPr id="0" name=""/>
        <dsp:cNvSpPr/>
      </dsp:nvSpPr>
      <dsp:spPr>
        <a:xfrm>
          <a:off x="3816014" y="1935943"/>
          <a:ext cx="187599" cy="536202"/>
        </a:xfrm>
        <a:custGeom>
          <a:avLst/>
          <a:gdLst/>
          <a:ahLst/>
          <a:cxnLst/>
          <a:rect l="0" t="0" r="0" b="0"/>
          <a:pathLst>
            <a:path>
              <a:moveTo>
                <a:pt x="0" y="536202"/>
              </a:moveTo>
              <a:lnTo>
                <a:pt x="93799" y="536202"/>
              </a:lnTo>
              <a:lnTo>
                <a:pt x="93799" y="0"/>
              </a:lnTo>
              <a:lnTo>
                <a:pt x="187599" y="0"/>
              </a:lnTo>
            </a:path>
          </a:pathLst>
        </a:custGeom>
        <a:noFill/>
        <a:ln w="12700" cap="flat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e-DE" sz="500" kern="1200"/>
        </a:p>
      </dsp:txBody>
      <dsp:txXfrm>
        <a:off x="3895612" y="2189842"/>
        <a:ext cx="28403" cy="28403"/>
      </dsp:txXfrm>
    </dsp:sp>
    <dsp:sp modelId="{5BC2DE1D-C4D7-4BFC-A0C1-3D282DC024CD}">
      <dsp:nvSpPr>
        <dsp:cNvPr id="0" name=""/>
        <dsp:cNvSpPr/>
      </dsp:nvSpPr>
      <dsp:spPr>
        <a:xfrm>
          <a:off x="2690418" y="2204044"/>
          <a:ext cx="187599" cy="268101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93799" y="0"/>
              </a:lnTo>
              <a:lnTo>
                <a:pt x="93799" y="268101"/>
              </a:lnTo>
              <a:lnTo>
                <a:pt x="187599" y="268101"/>
              </a:lnTo>
            </a:path>
          </a:pathLst>
        </a:custGeom>
        <a:noFill/>
        <a:ln w="127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e-DE" sz="500" kern="1200"/>
        </a:p>
      </dsp:txBody>
      <dsp:txXfrm>
        <a:off x="2776038" y="2329914"/>
        <a:ext cx="16360" cy="16360"/>
      </dsp:txXfrm>
    </dsp:sp>
    <dsp:sp modelId="{FAF45787-F807-4BB6-923D-0C0E2CD8C149}">
      <dsp:nvSpPr>
        <dsp:cNvPr id="0" name=""/>
        <dsp:cNvSpPr/>
      </dsp:nvSpPr>
      <dsp:spPr>
        <a:xfrm>
          <a:off x="3816014" y="863538"/>
          <a:ext cx="187599" cy="71493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93799" y="0"/>
              </a:lnTo>
              <a:lnTo>
                <a:pt x="93799" y="714936"/>
              </a:lnTo>
              <a:lnTo>
                <a:pt x="187599" y="714936"/>
              </a:lnTo>
            </a:path>
          </a:pathLst>
        </a:custGeom>
        <a:noFill/>
        <a:ln w="12700" cap="flat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e-DE" sz="500" kern="1200"/>
        </a:p>
      </dsp:txBody>
      <dsp:txXfrm>
        <a:off x="3891335" y="1202528"/>
        <a:ext cx="36956" cy="36956"/>
      </dsp:txXfrm>
    </dsp:sp>
    <dsp:sp modelId="{C5F46441-018D-4AD0-9984-278FB6B3653F}">
      <dsp:nvSpPr>
        <dsp:cNvPr id="0" name=""/>
        <dsp:cNvSpPr/>
      </dsp:nvSpPr>
      <dsp:spPr>
        <a:xfrm>
          <a:off x="3816014" y="863538"/>
          <a:ext cx="187599" cy="35746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93799" y="0"/>
              </a:lnTo>
              <a:lnTo>
                <a:pt x="93799" y="357468"/>
              </a:lnTo>
              <a:lnTo>
                <a:pt x="187599" y="357468"/>
              </a:lnTo>
            </a:path>
          </a:pathLst>
        </a:custGeom>
        <a:noFill/>
        <a:ln w="12700" cap="flat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e-DE" sz="500" kern="1200"/>
        </a:p>
      </dsp:txBody>
      <dsp:txXfrm>
        <a:off x="3899721" y="1032180"/>
        <a:ext cx="20185" cy="20185"/>
      </dsp:txXfrm>
    </dsp:sp>
    <dsp:sp modelId="{709C936E-7E65-4B5A-AC40-4548A25152AC}">
      <dsp:nvSpPr>
        <dsp:cNvPr id="0" name=""/>
        <dsp:cNvSpPr/>
      </dsp:nvSpPr>
      <dsp:spPr>
        <a:xfrm>
          <a:off x="3816014" y="817818"/>
          <a:ext cx="187599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187599" y="45720"/>
              </a:lnTo>
            </a:path>
          </a:pathLst>
        </a:custGeom>
        <a:noFill/>
        <a:ln w="12700" cap="flat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e-DE" sz="500" kern="1200"/>
        </a:p>
      </dsp:txBody>
      <dsp:txXfrm>
        <a:off x="3905124" y="858848"/>
        <a:ext cx="9379" cy="9379"/>
      </dsp:txXfrm>
    </dsp:sp>
    <dsp:sp modelId="{8F0AA0AA-EF8D-43DE-82C5-2D7BFD08315F}">
      <dsp:nvSpPr>
        <dsp:cNvPr id="0" name=""/>
        <dsp:cNvSpPr/>
      </dsp:nvSpPr>
      <dsp:spPr>
        <a:xfrm>
          <a:off x="3816014" y="506070"/>
          <a:ext cx="187599" cy="357468"/>
        </a:xfrm>
        <a:custGeom>
          <a:avLst/>
          <a:gdLst/>
          <a:ahLst/>
          <a:cxnLst/>
          <a:rect l="0" t="0" r="0" b="0"/>
          <a:pathLst>
            <a:path>
              <a:moveTo>
                <a:pt x="0" y="357468"/>
              </a:moveTo>
              <a:lnTo>
                <a:pt x="93799" y="357468"/>
              </a:lnTo>
              <a:lnTo>
                <a:pt x="93799" y="0"/>
              </a:lnTo>
              <a:lnTo>
                <a:pt x="187599" y="0"/>
              </a:lnTo>
            </a:path>
          </a:pathLst>
        </a:custGeom>
        <a:noFill/>
        <a:ln w="12700" cap="flat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e-DE" sz="500" kern="1200"/>
        </a:p>
      </dsp:txBody>
      <dsp:txXfrm>
        <a:off x="3899721" y="674712"/>
        <a:ext cx="20185" cy="20185"/>
      </dsp:txXfrm>
    </dsp:sp>
    <dsp:sp modelId="{6D05A90F-5A8D-42F9-A2CB-82F28C0FF2BC}">
      <dsp:nvSpPr>
        <dsp:cNvPr id="0" name=""/>
        <dsp:cNvSpPr/>
      </dsp:nvSpPr>
      <dsp:spPr>
        <a:xfrm>
          <a:off x="3816014" y="148602"/>
          <a:ext cx="187599" cy="714936"/>
        </a:xfrm>
        <a:custGeom>
          <a:avLst/>
          <a:gdLst/>
          <a:ahLst/>
          <a:cxnLst/>
          <a:rect l="0" t="0" r="0" b="0"/>
          <a:pathLst>
            <a:path>
              <a:moveTo>
                <a:pt x="0" y="714936"/>
              </a:moveTo>
              <a:lnTo>
                <a:pt x="93799" y="714936"/>
              </a:lnTo>
              <a:lnTo>
                <a:pt x="93799" y="0"/>
              </a:lnTo>
              <a:lnTo>
                <a:pt x="187599" y="0"/>
              </a:lnTo>
            </a:path>
          </a:pathLst>
        </a:custGeom>
        <a:noFill/>
        <a:ln w="12700" cap="flat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e-DE" sz="500" kern="1200"/>
        </a:p>
      </dsp:txBody>
      <dsp:txXfrm>
        <a:off x="3891335" y="487592"/>
        <a:ext cx="36956" cy="36956"/>
      </dsp:txXfrm>
    </dsp:sp>
    <dsp:sp modelId="{A00DE1AA-92DF-4607-98DB-1C3BB048DCF5}">
      <dsp:nvSpPr>
        <dsp:cNvPr id="0" name=""/>
        <dsp:cNvSpPr/>
      </dsp:nvSpPr>
      <dsp:spPr>
        <a:xfrm>
          <a:off x="2690418" y="863538"/>
          <a:ext cx="187599" cy="1340505"/>
        </a:xfrm>
        <a:custGeom>
          <a:avLst/>
          <a:gdLst/>
          <a:ahLst/>
          <a:cxnLst/>
          <a:rect l="0" t="0" r="0" b="0"/>
          <a:pathLst>
            <a:path>
              <a:moveTo>
                <a:pt x="0" y="1340505"/>
              </a:moveTo>
              <a:lnTo>
                <a:pt x="93799" y="1340505"/>
              </a:lnTo>
              <a:lnTo>
                <a:pt x="93799" y="0"/>
              </a:lnTo>
              <a:lnTo>
                <a:pt x="187599" y="0"/>
              </a:lnTo>
            </a:path>
          </a:pathLst>
        </a:custGeom>
        <a:noFill/>
        <a:ln w="127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e-DE" sz="500" kern="1200"/>
        </a:p>
      </dsp:txBody>
      <dsp:txXfrm>
        <a:off x="2750379" y="1499952"/>
        <a:ext cx="67678" cy="67678"/>
      </dsp:txXfrm>
    </dsp:sp>
    <dsp:sp modelId="{BE328E0A-C287-4B1A-BD90-C0F3098FFCD9}">
      <dsp:nvSpPr>
        <dsp:cNvPr id="0" name=""/>
        <dsp:cNvSpPr/>
      </dsp:nvSpPr>
      <dsp:spPr>
        <a:xfrm>
          <a:off x="1564822" y="2204044"/>
          <a:ext cx="187599" cy="1385189"/>
        </a:xfrm>
        <a:custGeom>
          <a:avLst/>
          <a:gdLst/>
          <a:ahLst/>
          <a:cxnLst/>
          <a:rect l="0" t="0" r="0" b="0"/>
          <a:pathLst>
            <a:path>
              <a:moveTo>
                <a:pt x="0" y="1385189"/>
              </a:moveTo>
              <a:lnTo>
                <a:pt x="93799" y="1385189"/>
              </a:lnTo>
              <a:lnTo>
                <a:pt x="93799" y="0"/>
              </a:lnTo>
              <a:lnTo>
                <a:pt x="187599" y="0"/>
              </a:lnTo>
            </a:path>
          </a:pathLst>
        </a:custGeom>
        <a:noFill/>
        <a:ln w="12700" cap="flat" cmpd="sng" algn="ctr">
          <a:solidFill>
            <a:schemeClr val="accent4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500" kern="1200"/>
        </a:p>
      </dsp:txBody>
      <dsp:txXfrm>
        <a:off x="1623676" y="2861693"/>
        <a:ext cx="69891" cy="69891"/>
      </dsp:txXfrm>
    </dsp:sp>
    <dsp:sp modelId="{DCF5B4EF-DE4F-4292-A3B2-724C163A44AB}">
      <dsp:nvSpPr>
        <dsp:cNvPr id="0" name=""/>
        <dsp:cNvSpPr/>
      </dsp:nvSpPr>
      <dsp:spPr>
        <a:xfrm rot="16200000">
          <a:off x="669270" y="3446246"/>
          <a:ext cx="1505129" cy="285974"/>
        </a:xfrm>
        <a:prstGeom prst="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400" b="0" i="0" kern="1200" dirty="0">
              <a:latin typeface="Myriad Pro" panose="020B0503030403020204" pitchFamily="34" charset="0"/>
            </a:rPr>
            <a:t>Eingabebild </a:t>
          </a:r>
        </a:p>
      </dsp:txBody>
      <dsp:txXfrm>
        <a:off x="669270" y="3446246"/>
        <a:ext cx="1505129" cy="285974"/>
      </dsp:txXfrm>
    </dsp:sp>
    <dsp:sp modelId="{49ADAAAB-354D-4968-9DE9-378E6595E5BB}">
      <dsp:nvSpPr>
        <dsp:cNvPr id="0" name=""/>
        <dsp:cNvSpPr/>
      </dsp:nvSpPr>
      <dsp:spPr>
        <a:xfrm>
          <a:off x="1752422" y="2061057"/>
          <a:ext cx="937996" cy="285974"/>
        </a:xfrm>
        <a:prstGeom prst="rect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000" b="1" i="0" kern="1200" cap="none" baseline="0" dirty="0">
              <a:latin typeface="Myriad Pro" panose="020B0503030403020204" pitchFamily="34" charset="0"/>
            </a:rPr>
            <a:t>Einzel Netzwerk</a:t>
          </a:r>
          <a:endParaRPr lang="de-DE" sz="1000" b="0" i="0" kern="1200" cap="none" baseline="0" dirty="0">
            <a:latin typeface="Myriad Pro" panose="020B0503030403020204" pitchFamily="34" charset="0"/>
          </a:endParaRPr>
        </a:p>
      </dsp:txBody>
      <dsp:txXfrm>
        <a:off x="1752422" y="2061057"/>
        <a:ext cx="937996" cy="285974"/>
      </dsp:txXfrm>
    </dsp:sp>
    <dsp:sp modelId="{F9F18759-F577-4686-9C34-EB964D732C77}">
      <dsp:nvSpPr>
        <dsp:cNvPr id="0" name=""/>
        <dsp:cNvSpPr/>
      </dsp:nvSpPr>
      <dsp:spPr>
        <a:xfrm>
          <a:off x="2878018" y="720551"/>
          <a:ext cx="937996" cy="285974"/>
        </a:xfrm>
        <a:prstGeom prst="rect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000" b="0" i="0" kern="1200" dirty="0">
              <a:latin typeface="Myriad Pro" panose="020B0503030403020204" pitchFamily="34" charset="0"/>
            </a:rPr>
            <a:t>Architektur</a:t>
          </a:r>
        </a:p>
      </dsp:txBody>
      <dsp:txXfrm>
        <a:off x="2878018" y="720551"/>
        <a:ext cx="937996" cy="285974"/>
      </dsp:txXfrm>
    </dsp:sp>
    <dsp:sp modelId="{F8A94DA1-2081-4A8B-816C-A9F98C2853F5}">
      <dsp:nvSpPr>
        <dsp:cNvPr id="0" name=""/>
        <dsp:cNvSpPr/>
      </dsp:nvSpPr>
      <dsp:spPr>
        <a:xfrm>
          <a:off x="4003614" y="5615"/>
          <a:ext cx="937996" cy="285974"/>
        </a:xfrm>
        <a:prstGeom prst="rect">
          <a:avLst/>
        </a:prstGeom>
        <a:solidFill>
          <a:schemeClr val="accent6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080" tIns="5080" rIns="5080" bIns="508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800" b="0" i="0" kern="1200" dirty="0">
              <a:latin typeface="Myriad Pro" panose="020B0503030403020204" pitchFamily="34" charset="0"/>
            </a:rPr>
            <a:t>U-Net</a:t>
          </a:r>
        </a:p>
      </dsp:txBody>
      <dsp:txXfrm>
        <a:off x="4003614" y="5615"/>
        <a:ext cx="937996" cy="285974"/>
      </dsp:txXfrm>
    </dsp:sp>
    <dsp:sp modelId="{571B8373-7DFF-4282-8AA6-80F7CC7EA7C8}">
      <dsp:nvSpPr>
        <dsp:cNvPr id="0" name=""/>
        <dsp:cNvSpPr/>
      </dsp:nvSpPr>
      <dsp:spPr>
        <a:xfrm>
          <a:off x="4003614" y="363083"/>
          <a:ext cx="937996" cy="285974"/>
        </a:xfrm>
        <a:prstGeom prst="rect">
          <a:avLst/>
        </a:prstGeom>
        <a:solidFill>
          <a:schemeClr val="accent6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080" tIns="5080" rIns="5080" bIns="508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800" b="0" i="0" kern="1200" dirty="0">
              <a:latin typeface="Myriad Pro" panose="020B0503030403020204" pitchFamily="34" charset="0"/>
            </a:rPr>
            <a:t>U-Net++</a:t>
          </a:r>
        </a:p>
      </dsp:txBody>
      <dsp:txXfrm>
        <a:off x="4003614" y="363083"/>
        <a:ext cx="937996" cy="285974"/>
      </dsp:txXfrm>
    </dsp:sp>
    <dsp:sp modelId="{9E59A063-5821-4E2B-8FD8-3EBA8922B98E}">
      <dsp:nvSpPr>
        <dsp:cNvPr id="0" name=""/>
        <dsp:cNvSpPr/>
      </dsp:nvSpPr>
      <dsp:spPr>
        <a:xfrm>
          <a:off x="4003614" y="720551"/>
          <a:ext cx="937996" cy="285974"/>
        </a:xfrm>
        <a:prstGeom prst="rect">
          <a:avLst/>
        </a:prstGeom>
        <a:solidFill>
          <a:schemeClr val="accent6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080" tIns="5080" rIns="5080" bIns="508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800" b="0" i="0" kern="1200" dirty="0">
              <a:latin typeface="Myriad Pro" panose="020B0503030403020204" pitchFamily="34" charset="0"/>
            </a:rPr>
            <a:t>FPN</a:t>
          </a:r>
        </a:p>
      </dsp:txBody>
      <dsp:txXfrm>
        <a:off x="4003614" y="720551"/>
        <a:ext cx="937996" cy="285974"/>
      </dsp:txXfrm>
    </dsp:sp>
    <dsp:sp modelId="{E35C2840-DB93-493D-B275-166B0E0C4A9D}">
      <dsp:nvSpPr>
        <dsp:cNvPr id="0" name=""/>
        <dsp:cNvSpPr/>
      </dsp:nvSpPr>
      <dsp:spPr>
        <a:xfrm>
          <a:off x="4003614" y="1078019"/>
          <a:ext cx="937996" cy="285974"/>
        </a:xfrm>
        <a:prstGeom prst="rect">
          <a:avLst/>
        </a:prstGeom>
        <a:solidFill>
          <a:schemeClr val="accent6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080" tIns="5080" rIns="5080" bIns="508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800" b="0" i="0" kern="1200" dirty="0">
              <a:latin typeface="Myriad Pro" panose="020B0503030403020204" pitchFamily="34" charset="0"/>
            </a:rPr>
            <a:t>PSPN</a:t>
          </a:r>
        </a:p>
      </dsp:txBody>
      <dsp:txXfrm>
        <a:off x="4003614" y="1078019"/>
        <a:ext cx="937996" cy="285974"/>
      </dsp:txXfrm>
    </dsp:sp>
    <dsp:sp modelId="{8F47A465-73D6-48E5-83FD-F149301C3BBD}">
      <dsp:nvSpPr>
        <dsp:cNvPr id="0" name=""/>
        <dsp:cNvSpPr/>
      </dsp:nvSpPr>
      <dsp:spPr>
        <a:xfrm>
          <a:off x="4003614" y="1435487"/>
          <a:ext cx="937996" cy="285974"/>
        </a:xfrm>
        <a:prstGeom prst="rect">
          <a:avLst/>
        </a:prstGeom>
        <a:solidFill>
          <a:schemeClr val="accent6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080" tIns="5080" rIns="5080" bIns="508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800" b="0" i="0" kern="1200" dirty="0">
              <a:latin typeface="Myriad Pro" panose="020B0503030403020204" pitchFamily="34" charset="0"/>
            </a:rPr>
            <a:t>PAN</a:t>
          </a:r>
        </a:p>
      </dsp:txBody>
      <dsp:txXfrm>
        <a:off x="4003614" y="1435487"/>
        <a:ext cx="937996" cy="285974"/>
      </dsp:txXfrm>
    </dsp:sp>
    <dsp:sp modelId="{DC0B28EB-699E-45BB-87EC-30E574E72821}">
      <dsp:nvSpPr>
        <dsp:cNvPr id="0" name=""/>
        <dsp:cNvSpPr/>
      </dsp:nvSpPr>
      <dsp:spPr>
        <a:xfrm>
          <a:off x="2878018" y="2329158"/>
          <a:ext cx="937996" cy="285974"/>
        </a:xfrm>
        <a:prstGeom prst="rect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000" b="0" i="0" kern="1200" dirty="0">
              <a:latin typeface="Myriad Pro" panose="020B0503030403020204" pitchFamily="34" charset="0"/>
            </a:rPr>
            <a:t>Encoder</a:t>
          </a:r>
        </a:p>
      </dsp:txBody>
      <dsp:txXfrm>
        <a:off x="2878018" y="2329158"/>
        <a:ext cx="937996" cy="285974"/>
      </dsp:txXfrm>
    </dsp:sp>
    <dsp:sp modelId="{81473451-3FF3-474B-98FB-6869E5682468}">
      <dsp:nvSpPr>
        <dsp:cNvPr id="0" name=""/>
        <dsp:cNvSpPr/>
      </dsp:nvSpPr>
      <dsp:spPr>
        <a:xfrm>
          <a:off x="4003614" y="1792956"/>
          <a:ext cx="937996" cy="285974"/>
        </a:xfrm>
        <a:prstGeom prst="rect">
          <a:avLst/>
        </a:prstGeom>
        <a:solidFill>
          <a:schemeClr val="accent6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080" tIns="5080" rIns="5080" bIns="508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800" b="0" i="0" kern="1200" dirty="0">
              <a:latin typeface="Myriad Pro" panose="020B0503030403020204" pitchFamily="34" charset="0"/>
            </a:rPr>
            <a:t>Inception-V4</a:t>
          </a:r>
        </a:p>
      </dsp:txBody>
      <dsp:txXfrm>
        <a:off x="4003614" y="1792956"/>
        <a:ext cx="937996" cy="285974"/>
      </dsp:txXfrm>
    </dsp:sp>
    <dsp:sp modelId="{A732D3F1-1291-409E-9A7C-778CAE167F89}">
      <dsp:nvSpPr>
        <dsp:cNvPr id="0" name=""/>
        <dsp:cNvSpPr/>
      </dsp:nvSpPr>
      <dsp:spPr>
        <a:xfrm>
          <a:off x="4003614" y="2150424"/>
          <a:ext cx="937996" cy="285974"/>
        </a:xfrm>
        <a:prstGeom prst="rect">
          <a:avLst/>
        </a:prstGeom>
        <a:solidFill>
          <a:schemeClr val="accent6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080" tIns="5080" rIns="5080" bIns="508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800" b="0" i="0" kern="1200" dirty="0">
              <a:latin typeface="Myriad Pro" panose="020B0503030403020204" pitchFamily="34" charset="0"/>
            </a:rPr>
            <a:t>Inception-</a:t>
          </a:r>
          <a:r>
            <a:rPr lang="de-DE" sz="800" b="0" i="0" kern="1200" dirty="0" err="1">
              <a:latin typeface="Myriad Pro" panose="020B0503030403020204" pitchFamily="34" charset="0"/>
            </a:rPr>
            <a:t>ResNet</a:t>
          </a:r>
          <a:endParaRPr lang="de-DE" sz="800" b="0" i="0" kern="1200" dirty="0">
            <a:latin typeface="Myriad Pro" panose="020B0503030403020204" pitchFamily="34" charset="0"/>
          </a:endParaRPr>
        </a:p>
      </dsp:txBody>
      <dsp:txXfrm>
        <a:off x="4003614" y="2150424"/>
        <a:ext cx="937996" cy="285974"/>
      </dsp:txXfrm>
    </dsp:sp>
    <dsp:sp modelId="{42C465EB-33D9-4AD2-A33B-930C8E39ED41}">
      <dsp:nvSpPr>
        <dsp:cNvPr id="0" name=""/>
        <dsp:cNvSpPr/>
      </dsp:nvSpPr>
      <dsp:spPr>
        <a:xfrm>
          <a:off x="4003614" y="2507892"/>
          <a:ext cx="937996" cy="285974"/>
        </a:xfrm>
        <a:prstGeom prst="rect">
          <a:avLst/>
        </a:prstGeom>
        <a:solidFill>
          <a:schemeClr val="accent6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080" tIns="5080" rIns="5080" bIns="508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800" b="0" i="0" kern="1200" dirty="0" err="1">
              <a:latin typeface="Myriad Pro" panose="020B0503030403020204" pitchFamily="34" charset="0"/>
            </a:rPr>
            <a:t>ResNet</a:t>
          </a:r>
          <a:endParaRPr lang="de-DE" sz="800" b="0" i="0" kern="1200" dirty="0">
            <a:latin typeface="Myriad Pro" panose="020B0503030403020204" pitchFamily="34" charset="0"/>
          </a:endParaRPr>
        </a:p>
      </dsp:txBody>
      <dsp:txXfrm>
        <a:off x="4003614" y="2507892"/>
        <a:ext cx="937996" cy="285974"/>
      </dsp:txXfrm>
    </dsp:sp>
    <dsp:sp modelId="{84D7F889-3498-48D8-ADC3-14251347C81B}">
      <dsp:nvSpPr>
        <dsp:cNvPr id="0" name=""/>
        <dsp:cNvSpPr/>
      </dsp:nvSpPr>
      <dsp:spPr>
        <a:xfrm>
          <a:off x="4003614" y="2865360"/>
          <a:ext cx="937996" cy="285974"/>
        </a:xfrm>
        <a:prstGeom prst="rect">
          <a:avLst/>
        </a:prstGeom>
        <a:solidFill>
          <a:schemeClr val="accent6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080" tIns="5080" rIns="5080" bIns="508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800" b="0" i="0" kern="1200" dirty="0" err="1">
              <a:latin typeface="Myriad Pro" panose="020B0503030403020204" pitchFamily="34" charset="0"/>
            </a:rPr>
            <a:t>ResNext</a:t>
          </a:r>
          <a:endParaRPr lang="de-DE" sz="800" b="0" i="0" kern="1200" dirty="0">
            <a:latin typeface="Myriad Pro" panose="020B0503030403020204" pitchFamily="34" charset="0"/>
          </a:endParaRPr>
        </a:p>
      </dsp:txBody>
      <dsp:txXfrm>
        <a:off x="4003614" y="2865360"/>
        <a:ext cx="937996" cy="285974"/>
      </dsp:txXfrm>
    </dsp:sp>
    <dsp:sp modelId="{485D5E8B-1295-4B72-BF14-74B2BE7008EE}">
      <dsp:nvSpPr>
        <dsp:cNvPr id="0" name=""/>
        <dsp:cNvSpPr/>
      </dsp:nvSpPr>
      <dsp:spPr>
        <a:xfrm>
          <a:off x="2878018" y="2686626"/>
          <a:ext cx="937996" cy="285974"/>
        </a:xfrm>
        <a:prstGeom prst="rect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000" b="0" i="0" kern="1200" dirty="0" err="1">
              <a:latin typeface="Myriad Pro" panose="020B0503030403020204" pitchFamily="34" charset="0"/>
            </a:rPr>
            <a:t>Lernrate</a:t>
          </a:r>
          <a:endParaRPr lang="de-DE" sz="1000" b="0" i="0" kern="1200" dirty="0">
            <a:latin typeface="Myriad Pro" panose="020B0503030403020204" pitchFamily="34" charset="0"/>
          </a:endParaRPr>
        </a:p>
      </dsp:txBody>
      <dsp:txXfrm>
        <a:off x="2878018" y="2686626"/>
        <a:ext cx="937996" cy="285974"/>
      </dsp:txXfrm>
    </dsp:sp>
    <dsp:sp modelId="{43996E1E-6F52-4F8E-9F4B-77A56824C63C}">
      <dsp:nvSpPr>
        <dsp:cNvPr id="0" name=""/>
        <dsp:cNvSpPr/>
      </dsp:nvSpPr>
      <dsp:spPr>
        <a:xfrm>
          <a:off x="2878018" y="3044094"/>
          <a:ext cx="937996" cy="285974"/>
        </a:xfrm>
        <a:prstGeom prst="rect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000" b="0" i="0" kern="1200" dirty="0" err="1">
              <a:latin typeface="Myriad Pro" panose="020B0503030403020204" pitchFamily="34" charset="0"/>
            </a:rPr>
            <a:t>Augmentierung</a:t>
          </a:r>
          <a:endParaRPr lang="de-DE" sz="1000" b="0" i="0" kern="1200" dirty="0">
            <a:latin typeface="Myriad Pro" panose="020B0503030403020204" pitchFamily="34" charset="0"/>
          </a:endParaRPr>
        </a:p>
      </dsp:txBody>
      <dsp:txXfrm>
        <a:off x="2878018" y="3044094"/>
        <a:ext cx="937996" cy="285974"/>
      </dsp:txXfrm>
    </dsp:sp>
    <dsp:sp modelId="{6E154881-954A-429F-9BBE-E92EEB4B1011}">
      <dsp:nvSpPr>
        <dsp:cNvPr id="0" name=""/>
        <dsp:cNvSpPr/>
      </dsp:nvSpPr>
      <dsp:spPr>
        <a:xfrm>
          <a:off x="2878018" y="3401563"/>
          <a:ext cx="937996" cy="285974"/>
        </a:xfrm>
        <a:prstGeom prst="rect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000" b="0" i="0" kern="1200" dirty="0">
              <a:latin typeface="Myriad Pro" panose="020B0503030403020204" pitchFamily="34" charset="0"/>
            </a:rPr>
            <a:t>Loss-Funktion </a:t>
          </a:r>
        </a:p>
      </dsp:txBody>
      <dsp:txXfrm>
        <a:off x="2878018" y="3401563"/>
        <a:ext cx="937996" cy="285974"/>
      </dsp:txXfrm>
    </dsp:sp>
    <dsp:sp modelId="{E077FA3E-A654-4D27-8616-5CDDA43F8AF6}">
      <dsp:nvSpPr>
        <dsp:cNvPr id="0" name=""/>
        <dsp:cNvSpPr/>
      </dsp:nvSpPr>
      <dsp:spPr>
        <a:xfrm>
          <a:off x="1752422" y="3937765"/>
          <a:ext cx="937996" cy="285974"/>
        </a:xfrm>
        <a:prstGeom prst="rect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000" b="1" i="0" kern="1200" cap="none" baseline="0" dirty="0">
              <a:latin typeface="Myriad Pro" panose="020B0503030403020204" pitchFamily="34" charset="0"/>
            </a:rPr>
            <a:t>Multi-Netzwerk </a:t>
          </a:r>
          <a:endParaRPr lang="de-DE" sz="1000" b="0" i="0" kern="1200" dirty="0">
            <a:latin typeface="Myriad Pro" panose="020B0503030403020204" pitchFamily="34" charset="0"/>
          </a:endParaRPr>
        </a:p>
      </dsp:txBody>
      <dsp:txXfrm>
        <a:off x="1752422" y="3937765"/>
        <a:ext cx="937996" cy="285974"/>
      </dsp:txXfrm>
    </dsp:sp>
    <dsp:sp modelId="{768C7647-12EF-40E9-94EB-C1868C4AFE59}">
      <dsp:nvSpPr>
        <dsp:cNvPr id="0" name=""/>
        <dsp:cNvSpPr/>
      </dsp:nvSpPr>
      <dsp:spPr>
        <a:xfrm>
          <a:off x="2878018" y="3759031"/>
          <a:ext cx="937996" cy="285974"/>
        </a:xfrm>
        <a:prstGeom prst="rect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000" b="0" i="0" kern="1200" dirty="0">
              <a:latin typeface="Myriad Pro" panose="020B0503030403020204" pitchFamily="34" charset="0"/>
            </a:rPr>
            <a:t>U-Net</a:t>
          </a:r>
        </a:p>
      </dsp:txBody>
      <dsp:txXfrm>
        <a:off x="2878018" y="3759031"/>
        <a:ext cx="937996" cy="285974"/>
      </dsp:txXfrm>
    </dsp:sp>
    <dsp:sp modelId="{49B6876F-A108-4FF0-9A81-E34DBB9D0BD7}">
      <dsp:nvSpPr>
        <dsp:cNvPr id="0" name=""/>
        <dsp:cNvSpPr/>
      </dsp:nvSpPr>
      <dsp:spPr>
        <a:xfrm>
          <a:off x="2878018" y="4116499"/>
          <a:ext cx="937996" cy="285974"/>
        </a:xfrm>
        <a:prstGeom prst="rect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000" b="0" i="0" kern="1200" dirty="0">
              <a:latin typeface="Myriad Pro" panose="020B0503030403020204" pitchFamily="34" charset="0"/>
            </a:rPr>
            <a:t>YOLO</a:t>
          </a:r>
        </a:p>
      </dsp:txBody>
      <dsp:txXfrm>
        <a:off x="2878018" y="4116499"/>
        <a:ext cx="937996" cy="285974"/>
      </dsp:txXfrm>
    </dsp:sp>
    <dsp:sp modelId="{B3E59FB2-885F-4B71-9DC5-B6F45C8017DE}">
      <dsp:nvSpPr>
        <dsp:cNvPr id="0" name=""/>
        <dsp:cNvSpPr/>
      </dsp:nvSpPr>
      <dsp:spPr>
        <a:xfrm>
          <a:off x="1752422" y="4831436"/>
          <a:ext cx="937996" cy="285974"/>
        </a:xfrm>
        <a:prstGeom prst="rect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000" b="1" i="0" kern="1200" cap="none" baseline="0" dirty="0">
              <a:latin typeface="Myriad Pro" panose="020B0503030403020204" pitchFamily="34" charset="0"/>
            </a:rPr>
            <a:t>Ensembles </a:t>
          </a:r>
          <a:endParaRPr lang="de-DE" sz="1000" b="0" i="0" kern="1200" cap="none" baseline="0" dirty="0">
            <a:latin typeface="Myriad Pro" panose="020B0503030403020204" pitchFamily="34" charset="0"/>
          </a:endParaRPr>
        </a:p>
      </dsp:txBody>
      <dsp:txXfrm>
        <a:off x="1752422" y="4831436"/>
        <a:ext cx="937996" cy="285974"/>
      </dsp:txXfrm>
    </dsp:sp>
    <dsp:sp modelId="{9E81B654-57F3-4178-8807-AB7AAC7BE08E}">
      <dsp:nvSpPr>
        <dsp:cNvPr id="0" name=""/>
        <dsp:cNvSpPr/>
      </dsp:nvSpPr>
      <dsp:spPr>
        <a:xfrm>
          <a:off x="2878018" y="4473967"/>
          <a:ext cx="937996" cy="285974"/>
        </a:xfrm>
        <a:prstGeom prst="rect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000" b="0" i="0" kern="1200" dirty="0">
              <a:latin typeface="Myriad Pro" panose="020B0503030403020204" pitchFamily="34" charset="0"/>
            </a:rPr>
            <a:t>Homogen</a:t>
          </a:r>
        </a:p>
      </dsp:txBody>
      <dsp:txXfrm>
        <a:off x="2878018" y="4473967"/>
        <a:ext cx="937996" cy="285974"/>
      </dsp:txXfrm>
    </dsp:sp>
    <dsp:sp modelId="{0CCC40AA-D80B-4B90-9188-E5CA017E63B0}">
      <dsp:nvSpPr>
        <dsp:cNvPr id="0" name=""/>
        <dsp:cNvSpPr/>
      </dsp:nvSpPr>
      <dsp:spPr>
        <a:xfrm>
          <a:off x="2878018" y="4831436"/>
          <a:ext cx="937996" cy="285974"/>
        </a:xfrm>
        <a:prstGeom prst="rect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000" b="0" i="0" kern="1200" dirty="0">
              <a:latin typeface="Myriad Pro" panose="020B0503030403020204" pitchFamily="34" charset="0"/>
            </a:rPr>
            <a:t>Heterogen</a:t>
          </a:r>
        </a:p>
      </dsp:txBody>
      <dsp:txXfrm>
        <a:off x="2878018" y="4831436"/>
        <a:ext cx="937996" cy="285974"/>
      </dsp:txXfrm>
    </dsp:sp>
    <dsp:sp modelId="{E51A201A-58C4-4839-BBF3-03A3D4BA1DE9}">
      <dsp:nvSpPr>
        <dsp:cNvPr id="0" name=""/>
        <dsp:cNvSpPr/>
      </dsp:nvSpPr>
      <dsp:spPr>
        <a:xfrm>
          <a:off x="2878018" y="5188904"/>
          <a:ext cx="937996" cy="285974"/>
        </a:xfrm>
        <a:prstGeom prst="rect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000" b="0" i="0" kern="1200" dirty="0" err="1">
              <a:latin typeface="Myriad Pro" panose="020B0503030403020204" pitchFamily="34" charset="0"/>
            </a:rPr>
            <a:t>Expizit</a:t>
          </a:r>
          <a:r>
            <a:rPr lang="de-DE" sz="1000" b="0" i="0" kern="1200" dirty="0">
              <a:latin typeface="Myriad Pro" panose="020B0503030403020204" pitchFamily="34" charset="0"/>
            </a:rPr>
            <a:t> </a:t>
          </a:r>
        </a:p>
      </dsp:txBody>
      <dsp:txXfrm>
        <a:off x="2878018" y="5188904"/>
        <a:ext cx="937996" cy="285974"/>
      </dsp:txXfrm>
    </dsp:sp>
  </dsp:spTree>
</dsp:drawing>
</file>

<file path=ppt/diagrams/drawing7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D37291B-5548-4F1B-8F2F-200AE5B0DCAE}">
      <dsp:nvSpPr>
        <dsp:cNvPr id="0" name=""/>
        <dsp:cNvSpPr/>
      </dsp:nvSpPr>
      <dsp:spPr>
        <a:xfrm>
          <a:off x="287092" y="1085850"/>
          <a:ext cx="178076" cy="588930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89038" y="0"/>
              </a:lnTo>
              <a:lnTo>
                <a:pt x="89038" y="588930"/>
              </a:lnTo>
              <a:lnTo>
                <a:pt x="178076" y="588930"/>
              </a:lnTo>
            </a:path>
          </a:pathLst>
        </a:custGeom>
        <a:noFill/>
        <a:ln w="12700" cap="flat" cmpd="sng" algn="ctr">
          <a:solidFill>
            <a:schemeClr val="accent4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500" kern="1200"/>
        </a:p>
      </dsp:txBody>
      <dsp:txXfrm>
        <a:off x="360748" y="1364934"/>
        <a:ext cx="30763" cy="30763"/>
      </dsp:txXfrm>
    </dsp:sp>
    <dsp:sp modelId="{BE328E0A-C287-4B1A-BD90-C0F3098FFCD9}">
      <dsp:nvSpPr>
        <dsp:cNvPr id="0" name=""/>
        <dsp:cNvSpPr/>
      </dsp:nvSpPr>
      <dsp:spPr>
        <a:xfrm>
          <a:off x="287092" y="486726"/>
          <a:ext cx="180190" cy="599124"/>
        </a:xfrm>
        <a:custGeom>
          <a:avLst/>
          <a:gdLst/>
          <a:ahLst/>
          <a:cxnLst/>
          <a:rect l="0" t="0" r="0" b="0"/>
          <a:pathLst>
            <a:path>
              <a:moveTo>
                <a:pt x="0" y="599124"/>
              </a:moveTo>
              <a:lnTo>
                <a:pt x="90095" y="599124"/>
              </a:lnTo>
              <a:lnTo>
                <a:pt x="90095" y="0"/>
              </a:lnTo>
              <a:lnTo>
                <a:pt x="180190" y="0"/>
              </a:lnTo>
            </a:path>
          </a:pathLst>
        </a:custGeom>
        <a:noFill/>
        <a:ln w="12700" cap="flat" cmpd="sng" algn="ctr">
          <a:solidFill>
            <a:schemeClr val="accent4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500" kern="1200"/>
        </a:p>
      </dsp:txBody>
      <dsp:txXfrm>
        <a:off x="361546" y="770647"/>
        <a:ext cx="31281" cy="31281"/>
      </dsp:txXfrm>
    </dsp:sp>
    <dsp:sp modelId="{DCF5B4EF-DE4F-4292-A3B2-724C163A44AB}">
      <dsp:nvSpPr>
        <dsp:cNvPr id="0" name=""/>
        <dsp:cNvSpPr/>
      </dsp:nvSpPr>
      <dsp:spPr>
        <a:xfrm rot="16200000">
          <a:off x="-610102" y="942600"/>
          <a:ext cx="1507890" cy="286499"/>
        </a:xfrm>
        <a:prstGeom prst="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400" b="0" i="0" kern="1200" dirty="0">
              <a:latin typeface="Myriad Pro" panose="020B0503030403020204" pitchFamily="34" charset="0"/>
            </a:rPr>
            <a:t>Eingabebild </a:t>
          </a:r>
        </a:p>
      </dsp:txBody>
      <dsp:txXfrm>
        <a:off x="-610102" y="942600"/>
        <a:ext cx="1507890" cy="286499"/>
      </dsp:txXfrm>
    </dsp:sp>
    <dsp:sp modelId="{49ADAAAB-354D-4968-9DE9-378E6595E5BB}">
      <dsp:nvSpPr>
        <dsp:cNvPr id="0" name=""/>
        <dsp:cNvSpPr/>
      </dsp:nvSpPr>
      <dsp:spPr>
        <a:xfrm>
          <a:off x="467283" y="343476"/>
          <a:ext cx="939717" cy="286499"/>
        </a:xfrm>
        <a:prstGeom prst="rect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000" b="0" i="0" kern="1200" cap="none" baseline="0" dirty="0" err="1">
              <a:latin typeface="Myriad Pro" panose="020B0503030403020204" pitchFamily="34" charset="0"/>
            </a:rPr>
            <a:t>Supervised</a:t>
          </a:r>
          <a:endParaRPr lang="de-DE" sz="1000" b="0" i="0" kern="1200" cap="none" baseline="0" dirty="0">
            <a:latin typeface="Myriad Pro" panose="020B0503030403020204" pitchFamily="34" charset="0"/>
          </a:endParaRPr>
        </a:p>
      </dsp:txBody>
      <dsp:txXfrm>
        <a:off x="467283" y="343476"/>
        <a:ext cx="939717" cy="286499"/>
      </dsp:txXfrm>
    </dsp:sp>
    <dsp:sp modelId="{E077FA3E-A654-4D27-8616-5CDDA43F8AF6}">
      <dsp:nvSpPr>
        <dsp:cNvPr id="0" name=""/>
        <dsp:cNvSpPr/>
      </dsp:nvSpPr>
      <dsp:spPr>
        <a:xfrm>
          <a:off x="465168" y="1531531"/>
          <a:ext cx="939717" cy="286499"/>
        </a:xfrm>
        <a:prstGeom prst="rect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000" b="0" i="0" kern="1200" dirty="0" err="1">
              <a:latin typeface="Myriad Pro" panose="020B0503030403020204" pitchFamily="34" charset="0"/>
            </a:rPr>
            <a:t>Unsupervised</a:t>
          </a:r>
          <a:endParaRPr lang="de-DE" sz="1000" b="0" i="0" kern="1200" dirty="0">
            <a:latin typeface="Myriad Pro" panose="020B0503030403020204" pitchFamily="34" charset="0"/>
          </a:endParaRPr>
        </a:p>
      </dsp:txBody>
      <dsp:txXfrm>
        <a:off x="465168" y="1531531"/>
        <a:ext cx="939717" cy="286499"/>
      </dsp:txXfrm>
    </dsp:sp>
  </dsp:spTree>
</dsp:drawing>
</file>

<file path=ppt/diagrams/drawing8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9C34007-6CA8-4ABF-890A-47AA50B267EA}">
      <dsp:nvSpPr>
        <dsp:cNvPr id="0" name=""/>
        <dsp:cNvSpPr/>
      </dsp:nvSpPr>
      <dsp:spPr>
        <a:xfrm>
          <a:off x="2690418" y="4974423"/>
          <a:ext cx="187599" cy="35746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93799" y="0"/>
              </a:lnTo>
              <a:lnTo>
                <a:pt x="93799" y="357468"/>
              </a:lnTo>
              <a:lnTo>
                <a:pt x="187599" y="357468"/>
              </a:lnTo>
            </a:path>
          </a:pathLst>
        </a:custGeom>
        <a:noFill/>
        <a:ln w="127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e-DE" sz="500" kern="1200"/>
        </a:p>
      </dsp:txBody>
      <dsp:txXfrm>
        <a:off x="2774125" y="5143064"/>
        <a:ext cx="20185" cy="20185"/>
      </dsp:txXfrm>
    </dsp:sp>
    <dsp:sp modelId="{1CD57466-73E5-43BB-AF51-980153E8039A}">
      <dsp:nvSpPr>
        <dsp:cNvPr id="0" name=""/>
        <dsp:cNvSpPr/>
      </dsp:nvSpPr>
      <dsp:spPr>
        <a:xfrm>
          <a:off x="2690418" y="4928703"/>
          <a:ext cx="187599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187599" y="45720"/>
              </a:lnTo>
            </a:path>
          </a:pathLst>
        </a:custGeom>
        <a:noFill/>
        <a:ln w="127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500" kern="1200"/>
        </a:p>
      </dsp:txBody>
      <dsp:txXfrm>
        <a:off x="2779528" y="4969733"/>
        <a:ext cx="9379" cy="9379"/>
      </dsp:txXfrm>
    </dsp:sp>
    <dsp:sp modelId="{60A0F5E7-D1D3-49F8-A254-CFFCBE54AAF0}">
      <dsp:nvSpPr>
        <dsp:cNvPr id="0" name=""/>
        <dsp:cNvSpPr/>
      </dsp:nvSpPr>
      <dsp:spPr>
        <a:xfrm>
          <a:off x="2690418" y="4616955"/>
          <a:ext cx="187599" cy="357468"/>
        </a:xfrm>
        <a:custGeom>
          <a:avLst/>
          <a:gdLst/>
          <a:ahLst/>
          <a:cxnLst/>
          <a:rect l="0" t="0" r="0" b="0"/>
          <a:pathLst>
            <a:path>
              <a:moveTo>
                <a:pt x="0" y="357468"/>
              </a:moveTo>
              <a:lnTo>
                <a:pt x="93799" y="357468"/>
              </a:lnTo>
              <a:lnTo>
                <a:pt x="93799" y="0"/>
              </a:lnTo>
              <a:lnTo>
                <a:pt x="187599" y="0"/>
              </a:lnTo>
            </a:path>
          </a:pathLst>
        </a:custGeom>
        <a:noFill/>
        <a:ln w="127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500" kern="1200"/>
        </a:p>
      </dsp:txBody>
      <dsp:txXfrm>
        <a:off x="2774125" y="4785596"/>
        <a:ext cx="20185" cy="20185"/>
      </dsp:txXfrm>
    </dsp:sp>
    <dsp:sp modelId="{C4365B06-B9DB-4064-B93F-1043BD4B58B2}">
      <dsp:nvSpPr>
        <dsp:cNvPr id="0" name=""/>
        <dsp:cNvSpPr/>
      </dsp:nvSpPr>
      <dsp:spPr>
        <a:xfrm>
          <a:off x="1564822" y="3589234"/>
          <a:ext cx="187599" cy="138518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93799" y="0"/>
              </a:lnTo>
              <a:lnTo>
                <a:pt x="93799" y="1385189"/>
              </a:lnTo>
              <a:lnTo>
                <a:pt x="187599" y="1385189"/>
              </a:lnTo>
            </a:path>
          </a:pathLst>
        </a:custGeom>
        <a:noFill/>
        <a:ln w="12700" cap="flat" cmpd="sng" algn="ctr">
          <a:solidFill>
            <a:schemeClr val="accent4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500" kern="1200"/>
        </a:p>
      </dsp:txBody>
      <dsp:txXfrm>
        <a:off x="1623676" y="4246882"/>
        <a:ext cx="69891" cy="69891"/>
      </dsp:txXfrm>
    </dsp:sp>
    <dsp:sp modelId="{313DC26C-06DB-4098-B605-33485EFC9B29}">
      <dsp:nvSpPr>
        <dsp:cNvPr id="0" name=""/>
        <dsp:cNvSpPr/>
      </dsp:nvSpPr>
      <dsp:spPr>
        <a:xfrm>
          <a:off x="2690418" y="4080752"/>
          <a:ext cx="187599" cy="178734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93799" y="0"/>
              </a:lnTo>
              <a:lnTo>
                <a:pt x="93799" y="178734"/>
              </a:lnTo>
              <a:lnTo>
                <a:pt x="187599" y="178734"/>
              </a:lnTo>
            </a:path>
          </a:pathLst>
        </a:custGeom>
        <a:noFill/>
        <a:ln w="127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500" kern="1200"/>
        </a:p>
      </dsp:txBody>
      <dsp:txXfrm>
        <a:off x="2777740" y="4163642"/>
        <a:ext cx="12955" cy="12955"/>
      </dsp:txXfrm>
    </dsp:sp>
    <dsp:sp modelId="{037062E2-BE96-4A8B-9D2F-1FA0857207C1}">
      <dsp:nvSpPr>
        <dsp:cNvPr id="0" name=""/>
        <dsp:cNvSpPr/>
      </dsp:nvSpPr>
      <dsp:spPr>
        <a:xfrm>
          <a:off x="2690418" y="3902018"/>
          <a:ext cx="187599" cy="178734"/>
        </a:xfrm>
        <a:custGeom>
          <a:avLst/>
          <a:gdLst/>
          <a:ahLst/>
          <a:cxnLst/>
          <a:rect l="0" t="0" r="0" b="0"/>
          <a:pathLst>
            <a:path>
              <a:moveTo>
                <a:pt x="0" y="178734"/>
              </a:moveTo>
              <a:lnTo>
                <a:pt x="93799" y="178734"/>
              </a:lnTo>
              <a:lnTo>
                <a:pt x="93799" y="0"/>
              </a:lnTo>
              <a:lnTo>
                <a:pt x="187599" y="0"/>
              </a:lnTo>
            </a:path>
          </a:pathLst>
        </a:custGeom>
        <a:noFill/>
        <a:ln w="127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500" kern="1200"/>
        </a:p>
      </dsp:txBody>
      <dsp:txXfrm>
        <a:off x="2777740" y="3984907"/>
        <a:ext cx="12955" cy="12955"/>
      </dsp:txXfrm>
    </dsp:sp>
    <dsp:sp modelId="{CD37291B-5548-4F1B-8F2F-200AE5B0DCAE}">
      <dsp:nvSpPr>
        <dsp:cNvPr id="0" name=""/>
        <dsp:cNvSpPr/>
      </dsp:nvSpPr>
      <dsp:spPr>
        <a:xfrm>
          <a:off x="1564822" y="3589234"/>
          <a:ext cx="187599" cy="49151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93799" y="0"/>
              </a:lnTo>
              <a:lnTo>
                <a:pt x="93799" y="491518"/>
              </a:lnTo>
              <a:lnTo>
                <a:pt x="187599" y="491518"/>
              </a:lnTo>
            </a:path>
          </a:pathLst>
        </a:custGeom>
        <a:noFill/>
        <a:ln w="12700" cap="flat" cmpd="sng" algn="ctr">
          <a:solidFill>
            <a:schemeClr val="accent4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500" kern="1200"/>
        </a:p>
      </dsp:txBody>
      <dsp:txXfrm>
        <a:off x="1645469" y="3821840"/>
        <a:ext cx="26305" cy="26305"/>
      </dsp:txXfrm>
    </dsp:sp>
    <dsp:sp modelId="{690E36EE-5895-4B91-A347-3380A5FE5255}">
      <dsp:nvSpPr>
        <dsp:cNvPr id="0" name=""/>
        <dsp:cNvSpPr/>
      </dsp:nvSpPr>
      <dsp:spPr>
        <a:xfrm>
          <a:off x="2690418" y="2204044"/>
          <a:ext cx="187599" cy="1340505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93799" y="0"/>
              </a:lnTo>
              <a:lnTo>
                <a:pt x="93799" y="1340505"/>
              </a:lnTo>
              <a:lnTo>
                <a:pt x="187599" y="1340505"/>
              </a:lnTo>
            </a:path>
          </a:pathLst>
        </a:custGeom>
        <a:noFill/>
        <a:ln w="127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e-DE" sz="500" kern="1200"/>
        </a:p>
      </dsp:txBody>
      <dsp:txXfrm>
        <a:off x="2750379" y="2840458"/>
        <a:ext cx="67678" cy="67678"/>
      </dsp:txXfrm>
    </dsp:sp>
    <dsp:sp modelId="{460E764F-BDF5-4D22-9B4D-16DC71F64CAC}">
      <dsp:nvSpPr>
        <dsp:cNvPr id="0" name=""/>
        <dsp:cNvSpPr/>
      </dsp:nvSpPr>
      <dsp:spPr>
        <a:xfrm>
          <a:off x="2690418" y="2204044"/>
          <a:ext cx="187599" cy="98303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93799" y="0"/>
              </a:lnTo>
              <a:lnTo>
                <a:pt x="93799" y="983037"/>
              </a:lnTo>
              <a:lnTo>
                <a:pt x="187599" y="983037"/>
              </a:lnTo>
            </a:path>
          </a:pathLst>
        </a:custGeom>
        <a:noFill/>
        <a:ln w="127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e-DE" sz="500" kern="1200"/>
        </a:p>
      </dsp:txBody>
      <dsp:txXfrm>
        <a:off x="2759199" y="2670544"/>
        <a:ext cx="50038" cy="50038"/>
      </dsp:txXfrm>
    </dsp:sp>
    <dsp:sp modelId="{A4E05C94-2209-4BF4-B627-606397BBC1C5}">
      <dsp:nvSpPr>
        <dsp:cNvPr id="0" name=""/>
        <dsp:cNvSpPr/>
      </dsp:nvSpPr>
      <dsp:spPr>
        <a:xfrm>
          <a:off x="2690418" y="2204044"/>
          <a:ext cx="187599" cy="62556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93799" y="0"/>
              </a:lnTo>
              <a:lnTo>
                <a:pt x="93799" y="625569"/>
              </a:lnTo>
              <a:lnTo>
                <a:pt x="187599" y="625569"/>
              </a:lnTo>
            </a:path>
          </a:pathLst>
        </a:custGeom>
        <a:noFill/>
        <a:ln w="127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e-DE" sz="500" kern="1200"/>
        </a:p>
      </dsp:txBody>
      <dsp:txXfrm>
        <a:off x="2767891" y="2500502"/>
        <a:ext cx="32654" cy="32654"/>
      </dsp:txXfrm>
    </dsp:sp>
    <dsp:sp modelId="{329CD9E0-9945-40C9-89A5-5929AA1A3A82}">
      <dsp:nvSpPr>
        <dsp:cNvPr id="0" name=""/>
        <dsp:cNvSpPr/>
      </dsp:nvSpPr>
      <dsp:spPr>
        <a:xfrm>
          <a:off x="3816014" y="2472145"/>
          <a:ext cx="187599" cy="536202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93799" y="0"/>
              </a:lnTo>
              <a:lnTo>
                <a:pt x="93799" y="536202"/>
              </a:lnTo>
              <a:lnTo>
                <a:pt x="187599" y="536202"/>
              </a:lnTo>
            </a:path>
          </a:pathLst>
        </a:custGeom>
        <a:noFill/>
        <a:ln w="12700" cap="flat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e-DE" sz="500" kern="1200"/>
        </a:p>
      </dsp:txBody>
      <dsp:txXfrm>
        <a:off x="3895612" y="2726045"/>
        <a:ext cx="28403" cy="28403"/>
      </dsp:txXfrm>
    </dsp:sp>
    <dsp:sp modelId="{9458E52A-38CE-4EE6-A620-F703970B8164}">
      <dsp:nvSpPr>
        <dsp:cNvPr id="0" name=""/>
        <dsp:cNvSpPr/>
      </dsp:nvSpPr>
      <dsp:spPr>
        <a:xfrm>
          <a:off x="3816014" y="2472145"/>
          <a:ext cx="187599" cy="178734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93799" y="0"/>
              </a:lnTo>
              <a:lnTo>
                <a:pt x="93799" y="178734"/>
              </a:lnTo>
              <a:lnTo>
                <a:pt x="187599" y="178734"/>
              </a:lnTo>
            </a:path>
          </a:pathLst>
        </a:custGeom>
        <a:noFill/>
        <a:ln w="12700" cap="flat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e-DE" sz="500" kern="1200"/>
        </a:p>
      </dsp:txBody>
      <dsp:txXfrm>
        <a:off x="3903336" y="2555035"/>
        <a:ext cx="12955" cy="12955"/>
      </dsp:txXfrm>
    </dsp:sp>
    <dsp:sp modelId="{2B4072C3-2623-4EA4-94B7-025A9DCD72E9}">
      <dsp:nvSpPr>
        <dsp:cNvPr id="0" name=""/>
        <dsp:cNvSpPr/>
      </dsp:nvSpPr>
      <dsp:spPr>
        <a:xfrm>
          <a:off x="3816014" y="2293411"/>
          <a:ext cx="187599" cy="178734"/>
        </a:xfrm>
        <a:custGeom>
          <a:avLst/>
          <a:gdLst/>
          <a:ahLst/>
          <a:cxnLst/>
          <a:rect l="0" t="0" r="0" b="0"/>
          <a:pathLst>
            <a:path>
              <a:moveTo>
                <a:pt x="0" y="178734"/>
              </a:moveTo>
              <a:lnTo>
                <a:pt x="93799" y="178734"/>
              </a:lnTo>
              <a:lnTo>
                <a:pt x="93799" y="0"/>
              </a:lnTo>
              <a:lnTo>
                <a:pt x="187599" y="0"/>
              </a:lnTo>
            </a:path>
          </a:pathLst>
        </a:custGeom>
        <a:noFill/>
        <a:ln w="12700" cap="flat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e-DE" sz="500" kern="1200"/>
        </a:p>
      </dsp:txBody>
      <dsp:txXfrm>
        <a:off x="3903336" y="2376300"/>
        <a:ext cx="12955" cy="12955"/>
      </dsp:txXfrm>
    </dsp:sp>
    <dsp:sp modelId="{7F2C676C-E906-4B26-892E-C728B9239429}">
      <dsp:nvSpPr>
        <dsp:cNvPr id="0" name=""/>
        <dsp:cNvSpPr/>
      </dsp:nvSpPr>
      <dsp:spPr>
        <a:xfrm>
          <a:off x="3816014" y="1935943"/>
          <a:ext cx="187599" cy="536202"/>
        </a:xfrm>
        <a:custGeom>
          <a:avLst/>
          <a:gdLst/>
          <a:ahLst/>
          <a:cxnLst/>
          <a:rect l="0" t="0" r="0" b="0"/>
          <a:pathLst>
            <a:path>
              <a:moveTo>
                <a:pt x="0" y="536202"/>
              </a:moveTo>
              <a:lnTo>
                <a:pt x="93799" y="536202"/>
              </a:lnTo>
              <a:lnTo>
                <a:pt x="93799" y="0"/>
              </a:lnTo>
              <a:lnTo>
                <a:pt x="187599" y="0"/>
              </a:lnTo>
            </a:path>
          </a:pathLst>
        </a:custGeom>
        <a:noFill/>
        <a:ln w="12700" cap="flat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e-DE" sz="500" kern="1200"/>
        </a:p>
      </dsp:txBody>
      <dsp:txXfrm>
        <a:off x="3895612" y="2189842"/>
        <a:ext cx="28403" cy="28403"/>
      </dsp:txXfrm>
    </dsp:sp>
    <dsp:sp modelId="{5BC2DE1D-C4D7-4BFC-A0C1-3D282DC024CD}">
      <dsp:nvSpPr>
        <dsp:cNvPr id="0" name=""/>
        <dsp:cNvSpPr/>
      </dsp:nvSpPr>
      <dsp:spPr>
        <a:xfrm>
          <a:off x="2690418" y="2204044"/>
          <a:ext cx="187599" cy="268101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93799" y="0"/>
              </a:lnTo>
              <a:lnTo>
                <a:pt x="93799" y="268101"/>
              </a:lnTo>
              <a:lnTo>
                <a:pt x="187599" y="268101"/>
              </a:lnTo>
            </a:path>
          </a:pathLst>
        </a:custGeom>
        <a:noFill/>
        <a:ln w="127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e-DE" sz="500" kern="1200"/>
        </a:p>
      </dsp:txBody>
      <dsp:txXfrm>
        <a:off x="2776038" y="2329914"/>
        <a:ext cx="16360" cy="16360"/>
      </dsp:txXfrm>
    </dsp:sp>
    <dsp:sp modelId="{FAF45787-F807-4BB6-923D-0C0E2CD8C149}">
      <dsp:nvSpPr>
        <dsp:cNvPr id="0" name=""/>
        <dsp:cNvSpPr/>
      </dsp:nvSpPr>
      <dsp:spPr>
        <a:xfrm>
          <a:off x="3816014" y="863538"/>
          <a:ext cx="187599" cy="71493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93799" y="0"/>
              </a:lnTo>
              <a:lnTo>
                <a:pt x="93799" y="714936"/>
              </a:lnTo>
              <a:lnTo>
                <a:pt x="187599" y="714936"/>
              </a:lnTo>
            </a:path>
          </a:pathLst>
        </a:custGeom>
        <a:noFill/>
        <a:ln w="12700" cap="flat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e-DE" sz="500" kern="1200"/>
        </a:p>
      </dsp:txBody>
      <dsp:txXfrm>
        <a:off x="3891335" y="1202528"/>
        <a:ext cx="36956" cy="36956"/>
      </dsp:txXfrm>
    </dsp:sp>
    <dsp:sp modelId="{C5F46441-018D-4AD0-9984-278FB6B3653F}">
      <dsp:nvSpPr>
        <dsp:cNvPr id="0" name=""/>
        <dsp:cNvSpPr/>
      </dsp:nvSpPr>
      <dsp:spPr>
        <a:xfrm>
          <a:off x="3816014" y="863538"/>
          <a:ext cx="187599" cy="35746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93799" y="0"/>
              </a:lnTo>
              <a:lnTo>
                <a:pt x="93799" y="357468"/>
              </a:lnTo>
              <a:lnTo>
                <a:pt x="187599" y="357468"/>
              </a:lnTo>
            </a:path>
          </a:pathLst>
        </a:custGeom>
        <a:noFill/>
        <a:ln w="12700" cap="flat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e-DE" sz="500" kern="1200"/>
        </a:p>
      </dsp:txBody>
      <dsp:txXfrm>
        <a:off x="3899721" y="1032180"/>
        <a:ext cx="20185" cy="20185"/>
      </dsp:txXfrm>
    </dsp:sp>
    <dsp:sp modelId="{709C936E-7E65-4B5A-AC40-4548A25152AC}">
      <dsp:nvSpPr>
        <dsp:cNvPr id="0" name=""/>
        <dsp:cNvSpPr/>
      </dsp:nvSpPr>
      <dsp:spPr>
        <a:xfrm>
          <a:off x="3816014" y="817818"/>
          <a:ext cx="187599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187599" y="45720"/>
              </a:lnTo>
            </a:path>
          </a:pathLst>
        </a:custGeom>
        <a:noFill/>
        <a:ln w="12700" cap="flat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e-DE" sz="500" kern="1200"/>
        </a:p>
      </dsp:txBody>
      <dsp:txXfrm>
        <a:off x="3905124" y="858848"/>
        <a:ext cx="9379" cy="9379"/>
      </dsp:txXfrm>
    </dsp:sp>
    <dsp:sp modelId="{8F0AA0AA-EF8D-43DE-82C5-2D7BFD08315F}">
      <dsp:nvSpPr>
        <dsp:cNvPr id="0" name=""/>
        <dsp:cNvSpPr/>
      </dsp:nvSpPr>
      <dsp:spPr>
        <a:xfrm>
          <a:off x="3816014" y="506070"/>
          <a:ext cx="187599" cy="357468"/>
        </a:xfrm>
        <a:custGeom>
          <a:avLst/>
          <a:gdLst/>
          <a:ahLst/>
          <a:cxnLst/>
          <a:rect l="0" t="0" r="0" b="0"/>
          <a:pathLst>
            <a:path>
              <a:moveTo>
                <a:pt x="0" y="357468"/>
              </a:moveTo>
              <a:lnTo>
                <a:pt x="93799" y="357468"/>
              </a:lnTo>
              <a:lnTo>
                <a:pt x="93799" y="0"/>
              </a:lnTo>
              <a:lnTo>
                <a:pt x="187599" y="0"/>
              </a:lnTo>
            </a:path>
          </a:pathLst>
        </a:custGeom>
        <a:noFill/>
        <a:ln w="12700" cap="flat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e-DE" sz="500" kern="1200"/>
        </a:p>
      </dsp:txBody>
      <dsp:txXfrm>
        <a:off x="3899721" y="674712"/>
        <a:ext cx="20185" cy="20185"/>
      </dsp:txXfrm>
    </dsp:sp>
    <dsp:sp modelId="{6D05A90F-5A8D-42F9-A2CB-82F28C0FF2BC}">
      <dsp:nvSpPr>
        <dsp:cNvPr id="0" name=""/>
        <dsp:cNvSpPr/>
      </dsp:nvSpPr>
      <dsp:spPr>
        <a:xfrm>
          <a:off x="3816014" y="148602"/>
          <a:ext cx="187599" cy="714936"/>
        </a:xfrm>
        <a:custGeom>
          <a:avLst/>
          <a:gdLst/>
          <a:ahLst/>
          <a:cxnLst/>
          <a:rect l="0" t="0" r="0" b="0"/>
          <a:pathLst>
            <a:path>
              <a:moveTo>
                <a:pt x="0" y="714936"/>
              </a:moveTo>
              <a:lnTo>
                <a:pt x="93799" y="714936"/>
              </a:lnTo>
              <a:lnTo>
                <a:pt x="93799" y="0"/>
              </a:lnTo>
              <a:lnTo>
                <a:pt x="187599" y="0"/>
              </a:lnTo>
            </a:path>
          </a:pathLst>
        </a:custGeom>
        <a:noFill/>
        <a:ln w="12700" cap="flat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e-DE" sz="500" kern="1200"/>
        </a:p>
      </dsp:txBody>
      <dsp:txXfrm>
        <a:off x="3891335" y="487592"/>
        <a:ext cx="36956" cy="36956"/>
      </dsp:txXfrm>
    </dsp:sp>
    <dsp:sp modelId="{A00DE1AA-92DF-4607-98DB-1C3BB048DCF5}">
      <dsp:nvSpPr>
        <dsp:cNvPr id="0" name=""/>
        <dsp:cNvSpPr/>
      </dsp:nvSpPr>
      <dsp:spPr>
        <a:xfrm>
          <a:off x="2690418" y="863538"/>
          <a:ext cx="187599" cy="1340505"/>
        </a:xfrm>
        <a:custGeom>
          <a:avLst/>
          <a:gdLst/>
          <a:ahLst/>
          <a:cxnLst/>
          <a:rect l="0" t="0" r="0" b="0"/>
          <a:pathLst>
            <a:path>
              <a:moveTo>
                <a:pt x="0" y="1340505"/>
              </a:moveTo>
              <a:lnTo>
                <a:pt x="93799" y="1340505"/>
              </a:lnTo>
              <a:lnTo>
                <a:pt x="93799" y="0"/>
              </a:lnTo>
              <a:lnTo>
                <a:pt x="187599" y="0"/>
              </a:lnTo>
            </a:path>
          </a:pathLst>
        </a:custGeom>
        <a:noFill/>
        <a:ln w="127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e-DE" sz="500" kern="1200"/>
        </a:p>
      </dsp:txBody>
      <dsp:txXfrm>
        <a:off x="2750379" y="1499952"/>
        <a:ext cx="67678" cy="67678"/>
      </dsp:txXfrm>
    </dsp:sp>
    <dsp:sp modelId="{BE328E0A-C287-4B1A-BD90-C0F3098FFCD9}">
      <dsp:nvSpPr>
        <dsp:cNvPr id="0" name=""/>
        <dsp:cNvSpPr/>
      </dsp:nvSpPr>
      <dsp:spPr>
        <a:xfrm>
          <a:off x="1564822" y="2204044"/>
          <a:ext cx="187599" cy="1385189"/>
        </a:xfrm>
        <a:custGeom>
          <a:avLst/>
          <a:gdLst/>
          <a:ahLst/>
          <a:cxnLst/>
          <a:rect l="0" t="0" r="0" b="0"/>
          <a:pathLst>
            <a:path>
              <a:moveTo>
                <a:pt x="0" y="1385189"/>
              </a:moveTo>
              <a:lnTo>
                <a:pt x="93799" y="1385189"/>
              </a:lnTo>
              <a:lnTo>
                <a:pt x="93799" y="0"/>
              </a:lnTo>
              <a:lnTo>
                <a:pt x="187599" y="0"/>
              </a:lnTo>
            </a:path>
          </a:pathLst>
        </a:custGeom>
        <a:noFill/>
        <a:ln w="12700" cap="flat" cmpd="sng" algn="ctr">
          <a:solidFill>
            <a:schemeClr val="accent4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500" kern="1200"/>
        </a:p>
      </dsp:txBody>
      <dsp:txXfrm>
        <a:off x="1623676" y="2861693"/>
        <a:ext cx="69891" cy="69891"/>
      </dsp:txXfrm>
    </dsp:sp>
    <dsp:sp modelId="{DCF5B4EF-DE4F-4292-A3B2-724C163A44AB}">
      <dsp:nvSpPr>
        <dsp:cNvPr id="0" name=""/>
        <dsp:cNvSpPr/>
      </dsp:nvSpPr>
      <dsp:spPr>
        <a:xfrm rot="16200000">
          <a:off x="669270" y="3446246"/>
          <a:ext cx="1505129" cy="285974"/>
        </a:xfrm>
        <a:prstGeom prst="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400" b="0" i="0" kern="1200" dirty="0">
              <a:latin typeface="Myriad Pro" panose="020B0503030403020204" pitchFamily="34" charset="0"/>
            </a:rPr>
            <a:t>Eingabebild </a:t>
          </a:r>
        </a:p>
      </dsp:txBody>
      <dsp:txXfrm>
        <a:off x="669270" y="3446246"/>
        <a:ext cx="1505129" cy="285974"/>
      </dsp:txXfrm>
    </dsp:sp>
    <dsp:sp modelId="{49ADAAAB-354D-4968-9DE9-378E6595E5BB}">
      <dsp:nvSpPr>
        <dsp:cNvPr id="0" name=""/>
        <dsp:cNvSpPr/>
      </dsp:nvSpPr>
      <dsp:spPr>
        <a:xfrm>
          <a:off x="1752422" y="2061057"/>
          <a:ext cx="937996" cy="285974"/>
        </a:xfrm>
        <a:prstGeom prst="rect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000" b="1" i="0" kern="1200" cap="none" baseline="0" dirty="0">
              <a:latin typeface="Myriad Pro" panose="020B0503030403020204" pitchFamily="34" charset="0"/>
            </a:rPr>
            <a:t>Einzel Netzwerk</a:t>
          </a:r>
          <a:endParaRPr lang="de-DE" sz="1000" b="0" i="0" kern="1200" cap="none" baseline="0" dirty="0">
            <a:latin typeface="Myriad Pro" panose="020B0503030403020204" pitchFamily="34" charset="0"/>
          </a:endParaRPr>
        </a:p>
      </dsp:txBody>
      <dsp:txXfrm>
        <a:off x="1752422" y="2061057"/>
        <a:ext cx="937996" cy="285974"/>
      </dsp:txXfrm>
    </dsp:sp>
    <dsp:sp modelId="{F9F18759-F577-4686-9C34-EB964D732C77}">
      <dsp:nvSpPr>
        <dsp:cNvPr id="0" name=""/>
        <dsp:cNvSpPr/>
      </dsp:nvSpPr>
      <dsp:spPr>
        <a:xfrm>
          <a:off x="2878018" y="720551"/>
          <a:ext cx="937996" cy="285974"/>
        </a:xfrm>
        <a:prstGeom prst="rect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000" b="0" i="0" kern="1200" dirty="0">
              <a:latin typeface="Myriad Pro" panose="020B0503030403020204" pitchFamily="34" charset="0"/>
            </a:rPr>
            <a:t>Architektur</a:t>
          </a:r>
        </a:p>
      </dsp:txBody>
      <dsp:txXfrm>
        <a:off x="2878018" y="720551"/>
        <a:ext cx="937996" cy="285974"/>
      </dsp:txXfrm>
    </dsp:sp>
    <dsp:sp modelId="{F8A94DA1-2081-4A8B-816C-A9F98C2853F5}">
      <dsp:nvSpPr>
        <dsp:cNvPr id="0" name=""/>
        <dsp:cNvSpPr/>
      </dsp:nvSpPr>
      <dsp:spPr>
        <a:xfrm>
          <a:off x="4003614" y="5615"/>
          <a:ext cx="937996" cy="285974"/>
        </a:xfrm>
        <a:prstGeom prst="rect">
          <a:avLst/>
        </a:prstGeom>
        <a:solidFill>
          <a:schemeClr val="accent6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080" tIns="5080" rIns="5080" bIns="508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800" b="0" i="0" kern="1200" dirty="0">
              <a:latin typeface="Myriad Pro" panose="020B0503030403020204" pitchFamily="34" charset="0"/>
            </a:rPr>
            <a:t>U-Net</a:t>
          </a:r>
        </a:p>
      </dsp:txBody>
      <dsp:txXfrm>
        <a:off x="4003614" y="5615"/>
        <a:ext cx="937996" cy="285974"/>
      </dsp:txXfrm>
    </dsp:sp>
    <dsp:sp modelId="{571B8373-7DFF-4282-8AA6-80F7CC7EA7C8}">
      <dsp:nvSpPr>
        <dsp:cNvPr id="0" name=""/>
        <dsp:cNvSpPr/>
      </dsp:nvSpPr>
      <dsp:spPr>
        <a:xfrm>
          <a:off x="4003614" y="363083"/>
          <a:ext cx="937996" cy="285974"/>
        </a:xfrm>
        <a:prstGeom prst="rect">
          <a:avLst/>
        </a:prstGeom>
        <a:solidFill>
          <a:schemeClr val="accent6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080" tIns="5080" rIns="5080" bIns="508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800" b="0" i="0" kern="1200" dirty="0">
              <a:latin typeface="Myriad Pro" panose="020B0503030403020204" pitchFamily="34" charset="0"/>
            </a:rPr>
            <a:t>U-Net++</a:t>
          </a:r>
        </a:p>
      </dsp:txBody>
      <dsp:txXfrm>
        <a:off x="4003614" y="363083"/>
        <a:ext cx="937996" cy="285974"/>
      </dsp:txXfrm>
    </dsp:sp>
    <dsp:sp modelId="{9E59A063-5821-4E2B-8FD8-3EBA8922B98E}">
      <dsp:nvSpPr>
        <dsp:cNvPr id="0" name=""/>
        <dsp:cNvSpPr/>
      </dsp:nvSpPr>
      <dsp:spPr>
        <a:xfrm>
          <a:off x="4003614" y="720551"/>
          <a:ext cx="937996" cy="285974"/>
        </a:xfrm>
        <a:prstGeom prst="rect">
          <a:avLst/>
        </a:prstGeom>
        <a:solidFill>
          <a:schemeClr val="accent6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080" tIns="5080" rIns="5080" bIns="508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800" b="0" i="0" kern="1200" dirty="0">
              <a:latin typeface="Myriad Pro" panose="020B0503030403020204" pitchFamily="34" charset="0"/>
            </a:rPr>
            <a:t>FPN</a:t>
          </a:r>
        </a:p>
      </dsp:txBody>
      <dsp:txXfrm>
        <a:off x="4003614" y="720551"/>
        <a:ext cx="937996" cy="285974"/>
      </dsp:txXfrm>
    </dsp:sp>
    <dsp:sp modelId="{E35C2840-DB93-493D-B275-166B0E0C4A9D}">
      <dsp:nvSpPr>
        <dsp:cNvPr id="0" name=""/>
        <dsp:cNvSpPr/>
      </dsp:nvSpPr>
      <dsp:spPr>
        <a:xfrm>
          <a:off x="4003614" y="1078019"/>
          <a:ext cx="937996" cy="285974"/>
        </a:xfrm>
        <a:prstGeom prst="rect">
          <a:avLst/>
        </a:prstGeom>
        <a:solidFill>
          <a:schemeClr val="accent6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080" tIns="5080" rIns="5080" bIns="508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800" b="0" i="0" kern="1200" dirty="0">
              <a:latin typeface="Myriad Pro" panose="020B0503030403020204" pitchFamily="34" charset="0"/>
            </a:rPr>
            <a:t>PSPN</a:t>
          </a:r>
        </a:p>
      </dsp:txBody>
      <dsp:txXfrm>
        <a:off x="4003614" y="1078019"/>
        <a:ext cx="937996" cy="285974"/>
      </dsp:txXfrm>
    </dsp:sp>
    <dsp:sp modelId="{8F47A465-73D6-48E5-83FD-F149301C3BBD}">
      <dsp:nvSpPr>
        <dsp:cNvPr id="0" name=""/>
        <dsp:cNvSpPr/>
      </dsp:nvSpPr>
      <dsp:spPr>
        <a:xfrm>
          <a:off x="4003614" y="1435487"/>
          <a:ext cx="937996" cy="285974"/>
        </a:xfrm>
        <a:prstGeom prst="rect">
          <a:avLst/>
        </a:prstGeom>
        <a:solidFill>
          <a:schemeClr val="accent6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080" tIns="5080" rIns="5080" bIns="508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800" b="0" i="0" kern="1200" dirty="0">
              <a:latin typeface="Myriad Pro" panose="020B0503030403020204" pitchFamily="34" charset="0"/>
            </a:rPr>
            <a:t>PAN</a:t>
          </a:r>
        </a:p>
      </dsp:txBody>
      <dsp:txXfrm>
        <a:off x="4003614" y="1435487"/>
        <a:ext cx="937996" cy="285974"/>
      </dsp:txXfrm>
    </dsp:sp>
    <dsp:sp modelId="{DC0B28EB-699E-45BB-87EC-30E574E72821}">
      <dsp:nvSpPr>
        <dsp:cNvPr id="0" name=""/>
        <dsp:cNvSpPr/>
      </dsp:nvSpPr>
      <dsp:spPr>
        <a:xfrm>
          <a:off x="2878018" y="2329158"/>
          <a:ext cx="937996" cy="285974"/>
        </a:xfrm>
        <a:prstGeom prst="rect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000" b="0" i="0" kern="1200" dirty="0">
              <a:latin typeface="Myriad Pro" panose="020B0503030403020204" pitchFamily="34" charset="0"/>
            </a:rPr>
            <a:t>Encoder</a:t>
          </a:r>
        </a:p>
      </dsp:txBody>
      <dsp:txXfrm>
        <a:off x="2878018" y="2329158"/>
        <a:ext cx="937996" cy="285974"/>
      </dsp:txXfrm>
    </dsp:sp>
    <dsp:sp modelId="{81473451-3FF3-474B-98FB-6869E5682468}">
      <dsp:nvSpPr>
        <dsp:cNvPr id="0" name=""/>
        <dsp:cNvSpPr/>
      </dsp:nvSpPr>
      <dsp:spPr>
        <a:xfrm>
          <a:off x="4003614" y="1792956"/>
          <a:ext cx="937996" cy="285974"/>
        </a:xfrm>
        <a:prstGeom prst="rect">
          <a:avLst/>
        </a:prstGeom>
        <a:solidFill>
          <a:schemeClr val="accent6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080" tIns="5080" rIns="5080" bIns="508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800" b="0" i="0" kern="1200" dirty="0">
              <a:latin typeface="Myriad Pro" panose="020B0503030403020204" pitchFamily="34" charset="0"/>
            </a:rPr>
            <a:t>Inception-V4</a:t>
          </a:r>
        </a:p>
      </dsp:txBody>
      <dsp:txXfrm>
        <a:off x="4003614" y="1792956"/>
        <a:ext cx="937996" cy="285974"/>
      </dsp:txXfrm>
    </dsp:sp>
    <dsp:sp modelId="{A732D3F1-1291-409E-9A7C-778CAE167F89}">
      <dsp:nvSpPr>
        <dsp:cNvPr id="0" name=""/>
        <dsp:cNvSpPr/>
      </dsp:nvSpPr>
      <dsp:spPr>
        <a:xfrm>
          <a:off x="4003614" y="2150424"/>
          <a:ext cx="937996" cy="285974"/>
        </a:xfrm>
        <a:prstGeom prst="rect">
          <a:avLst/>
        </a:prstGeom>
        <a:solidFill>
          <a:schemeClr val="accent6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080" tIns="5080" rIns="5080" bIns="508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800" b="0" i="0" kern="1200" dirty="0">
              <a:latin typeface="Myriad Pro" panose="020B0503030403020204" pitchFamily="34" charset="0"/>
            </a:rPr>
            <a:t>Inception-</a:t>
          </a:r>
          <a:r>
            <a:rPr lang="de-DE" sz="800" b="0" i="0" kern="1200" dirty="0" err="1">
              <a:latin typeface="Myriad Pro" panose="020B0503030403020204" pitchFamily="34" charset="0"/>
            </a:rPr>
            <a:t>ResNet</a:t>
          </a:r>
          <a:endParaRPr lang="de-DE" sz="800" b="0" i="0" kern="1200" dirty="0">
            <a:latin typeface="Myriad Pro" panose="020B0503030403020204" pitchFamily="34" charset="0"/>
          </a:endParaRPr>
        </a:p>
      </dsp:txBody>
      <dsp:txXfrm>
        <a:off x="4003614" y="2150424"/>
        <a:ext cx="937996" cy="285974"/>
      </dsp:txXfrm>
    </dsp:sp>
    <dsp:sp modelId="{42C465EB-33D9-4AD2-A33B-930C8E39ED41}">
      <dsp:nvSpPr>
        <dsp:cNvPr id="0" name=""/>
        <dsp:cNvSpPr/>
      </dsp:nvSpPr>
      <dsp:spPr>
        <a:xfrm>
          <a:off x="4003614" y="2507892"/>
          <a:ext cx="937996" cy="285974"/>
        </a:xfrm>
        <a:prstGeom prst="rect">
          <a:avLst/>
        </a:prstGeom>
        <a:solidFill>
          <a:schemeClr val="accent6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080" tIns="5080" rIns="5080" bIns="508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800" b="0" i="0" kern="1200" dirty="0" err="1">
              <a:latin typeface="Myriad Pro" panose="020B0503030403020204" pitchFamily="34" charset="0"/>
            </a:rPr>
            <a:t>ResNet</a:t>
          </a:r>
          <a:endParaRPr lang="de-DE" sz="800" b="0" i="0" kern="1200" dirty="0">
            <a:latin typeface="Myriad Pro" panose="020B0503030403020204" pitchFamily="34" charset="0"/>
          </a:endParaRPr>
        </a:p>
      </dsp:txBody>
      <dsp:txXfrm>
        <a:off x="4003614" y="2507892"/>
        <a:ext cx="937996" cy="285974"/>
      </dsp:txXfrm>
    </dsp:sp>
    <dsp:sp modelId="{84D7F889-3498-48D8-ADC3-14251347C81B}">
      <dsp:nvSpPr>
        <dsp:cNvPr id="0" name=""/>
        <dsp:cNvSpPr/>
      </dsp:nvSpPr>
      <dsp:spPr>
        <a:xfrm>
          <a:off x="4003614" y="2865360"/>
          <a:ext cx="937996" cy="285974"/>
        </a:xfrm>
        <a:prstGeom prst="rect">
          <a:avLst/>
        </a:prstGeom>
        <a:solidFill>
          <a:schemeClr val="accent6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080" tIns="5080" rIns="5080" bIns="508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800" b="0" i="0" kern="1200" dirty="0" err="1">
              <a:latin typeface="Myriad Pro" panose="020B0503030403020204" pitchFamily="34" charset="0"/>
            </a:rPr>
            <a:t>ResNext</a:t>
          </a:r>
          <a:endParaRPr lang="de-DE" sz="800" b="0" i="0" kern="1200" dirty="0">
            <a:latin typeface="Myriad Pro" panose="020B0503030403020204" pitchFamily="34" charset="0"/>
          </a:endParaRPr>
        </a:p>
      </dsp:txBody>
      <dsp:txXfrm>
        <a:off x="4003614" y="2865360"/>
        <a:ext cx="937996" cy="285974"/>
      </dsp:txXfrm>
    </dsp:sp>
    <dsp:sp modelId="{485D5E8B-1295-4B72-BF14-74B2BE7008EE}">
      <dsp:nvSpPr>
        <dsp:cNvPr id="0" name=""/>
        <dsp:cNvSpPr/>
      </dsp:nvSpPr>
      <dsp:spPr>
        <a:xfrm>
          <a:off x="2878018" y="2686626"/>
          <a:ext cx="937996" cy="285974"/>
        </a:xfrm>
        <a:prstGeom prst="rect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000" b="0" i="0" kern="1200" dirty="0" err="1">
              <a:latin typeface="Myriad Pro" panose="020B0503030403020204" pitchFamily="34" charset="0"/>
            </a:rPr>
            <a:t>Lernrate</a:t>
          </a:r>
          <a:endParaRPr lang="de-DE" sz="1000" b="0" i="0" kern="1200" dirty="0">
            <a:latin typeface="Myriad Pro" panose="020B0503030403020204" pitchFamily="34" charset="0"/>
          </a:endParaRPr>
        </a:p>
      </dsp:txBody>
      <dsp:txXfrm>
        <a:off x="2878018" y="2686626"/>
        <a:ext cx="937996" cy="285974"/>
      </dsp:txXfrm>
    </dsp:sp>
    <dsp:sp modelId="{43996E1E-6F52-4F8E-9F4B-77A56824C63C}">
      <dsp:nvSpPr>
        <dsp:cNvPr id="0" name=""/>
        <dsp:cNvSpPr/>
      </dsp:nvSpPr>
      <dsp:spPr>
        <a:xfrm>
          <a:off x="2878018" y="3044094"/>
          <a:ext cx="937996" cy="285974"/>
        </a:xfrm>
        <a:prstGeom prst="rect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000" b="0" i="0" kern="1200" dirty="0" err="1">
              <a:latin typeface="Myriad Pro" panose="020B0503030403020204" pitchFamily="34" charset="0"/>
            </a:rPr>
            <a:t>Augmentierung</a:t>
          </a:r>
          <a:endParaRPr lang="de-DE" sz="1000" b="0" i="0" kern="1200" dirty="0">
            <a:latin typeface="Myriad Pro" panose="020B0503030403020204" pitchFamily="34" charset="0"/>
          </a:endParaRPr>
        </a:p>
      </dsp:txBody>
      <dsp:txXfrm>
        <a:off x="2878018" y="3044094"/>
        <a:ext cx="937996" cy="285974"/>
      </dsp:txXfrm>
    </dsp:sp>
    <dsp:sp modelId="{6E154881-954A-429F-9BBE-E92EEB4B1011}">
      <dsp:nvSpPr>
        <dsp:cNvPr id="0" name=""/>
        <dsp:cNvSpPr/>
      </dsp:nvSpPr>
      <dsp:spPr>
        <a:xfrm>
          <a:off x="2878018" y="3401563"/>
          <a:ext cx="937996" cy="285974"/>
        </a:xfrm>
        <a:prstGeom prst="rect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000" b="0" i="0" kern="1200" dirty="0">
              <a:latin typeface="Myriad Pro" panose="020B0503030403020204" pitchFamily="34" charset="0"/>
            </a:rPr>
            <a:t>Loss-Funktion </a:t>
          </a:r>
        </a:p>
      </dsp:txBody>
      <dsp:txXfrm>
        <a:off x="2878018" y="3401563"/>
        <a:ext cx="937996" cy="285974"/>
      </dsp:txXfrm>
    </dsp:sp>
    <dsp:sp modelId="{E077FA3E-A654-4D27-8616-5CDDA43F8AF6}">
      <dsp:nvSpPr>
        <dsp:cNvPr id="0" name=""/>
        <dsp:cNvSpPr/>
      </dsp:nvSpPr>
      <dsp:spPr>
        <a:xfrm>
          <a:off x="1752422" y="3937765"/>
          <a:ext cx="937996" cy="285974"/>
        </a:xfrm>
        <a:prstGeom prst="rect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000" b="1" i="0" kern="1200" cap="none" baseline="0" dirty="0">
              <a:latin typeface="Myriad Pro" panose="020B0503030403020204" pitchFamily="34" charset="0"/>
            </a:rPr>
            <a:t>Multi-Netzwerk </a:t>
          </a:r>
          <a:endParaRPr lang="de-DE" sz="1000" b="0" i="0" kern="1200" dirty="0">
            <a:latin typeface="Myriad Pro" panose="020B0503030403020204" pitchFamily="34" charset="0"/>
          </a:endParaRPr>
        </a:p>
      </dsp:txBody>
      <dsp:txXfrm>
        <a:off x="1752422" y="3937765"/>
        <a:ext cx="937996" cy="285974"/>
      </dsp:txXfrm>
    </dsp:sp>
    <dsp:sp modelId="{768C7647-12EF-40E9-94EB-C1868C4AFE59}">
      <dsp:nvSpPr>
        <dsp:cNvPr id="0" name=""/>
        <dsp:cNvSpPr/>
      </dsp:nvSpPr>
      <dsp:spPr>
        <a:xfrm>
          <a:off x="2878018" y="3759031"/>
          <a:ext cx="937996" cy="285974"/>
        </a:xfrm>
        <a:prstGeom prst="rect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000" b="0" i="0" kern="1200" dirty="0">
              <a:latin typeface="Myriad Pro" panose="020B0503030403020204" pitchFamily="34" charset="0"/>
            </a:rPr>
            <a:t>U-Net</a:t>
          </a:r>
        </a:p>
      </dsp:txBody>
      <dsp:txXfrm>
        <a:off x="2878018" y="3759031"/>
        <a:ext cx="937996" cy="285974"/>
      </dsp:txXfrm>
    </dsp:sp>
    <dsp:sp modelId="{49B6876F-A108-4FF0-9A81-E34DBB9D0BD7}">
      <dsp:nvSpPr>
        <dsp:cNvPr id="0" name=""/>
        <dsp:cNvSpPr/>
      </dsp:nvSpPr>
      <dsp:spPr>
        <a:xfrm>
          <a:off x="2878018" y="4116499"/>
          <a:ext cx="937996" cy="285974"/>
        </a:xfrm>
        <a:prstGeom prst="rect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000" b="0" i="0" kern="1200" dirty="0">
              <a:latin typeface="Myriad Pro" panose="020B0503030403020204" pitchFamily="34" charset="0"/>
            </a:rPr>
            <a:t>YOLO</a:t>
          </a:r>
        </a:p>
      </dsp:txBody>
      <dsp:txXfrm>
        <a:off x="2878018" y="4116499"/>
        <a:ext cx="937996" cy="285974"/>
      </dsp:txXfrm>
    </dsp:sp>
    <dsp:sp modelId="{B3E59FB2-885F-4B71-9DC5-B6F45C8017DE}">
      <dsp:nvSpPr>
        <dsp:cNvPr id="0" name=""/>
        <dsp:cNvSpPr/>
      </dsp:nvSpPr>
      <dsp:spPr>
        <a:xfrm>
          <a:off x="1752422" y="4831436"/>
          <a:ext cx="937996" cy="285974"/>
        </a:xfrm>
        <a:prstGeom prst="rect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000" b="1" i="0" kern="1200" cap="none" baseline="0" dirty="0">
              <a:latin typeface="Myriad Pro" panose="020B0503030403020204" pitchFamily="34" charset="0"/>
            </a:rPr>
            <a:t>Ensembles </a:t>
          </a:r>
          <a:endParaRPr lang="de-DE" sz="1000" b="0" i="0" kern="1200" cap="none" baseline="0" dirty="0">
            <a:latin typeface="Myriad Pro" panose="020B0503030403020204" pitchFamily="34" charset="0"/>
          </a:endParaRPr>
        </a:p>
      </dsp:txBody>
      <dsp:txXfrm>
        <a:off x="1752422" y="4831436"/>
        <a:ext cx="937996" cy="285974"/>
      </dsp:txXfrm>
    </dsp:sp>
    <dsp:sp modelId="{9E81B654-57F3-4178-8807-AB7AAC7BE08E}">
      <dsp:nvSpPr>
        <dsp:cNvPr id="0" name=""/>
        <dsp:cNvSpPr/>
      </dsp:nvSpPr>
      <dsp:spPr>
        <a:xfrm>
          <a:off x="2878018" y="4473967"/>
          <a:ext cx="937996" cy="285974"/>
        </a:xfrm>
        <a:prstGeom prst="rect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000" b="0" i="0" kern="1200" dirty="0">
              <a:latin typeface="Myriad Pro" panose="020B0503030403020204" pitchFamily="34" charset="0"/>
            </a:rPr>
            <a:t>Homogen</a:t>
          </a:r>
        </a:p>
      </dsp:txBody>
      <dsp:txXfrm>
        <a:off x="2878018" y="4473967"/>
        <a:ext cx="937996" cy="285974"/>
      </dsp:txXfrm>
    </dsp:sp>
    <dsp:sp modelId="{0CCC40AA-D80B-4B90-9188-E5CA017E63B0}">
      <dsp:nvSpPr>
        <dsp:cNvPr id="0" name=""/>
        <dsp:cNvSpPr/>
      </dsp:nvSpPr>
      <dsp:spPr>
        <a:xfrm>
          <a:off x="2878018" y="4831436"/>
          <a:ext cx="937996" cy="285974"/>
        </a:xfrm>
        <a:prstGeom prst="rect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000" b="0" i="0" kern="1200" dirty="0">
              <a:latin typeface="Myriad Pro" panose="020B0503030403020204" pitchFamily="34" charset="0"/>
            </a:rPr>
            <a:t>Heterogen</a:t>
          </a:r>
        </a:p>
      </dsp:txBody>
      <dsp:txXfrm>
        <a:off x="2878018" y="4831436"/>
        <a:ext cx="937996" cy="285974"/>
      </dsp:txXfrm>
    </dsp:sp>
    <dsp:sp modelId="{E51A201A-58C4-4839-BBF3-03A3D4BA1DE9}">
      <dsp:nvSpPr>
        <dsp:cNvPr id="0" name=""/>
        <dsp:cNvSpPr/>
      </dsp:nvSpPr>
      <dsp:spPr>
        <a:xfrm>
          <a:off x="2878018" y="5188904"/>
          <a:ext cx="937996" cy="285974"/>
        </a:xfrm>
        <a:prstGeom prst="rect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000" b="0" i="0" kern="1200" dirty="0" err="1">
              <a:latin typeface="Myriad Pro" panose="020B0503030403020204" pitchFamily="34" charset="0"/>
            </a:rPr>
            <a:t>Expizit</a:t>
          </a:r>
          <a:r>
            <a:rPr lang="de-DE" sz="1000" b="0" i="0" kern="1200" dirty="0">
              <a:latin typeface="Myriad Pro" panose="020B0503030403020204" pitchFamily="34" charset="0"/>
            </a:rPr>
            <a:t> </a:t>
          </a:r>
        </a:p>
      </dsp:txBody>
      <dsp:txXfrm>
        <a:off x="2878018" y="5188904"/>
        <a:ext cx="937996" cy="285974"/>
      </dsp:txXfrm>
    </dsp:sp>
  </dsp:spTree>
</dsp:drawing>
</file>

<file path=ppt/diagrams/drawing9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D37291B-5548-4F1B-8F2F-200AE5B0DCAE}">
      <dsp:nvSpPr>
        <dsp:cNvPr id="0" name=""/>
        <dsp:cNvSpPr/>
      </dsp:nvSpPr>
      <dsp:spPr>
        <a:xfrm>
          <a:off x="287092" y="1085850"/>
          <a:ext cx="178076" cy="588930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89038" y="0"/>
              </a:lnTo>
              <a:lnTo>
                <a:pt x="89038" y="588930"/>
              </a:lnTo>
              <a:lnTo>
                <a:pt x="178076" y="588930"/>
              </a:lnTo>
            </a:path>
          </a:pathLst>
        </a:custGeom>
        <a:noFill/>
        <a:ln w="12700" cap="flat" cmpd="sng" algn="ctr">
          <a:solidFill>
            <a:schemeClr val="accent4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500" kern="1200"/>
        </a:p>
      </dsp:txBody>
      <dsp:txXfrm>
        <a:off x="360748" y="1364934"/>
        <a:ext cx="30763" cy="30763"/>
      </dsp:txXfrm>
    </dsp:sp>
    <dsp:sp modelId="{BE328E0A-C287-4B1A-BD90-C0F3098FFCD9}">
      <dsp:nvSpPr>
        <dsp:cNvPr id="0" name=""/>
        <dsp:cNvSpPr/>
      </dsp:nvSpPr>
      <dsp:spPr>
        <a:xfrm>
          <a:off x="287092" y="486726"/>
          <a:ext cx="180190" cy="599124"/>
        </a:xfrm>
        <a:custGeom>
          <a:avLst/>
          <a:gdLst/>
          <a:ahLst/>
          <a:cxnLst/>
          <a:rect l="0" t="0" r="0" b="0"/>
          <a:pathLst>
            <a:path>
              <a:moveTo>
                <a:pt x="0" y="599124"/>
              </a:moveTo>
              <a:lnTo>
                <a:pt x="90095" y="599124"/>
              </a:lnTo>
              <a:lnTo>
                <a:pt x="90095" y="0"/>
              </a:lnTo>
              <a:lnTo>
                <a:pt x="180190" y="0"/>
              </a:lnTo>
            </a:path>
          </a:pathLst>
        </a:custGeom>
        <a:noFill/>
        <a:ln w="12700" cap="flat" cmpd="sng" algn="ctr">
          <a:solidFill>
            <a:schemeClr val="accent4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500" kern="1200"/>
        </a:p>
      </dsp:txBody>
      <dsp:txXfrm>
        <a:off x="361546" y="770647"/>
        <a:ext cx="31281" cy="31281"/>
      </dsp:txXfrm>
    </dsp:sp>
    <dsp:sp modelId="{DCF5B4EF-DE4F-4292-A3B2-724C163A44AB}">
      <dsp:nvSpPr>
        <dsp:cNvPr id="0" name=""/>
        <dsp:cNvSpPr/>
      </dsp:nvSpPr>
      <dsp:spPr>
        <a:xfrm rot="16200000">
          <a:off x="-610102" y="942600"/>
          <a:ext cx="1507890" cy="286499"/>
        </a:xfrm>
        <a:prstGeom prst="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400" b="0" i="0" kern="1200" dirty="0">
              <a:latin typeface="Myriad Pro" panose="020B0503030403020204" pitchFamily="34" charset="0"/>
            </a:rPr>
            <a:t>Eingabebild </a:t>
          </a:r>
        </a:p>
      </dsp:txBody>
      <dsp:txXfrm>
        <a:off x="-610102" y="942600"/>
        <a:ext cx="1507890" cy="286499"/>
      </dsp:txXfrm>
    </dsp:sp>
    <dsp:sp modelId="{49ADAAAB-354D-4968-9DE9-378E6595E5BB}">
      <dsp:nvSpPr>
        <dsp:cNvPr id="0" name=""/>
        <dsp:cNvSpPr/>
      </dsp:nvSpPr>
      <dsp:spPr>
        <a:xfrm>
          <a:off x="467283" y="343476"/>
          <a:ext cx="939717" cy="286499"/>
        </a:xfrm>
        <a:prstGeom prst="rect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000" b="0" i="0" kern="1200" cap="none" baseline="0" dirty="0" err="1">
              <a:latin typeface="Myriad Pro" panose="020B0503030403020204" pitchFamily="34" charset="0"/>
            </a:rPr>
            <a:t>Supervised</a:t>
          </a:r>
          <a:endParaRPr lang="de-DE" sz="1000" b="0" i="0" kern="1200" cap="none" baseline="0" dirty="0">
            <a:latin typeface="Myriad Pro" panose="020B0503030403020204" pitchFamily="34" charset="0"/>
          </a:endParaRPr>
        </a:p>
      </dsp:txBody>
      <dsp:txXfrm>
        <a:off x="467283" y="343476"/>
        <a:ext cx="939717" cy="286499"/>
      </dsp:txXfrm>
    </dsp:sp>
    <dsp:sp modelId="{E077FA3E-A654-4D27-8616-5CDDA43F8AF6}">
      <dsp:nvSpPr>
        <dsp:cNvPr id="0" name=""/>
        <dsp:cNvSpPr/>
      </dsp:nvSpPr>
      <dsp:spPr>
        <a:xfrm>
          <a:off x="465168" y="1531531"/>
          <a:ext cx="939717" cy="286499"/>
        </a:xfrm>
        <a:prstGeom prst="rect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000" b="0" i="0" kern="1200" dirty="0" err="1">
              <a:latin typeface="Myriad Pro" panose="020B0503030403020204" pitchFamily="34" charset="0"/>
            </a:rPr>
            <a:t>Unsupervised</a:t>
          </a:r>
          <a:endParaRPr lang="de-DE" sz="1000" b="0" i="0" kern="1200" dirty="0">
            <a:latin typeface="Myriad Pro" panose="020B0503030403020204" pitchFamily="34" charset="0"/>
          </a:endParaRPr>
        </a:p>
      </dsp:txBody>
      <dsp:txXfrm>
        <a:off x="465168" y="1531531"/>
        <a:ext cx="939717" cy="286499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8/layout/HorizontalMultiLevelHierarchy">
  <dgm:title val=""/>
  <dgm:desc val=""/>
  <dgm:catLst>
    <dgm:cat type="hierarchy" pri="46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 val="exact"/>
    </dgm:varLst>
    <dgm:choose name="Name1">
      <dgm:if name="Name2" func="var" arg="dir" op="equ" val="norm">
        <dgm:alg type="hierChild">
          <dgm:param type="linDir" val="fromT"/>
          <dgm:param type="chAlign" val="l"/>
        </dgm:alg>
      </dgm:if>
      <dgm:else name="Name3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des" forName="LevelOneTextNode" refType="h"/>
      <dgm:constr type="w" for="des" forName="LevelOneTextNode" refType="h" refFor="des" refForName="LevelOneTextNode" fact="0.19"/>
      <dgm:constr type="h" for="des" forName="LevelTwoTextNode" refType="w" refFor="des" refForName="LevelOneTextNode"/>
      <dgm:constr type="w" for="des" forName="LevelTwoTextNode" refType="h" refFor="des" refForName="LevelTwoTextNode" fact="3.28"/>
      <dgm:constr type="sibSp" refType="h" refFor="des" refForName="LevelTwoTextNode" op="equ" fact="0.25"/>
      <dgm:constr type="sibSp" for="des" forName="level2hierChild" refType="h" refFor="des" refForName="LevelTwoTextNode" op="equ" fact="0.25"/>
      <dgm:constr type="sibSp" for="des" forName="level3hierChild" refType="h" refFor="des" refForName="LevelTwoTextNode" op="equ" fact="0.25"/>
      <dgm:constr type="sp" for="des" forName="root1" refType="w" refFor="des" refForName="LevelTwoTextNode" fact="0.2"/>
      <dgm:constr type="sp" for="des" forName="root2" refType="sp" refFor="des" refForName="root1" op="equ"/>
      <dgm:constr type="primFontSz" for="des" forName="LevelOneTextNode" op="equ" val="65"/>
      <dgm:constr type="primFontSz" for="des" forName="LevelTwoTextNode" op="equ" val="65"/>
      <dgm:constr type="primFontSz" for="des" forName="LevelTwoTextNode" refType="primFontSz" refFor="des" refForName="LevelOneTextNode" op="lte"/>
      <dgm:constr type="primFontSz" for="des" forName="connTx" op="equ" val="50"/>
      <dgm:constr type="primFontSz" for="des" forName="connTx" refType="primFontSz" refFor="des" refForName="LevelOneTextNode" op="lte" fact="0.78"/>
    </dgm:constrLst>
    <dgm:forEach name="Name4" axis="ch">
      <dgm:forEach name="Name5" axis="self" ptType="node">
        <dgm:layoutNode name="root1">
          <dgm:choose name="Name6">
            <dgm:if name="Name7" func="var" arg="dir" op="equ" val="norm">
              <dgm:alg type="hierRoot">
                <dgm:param type="hierAlign" val="lCtrCh"/>
              </dgm:alg>
            </dgm:if>
            <dgm:else name="Name8">
              <dgm:alg type="hierRoot">
                <dgm:param type="hierAlign" val="rCtrCh"/>
              </dgm:alg>
            </dgm:else>
          </dgm:choose>
          <dgm:shape xmlns:r="http://schemas.openxmlformats.org/officeDocument/2006/relationships" r:blip="">
            <dgm:adjLst/>
          </dgm:shape>
          <dgm:presOf/>
          <dgm:layoutNode name="LevelOneTextNode" styleLbl="node0">
            <dgm:varLst>
              <dgm:chPref val="3"/>
            </dgm:varLst>
            <dgm:alg type="tx">
              <dgm:param type="autoTxRot" val="grav"/>
            </dgm:alg>
            <dgm:choose name="Name9">
              <dgm:if name="Name10" func="var" arg="dir" op="equ" val="norm">
                <dgm:shape xmlns:r="http://schemas.openxmlformats.org/officeDocument/2006/relationships" rot="270" type="rect" r:blip="">
                  <dgm:adjLst/>
                </dgm:shape>
              </dgm:if>
              <dgm:else name="Name11">
                <dgm:shape xmlns:r="http://schemas.openxmlformats.org/officeDocument/2006/relationships" rot="90" type="rect" r:blip="">
                  <dgm:adjLst/>
                </dgm:shape>
              </dgm:else>
            </dgm:choose>
            <dgm:presOf axis="self"/>
            <dgm:constrLst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2" fact="NaN" max="NaN"/>
            </dgm:ruleLst>
          </dgm:layoutNode>
          <dgm:layoutNode name="level2hierChild">
            <dgm:choose name="Name12">
              <dgm:if name="Name13" func="var" arg="dir" op="equ" val="norm">
                <dgm:alg type="hierChild">
                  <dgm:param type="linDir" val="fromT"/>
                  <dgm:param type="chAlign" val="l"/>
                </dgm:alg>
              </dgm:if>
              <dgm:else name="Name14">
                <dgm:alg type="hierChild">
                  <dgm:param type="linDir" val="fromT"/>
                  <dgm:param type="chAlign" val="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forEach name="repeat" axis="ch">
              <dgm:forEach name="Name15" axis="self" ptType="parTrans" cnt="1">
                <dgm:layoutNode name="conn2-1">
                  <dgm:choose name="Name16">
                    <dgm:if name="Name17" func="var" arg="dir" op="equ" val="norm">
                      <dgm:alg type="conn">
                        <dgm:param type="dim" val="1D"/>
                        <dgm:param type="begPts" val="midR"/>
                        <dgm:param type="endPts" val="midL"/>
                        <dgm:param type="endSty" val="noArr"/>
                        <dgm:param type="connRout" val="bend"/>
                      </dgm:alg>
                    </dgm:if>
                    <dgm:else name="Name18">
                      <dgm:alg type="conn">
                        <dgm:param type="dim" val="1D"/>
                        <dgm:param type="begPts" val="midL"/>
                        <dgm:param type="endPts" val="midR"/>
                        <dgm:param type="endSty" val="noArr"/>
                        <dgm:param type="connRout" val="bend"/>
                      </dgm:alg>
                    </dgm:else>
                  </dgm:choose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w" val="1"/>
                    <dgm:constr type="h" val="5"/>
                    <dgm:constr type="connDist"/>
                    <dgm:constr type="begPad"/>
                    <dgm:constr type="endPad"/>
                    <dgm:constr type="userA" for="ch" refType="connDist"/>
                  </dgm:constrLst>
                  <dgm:layoutNode name="connTx">
                    <dgm:alg type="tx">
                      <dgm:param type="autoTxRot" val="grav"/>
                    </dgm:alg>
                    <dgm:shape xmlns:r="http://schemas.openxmlformats.org/officeDocument/2006/relationships" type="rect" r:blip="" hideGeom="1">
                      <dgm:adjLst/>
                    </dgm:shape>
                    <dgm:presOf axis="self"/>
                    <dgm:constrLst>
                      <dgm:constr type="userA"/>
                      <dgm:constr type="w" refType="userA" fact="0.05"/>
                      <dgm:constr type="h" refType="userA" fact="0.05"/>
                      <dgm:constr type="lMarg" val="1"/>
                      <dgm:constr type="rMarg" val="1"/>
                      <dgm:constr type="tMarg"/>
                      <dgm:constr type="bMarg"/>
                    </dgm:constrLst>
                    <dgm:ruleLst>
                      <dgm:rule type="h" val="NaN" fact="0.25" max="NaN"/>
                      <dgm:rule type="w" val="NaN" fact="0.8" max="NaN"/>
                      <dgm:rule type="primFontSz" val="5" fact="NaN" max="NaN"/>
                    </dgm:ruleLst>
                  </dgm:layoutNode>
                </dgm:layoutNode>
              </dgm:forEach>
              <dgm:forEach name="Name19" axis="self" ptType="node">
                <dgm:layoutNode name="root2">
                  <dgm:choose name="Name20">
                    <dgm:if name="Name21" func="var" arg="dir" op="equ" val="norm">
                      <dgm:alg type="hierRoot">
                        <dgm:param type="hierAlign" val="lCtrCh"/>
                      </dgm:alg>
                    </dgm:if>
                    <dgm:else name="Name22">
                      <dgm:alg type="hierRoot">
                        <dgm:param type="hierAlign" val="rCtrCh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layoutNode name="LevelTwoTextNode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/>
                    <dgm:constrLst>
                      <dgm:constr type="tMarg" refType="primFontSz" fact="0.05"/>
                      <dgm:constr type="bMarg" refType="primFontSz" fact="0.05"/>
                      <dgm:constr type="lMarg" refType="primFontSz" fact="0.05"/>
                      <dgm:constr type="rMarg" refType="primFontSz" fact="0.05"/>
                    </dgm:constrLst>
                    <dgm:ruleLst>
                      <dgm:rule type="primFontSz" val="2" fact="NaN" max="NaN"/>
                    </dgm:ruleLst>
                  </dgm:layoutNode>
                  <dgm:layoutNode name="level3hierChild">
                    <dgm:choose name="Name23">
                      <dgm:if name="Name24" func="var" arg="dir" op="equ" val="norm">
                        <dgm:alg type="hierChild">
                          <dgm:param type="linDir" val="fromT"/>
                          <dgm:param type="chAlign" val="l"/>
                        </dgm:alg>
                      </dgm:if>
                      <dgm:else name="Name25">
                        <dgm:alg type="hierChild">
                          <dgm:param type="linDir" val="fromT"/>
                          <dgm:param type="chAlign" val="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forEach name="Name26" ref="repeat"/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10.xml><?xml version="1.0" encoding="utf-8"?>
<dgm:layoutDef xmlns:dgm="http://schemas.openxmlformats.org/drawingml/2006/diagram" xmlns:a="http://schemas.openxmlformats.org/drawingml/2006/main" uniqueId="urn:microsoft.com/office/officeart/2008/layout/HorizontalMultiLevelHierarchy">
  <dgm:title val=""/>
  <dgm:desc val=""/>
  <dgm:catLst>
    <dgm:cat type="hierarchy" pri="46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 val="exact"/>
    </dgm:varLst>
    <dgm:choose name="Name1">
      <dgm:if name="Name2" func="var" arg="dir" op="equ" val="norm">
        <dgm:alg type="hierChild">
          <dgm:param type="linDir" val="fromT"/>
          <dgm:param type="chAlign" val="l"/>
        </dgm:alg>
      </dgm:if>
      <dgm:else name="Name3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des" forName="LevelOneTextNode" refType="h"/>
      <dgm:constr type="w" for="des" forName="LevelOneTextNode" refType="h" refFor="des" refForName="LevelOneTextNode" fact="0.19"/>
      <dgm:constr type="h" for="des" forName="LevelTwoTextNode" refType="w" refFor="des" refForName="LevelOneTextNode"/>
      <dgm:constr type="w" for="des" forName="LevelTwoTextNode" refType="h" refFor="des" refForName="LevelTwoTextNode" fact="3.28"/>
      <dgm:constr type="sibSp" refType="h" refFor="des" refForName="LevelTwoTextNode" op="equ" fact="0.25"/>
      <dgm:constr type="sibSp" for="des" forName="level2hierChild" refType="h" refFor="des" refForName="LevelTwoTextNode" op="equ" fact="0.25"/>
      <dgm:constr type="sibSp" for="des" forName="level3hierChild" refType="h" refFor="des" refForName="LevelTwoTextNode" op="equ" fact="0.25"/>
      <dgm:constr type="sp" for="des" forName="root1" refType="w" refFor="des" refForName="LevelTwoTextNode" fact="0.2"/>
      <dgm:constr type="sp" for="des" forName="root2" refType="sp" refFor="des" refForName="root1" op="equ"/>
      <dgm:constr type="primFontSz" for="des" forName="LevelOneTextNode" op="equ" val="65"/>
      <dgm:constr type="primFontSz" for="des" forName="LevelTwoTextNode" op="equ" val="65"/>
      <dgm:constr type="primFontSz" for="des" forName="LevelTwoTextNode" refType="primFontSz" refFor="des" refForName="LevelOneTextNode" op="lte"/>
      <dgm:constr type="primFontSz" for="des" forName="connTx" op="equ" val="50"/>
      <dgm:constr type="primFontSz" for="des" forName="connTx" refType="primFontSz" refFor="des" refForName="LevelOneTextNode" op="lte" fact="0.78"/>
    </dgm:constrLst>
    <dgm:forEach name="Name4" axis="ch">
      <dgm:forEach name="Name5" axis="self" ptType="node">
        <dgm:layoutNode name="root1">
          <dgm:choose name="Name6">
            <dgm:if name="Name7" func="var" arg="dir" op="equ" val="norm">
              <dgm:alg type="hierRoot">
                <dgm:param type="hierAlign" val="lCtrCh"/>
              </dgm:alg>
            </dgm:if>
            <dgm:else name="Name8">
              <dgm:alg type="hierRoot">
                <dgm:param type="hierAlign" val="rCtrCh"/>
              </dgm:alg>
            </dgm:else>
          </dgm:choose>
          <dgm:shape xmlns:r="http://schemas.openxmlformats.org/officeDocument/2006/relationships" r:blip="">
            <dgm:adjLst/>
          </dgm:shape>
          <dgm:presOf/>
          <dgm:layoutNode name="LevelOneTextNode" styleLbl="node0">
            <dgm:varLst>
              <dgm:chPref val="3"/>
            </dgm:varLst>
            <dgm:alg type="tx">
              <dgm:param type="autoTxRot" val="grav"/>
            </dgm:alg>
            <dgm:choose name="Name9">
              <dgm:if name="Name10" func="var" arg="dir" op="equ" val="norm">
                <dgm:shape xmlns:r="http://schemas.openxmlformats.org/officeDocument/2006/relationships" rot="270" type="rect" r:blip="">
                  <dgm:adjLst/>
                </dgm:shape>
              </dgm:if>
              <dgm:else name="Name11">
                <dgm:shape xmlns:r="http://schemas.openxmlformats.org/officeDocument/2006/relationships" rot="90" type="rect" r:blip="">
                  <dgm:adjLst/>
                </dgm:shape>
              </dgm:else>
            </dgm:choose>
            <dgm:presOf axis="self"/>
            <dgm:constrLst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2" fact="NaN" max="NaN"/>
            </dgm:ruleLst>
          </dgm:layoutNode>
          <dgm:layoutNode name="level2hierChild">
            <dgm:choose name="Name12">
              <dgm:if name="Name13" func="var" arg="dir" op="equ" val="norm">
                <dgm:alg type="hierChild">
                  <dgm:param type="linDir" val="fromT"/>
                  <dgm:param type="chAlign" val="l"/>
                </dgm:alg>
              </dgm:if>
              <dgm:else name="Name14">
                <dgm:alg type="hierChild">
                  <dgm:param type="linDir" val="fromT"/>
                  <dgm:param type="chAlign" val="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forEach name="repeat" axis="ch">
              <dgm:forEach name="Name15" axis="self" ptType="parTrans" cnt="1">
                <dgm:layoutNode name="conn2-1">
                  <dgm:choose name="Name16">
                    <dgm:if name="Name17" func="var" arg="dir" op="equ" val="norm">
                      <dgm:alg type="conn">
                        <dgm:param type="dim" val="1D"/>
                        <dgm:param type="begPts" val="midR"/>
                        <dgm:param type="endPts" val="midL"/>
                        <dgm:param type="endSty" val="noArr"/>
                        <dgm:param type="connRout" val="bend"/>
                      </dgm:alg>
                    </dgm:if>
                    <dgm:else name="Name18">
                      <dgm:alg type="conn">
                        <dgm:param type="dim" val="1D"/>
                        <dgm:param type="begPts" val="midL"/>
                        <dgm:param type="endPts" val="midR"/>
                        <dgm:param type="endSty" val="noArr"/>
                        <dgm:param type="connRout" val="bend"/>
                      </dgm:alg>
                    </dgm:else>
                  </dgm:choose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w" val="1"/>
                    <dgm:constr type="h" val="5"/>
                    <dgm:constr type="connDist"/>
                    <dgm:constr type="begPad"/>
                    <dgm:constr type="endPad"/>
                    <dgm:constr type="userA" for="ch" refType="connDist"/>
                  </dgm:constrLst>
                  <dgm:layoutNode name="connTx">
                    <dgm:alg type="tx">
                      <dgm:param type="autoTxRot" val="grav"/>
                    </dgm:alg>
                    <dgm:shape xmlns:r="http://schemas.openxmlformats.org/officeDocument/2006/relationships" type="rect" r:blip="" hideGeom="1">
                      <dgm:adjLst/>
                    </dgm:shape>
                    <dgm:presOf axis="self"/>
                    <dgm:constrLst>
                      <dgm:constr type="userA"/>
                      <dgm:constr type="w" refType="userA" fact="0.05"/>
                      <dgm:constr type="h" refType="userA" fact="0.05"/>
                      <dgm:constr type="lMarg" val="1"/>
                      <dgm:constr type="rMarg" val="1"/>
                      <dgm:constr type="tMarg"/>
                      <dgm:constr type="bMarg"/>
                    </dgm:constrLst>
                    <dgm:ruleLst>
                      <dgm:rule type="h" val="NaN" fact="0.25" max="NaN"/>
                      <dgm:rule type="w" val="NaN" fact="0.8" max="NaN"/>
                      <dgm:rule type="primFontSz" val="5" fact="NaN" max="NaN"/>
                    </dgm:ruleLst>
                  </dgm:layoutNode>
                </dgm:layoutNode>
              </dgm:forEach>
              <dgm:forEach name="Name19" axis="self" ptType="node">
                <dgm:layoutNode name="root2">
                  <dgm:choose name="Name20">
                    <dgm:if name="Name21" func="var" arg="dir" op="equ" val="norm">
                      <dgm:alg type="hierRoot">
                        <dgm:param type="hierAlign" val="lCtrCh"/>
                      </dgm:alg>
                    </dgm:if>
                    <dgm:else name="Name22">
                      <dgm:alg type="hierRoot">
                        <dgm:param type="hierAlign" val="rCtrCh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layoutNode name="LevelTwoTextNode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/>
                    <dgm:constrLst>
                      <dgm:constr type="tMarg" refType="primFontSz" fact="0.05"/>
                      <dgm:constr type="bMarg" refType="primFontSz" fact="0.05"/>
                      <dgm:constr type="lMarg" refType="primFontSz" fact="0.05"/>
                      <dgm:constr type="rMarg" refType="primFontSz" fact="0.05"/>
                    </dgm:constrLst>
                    <dgm:ruleLst>
                      <dgm:rule type="primFontSz" val="2" fact="NaN" max="NaN"/>
                    </dgm:ruleLst>
                  </dgm:layoutNode>
                  <dgm:layoutNode name="level3hierChild">
                    <dgm:choose name="Name23">
                      <dgm:if name="Name24" func="var" arg="dir" op="equ" val="norm">
                        <dgm:alg type="hierChild">
                          <dgm:param type="linDir" val="fromT"/>
                          <dgm:param type="chAlign" val="l"/>
                        </dgm:alg>
                      </dgm:if>
                      <dgm:else name="Name25">
                        <dgm:alg type="hierChild">
                          <dgm:param type="linDir" val="fromT"/>
                          <dgm:param type="chAlign" val="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forEach name="Name26" ref="repeat"/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11.xml><?xml version="1.0" encoding="utf-8"?>
<dgm:layoutDef xmlns:dgm="http://schemas.openxmlformats.org/drawingml/2006/diagram" xmlns:a="http://schemas.openxmlformats.org/drawingml/2006/main" uniqueId="urn:microsoft.com/office/officeart/2008/layout/HorizontalMultiLevelHierarchy">
  <dgm:title val=""/>
  <dgm:desc val=""/>
  <dgm:catLst>
    <dgm:cat type="hierarchy" pri="46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 val="exact"/>
    </dgm:varLst>
    <dgm:choose name="Name1">
      <dgm:if name="Name2" func="var" arg="dir" op="equ" val="norm">
        <dgm:alg type="hierChild">
          <dgm:param type="linDir" val="fromT"/>
          <dgm:param type="chAlign" val="l"/>
        </dgm:alg>
      </dgm:if>
      <dgm:else name="Name3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des" forName="LevelOneTextNode" refType="h"/>
      <dgm:constr type="w" for="des" forName="LevelOneTextNode" refType="h" refFor="des" refForName="LevelOneTextNode" fact="0.19"/>
      <dgm:constr type="h" for="des" forName="LevelTwoTextNode" refType="w" refFor="des" refForName="LevelOneTextNode"/>
      <dgm:constr type="w" for="des" forName="LevelTwoTextNode" refType="h" refFor="des" refForName="LevelTwoTextNode" fact="3.28"/>
      <dgm:constr type="sibSp" refType="h" refFor="des" refForName="LevelTwoTextNode" op="equ" fact="0.25"/>
      <dgm:constr type="sibSp" for="des" forName="level2hierChild" refType="h" refFor="des" refForName="LevelTwoTextNode" op="equ" fact="0.25"/>
      <dgm:constr type="sibSp" for="des" forName="level3hierChild" refType="h" refFor="des" refForName="LevelTwoTextNode" op="equ" fact="0.25"/>
      <dgm:constr type="sp" for="des" forName="root1" refType="w" refFor="des" refForName="LevelTwoTextNode" fact="0.2"/>
      <dgm:constr type="sp" for="des" forName="root2" refType="sp" refFor="des" refForName="root1" op="equ"/>
      <dgm:constr type="primFontSz" for="des" forName="LevelOneTextNode" op="equ" val="65"/>
      <dgm:constr type="primFontSz" for="des" forName="LevelTwoTextNode" op="equ" val="65"/>
      <dgm:constr type="primFontSz" for="des" forName="LevelTwoTextNode" refType="primFontSz" refFor="des" refForName="LevelOneTextNode" op="lte"/>
      <dgm:constr type="primFontSz" for="des" forName="connTx" op="equ" val="50"/>
      <dgm:constr type="primFontSz" for="des" forName="connTx" refType="primFontSz" refFor="des" refForName="LevelOneTextNode" op="lte" fact="0.78"/>
    </dgm:constrLst>
    <dgm:forEach name="Name4" axis="ch">
      <dgm:forEach name="Name5" axis="self" ptType="node">
        <dgm:layoutNode name="root1">
          <dgm:choose name="Name6">
            <dgm:if name="Name7" func="var" arg="dir" op="equ" val="norm">
              <dgm:alg type="hierRoot">
                <dgm:param type="hierAlign" val="lCtrCh"/>
              </dgm:alg>
            </dgm:if>
            <dgm:else name="Name8">
              <dgm:alg type="hierRoot">
                <dgm:param type="hierAlign" val="rCtrCh"/>
              </dgm:alg>
            </dgm:else>
          </dgm:choose>
          <dgm:shape xmlns:r="http://schemas.openxmlformats.org/officeDocument/2006/relationships" r:blip="">
            <dgm:adjLst/>
          </dgm:shape>
          <dgm:presOf/>
          <dgm:layoutNode name="LevelOneTextNode" styleLbl="node0">
            <dgm:varLst>
              <dgm:chPref val="3"/>
            </dgm:varLst>
            <dgm:alg type="tx">
              <dgm:param type="autoTxRot" val="grav"/>
            </dgm:alg>
            <dgm:choose name="Name9">
              <dgm:if name="Name10" func="var" arg="dir" op="equ" val="norm">
                <dgm:shape xmlns:r="http://schemas.openxmlformats.org/officeDocument/2006/relationships" rot="270" type="rect" r:blip="">
                  <dgm:adjLst/>
                </dgm:shape>
              </dgm:if>
              <dgm:else name="Name11">
                <dgm:shape xmlns:r="http://schemas.openxmlformats.org/officeDocument/2006/relationships" rot="90" type="rect" r:blip="">
                  <dgm:adjLst/>
                </dgm:shape>
              </dgm:else>
            </dgm:choose>
            <dgm:presOf axis="self"/>
            <dgm:constrLst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2" fact="NaN" max="NaN"/>
            </dgm:ruleLst>
          </dgm:layoutNode>
          <dgm:layoutNode name="level2hierChild">
            <dgm:choose name="Name12">
              <dgm:if name="Name13" func="var" arg="dir" op="equ" val="norm">
                <dgm:alg type="hierChild">
                  <dgm:param type="linDir" val="fromT"/>
                  <dgm:param type="chAlign" val="l"/>
                </dgm:alg>
              </dgm:if>
              <dgm:else name="Name14">
                <dgm:alg type="hierChild">
                  <dgm:param type="linDir" val="fromT"/>
                  <dgm:param type="chAlign" val="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forEach name="repeat" axis="ch">
              <dgm:forEach name="Name15" axis="self" ptType="parTrans" cnt="1">
                <dgm:layoutNode name="conn2-1">
                  <dgm:choose name="Name16">
                    <dgm:if name="Name17" func="var" arg="dir" op="equ" val="norm">
                      <dgm:alg type="conn">
                        <dgm:param type="dim" val="1D"/>
                        <dgm:param type="begPts" val="midR"/>
                        <dgm:param type="endPts" val="midL"/>
                        <dgm:param type="endSty" val="noArr"/>
                        <dgm:param type="connRout" val="bend"/>
                      </dgm:alg>
                    </dgm:if>
                    <dgm:else name="Name18">
                      <dgm:alg type="conn">
                        <dgm:param type="dim" val="1D"/>
                        <dgm:param type="begPts" val="midL"/>
                        <dgm:param type="endPts" val="midR"/>
                        <dgm:param type="endSty" val="noArr"/>
                        <dgm:param type="connRout" val="bend"/>
                      </dgm:alg>
                    </dgm:else>
                  </dgm:choose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w" val="1"/>
                    <dgm:constr type="h" val="5"/>
                    <dgm:constr type="connDist"/>
                    <dgm:constr type="begPad"/>
                    <dgm:constr type="endPad"/>
                    <dgm:constr type="userA" for="ch" refType="connDist"/>
                  </dgm:constrLst>
                  <dgm:layoutNode name="connTx">
                    <dgm:alg type="tx">
                      <dgm:param type="autoTxRot" val="grav"/>
                    </dgm:alg>
                    <dgm:shape xmlns:r="http://schemas.openxmlformats.org/officeDocument/2006/relationships" type="rect" r:blip="" hideGeom="1">
                      <dgm:adjLst/>
                    </dgm:shape>
                    <dgm:presOf axis="self"/>
                    <dgm:constrLst>
                      <dgm:constr type="userA"/>
                      <dgm:constr type="w" refType="userA" fact="0.05"/>
                      <dgm:constr type="h" refType="userA" fact="0.05"/>
                      <dgm:constr type="lMarg" val="1"/>
                      <dgm:constr type="rMarg" val="1"/>
                      <dgm:constr type="tMarg"/>
                      <dgm:constr type="bMarg"/>
                    </dgm:constrLst>
                    <dgm:ruleLst>
                      <dgm:rule type="h" val="NaN" fact="0.25" max="NaN"/>
                      <dgm:rule type="w" val="NaN" fact="0.8" max="NaN"/>
                      <dgm:rule type="primFontSz" val="5" fact="NaN" max="NaN"/>
                    </dgm:ruleLst>
                  </dgm:layoutNode>
                </dgm:layoutNode>
              </dgm:forEach>
              <dgm:forEach name="Name19" axis="self" ptType="node">
                <dgm:layoutNode name="root2">
                  <dgm:choose name="Name20">
                    <dgm:if name="Name21" func="var" arg="dir" op="equ" val="norm">
                      <dgm:alg type="hierRoot">
                        <dgm:param type="hierAlign" val="lCtrCh"/>
                      </dgm:alg>
                    </dgm:if>
                    <dgm:else name="Name22">
                      <dgm:alg type="hierRoot">
                        <dgm:param type="hierAlign" val="rCtrCh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layoutNode name="LevelTwoTextNode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/>
                    <dgm:constrLst>
                      <dgm:constr type="tMarg" refType="primFontSz" fact="0.05"/>
                      <dgm:constr type="bMarg" refType="primFontSz" fact="0.05"/>
                      <dgm:constr type="lMarg" refType="primFontSz" fact="0.05"/>
                      <dgm:constr type="rMarg" refType="primFontSz" fact="0.05"/>
                    </dgm:constrLst>
                    <dgm:ruleLst>
                      <dgm:rule type="primFontSz" val="2" fact="NaN" max="NaN"/>
                    </dgm:ruleLst>
                  </dgm:layoutNode>
                  <dgm:layoutNode name="level3hierChild">
                    <dgm:choose name="Name23">
                      <dgm:if name="Name24" func="var" arg="dir" op="equ" val="norm">
                        <dgm:alg type="hierChild">
                          <dgm:param type="linDir" val="fromT"/>
                          <dgm:param type="chAlign" val="l"/>
                        </dgm:alg>
                      </dgm:if>
                      <dgm:else name="Name25">
                        <dgm:alg type="hierChild">
                          <dgm:param type="linDir" val="fromT"/>
                          <dgm:param type="chAlign" val="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forEach name="Name26" ref="repeat"/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12.xml><?xml version="1.0" encoding="utf-8"?>
<dgm:layoutDef xmlns:dgm="http://schemas.openxmlformats.org/drawingml/2006/diagram" xmlns:a="http://schemas.openxmlformats.org/drawingml/2006/main" uniqueId="urn:microsoft.com/office/officeart/2008/layout/HorizontalMultiLevelHierarchy">
  <dgm:title val=""/>
  <dgm:desc val=""/>
  <dgm:catLst>
    <dgm:cat type="hierarchy" pri="46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 val="exact"/>
    </dgm:varLst>
    <dgm:choose name="Name1">
      <dgm:if name="Name2" func="var" arg="dir" op="equ" val="norm">
        <dgm:alg type="hierChild">
          <dgm:param type="linDir" val="fromT"/>
          <dgm:param type="chAlign" val="l"/>
        </dgm:alg>
      </dgm:if>
      <dgm:else name="Name3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des" forName="LevelOneTextNode" refType="h"/>
      <dgm:constr type="w" for="des" forName="LevelOneTextNode" refType="h" refFor="des" refForName="LevelOneTextNode" fact="0.19"/>
      <dgm:constr type="h" for="des" forName="LevelTwoTextNode" refType="w" refFor="des" refForName="LevelOneTextNode"/>
      <dgm:constr type="w" for="des" forName="LevelTwoTextNode" refType="h" refFor="des" refForName="LevelTwoTextNode" fact="3.28"/>
      <dgm:constr type="sibSp" refType="h" refFor="des" refForName="LevelTwoTextNode" op="equ" fact="0.25"/>
      <dgm:constr type="sibSp" for="des" forName="level2hierChild" refType="h" refFor="des" refForName="LevelTwoTextNode" op="equ" fact="0.25"/>
      <dgm:constr type="sibSp" for="des" forName="level3hierChild" refType="h" refFor="des" refForName="LevelTwoTextNode" op="equ" fact="0.25"/>
      <dgm:constr type="sp" for="des" forName="root1" refType="w" refFor="des" refForName="LevelTwoTextNode" fact="0.2"/>
      <dgm:constr type="sp" for="des" forName="root2" refType="sp" refFor="des" refForName="root1" op="equ"/>
      <dgm:constr type="primFontSz" for="des" forName="LevelOneTextNode" op="equ" val="65"/>
      <dgm:constr type="primFontSz" for="des" forName="LevelTwoTextNode" op="equ" val="65"/>
      <dgm:constr type="primFontSz" for="des" forName="LevelTwoTextNode" refType="primFontSz" refFor="des" refForName="LevelOneTextNode" op="lte"/>
      <dgm:constr type="primFontSz" for="des" forName="connTx" op="equ" val="50"/>
      <dgm:constr type="primFontSz" for="des" forName="connTx" refType="primFontSz" refFor="des" refForName="LevelOneTextNode" op="lte" fact="0.78"/>
    </dgm:constrLst>
    <dgm:forEach name="Name4" axis="ch">
      <dgm:forEach name="Name5" axis="self" ptType="node">
        <dgm:layoutNode name="root1">
          <dgm:choose name="Name6">
            <dgm:if name="Name7" func="var" arg="dir" op="equ" val="norm">
              <dgm:alg type="hierRoot">
                <dgm:param type="hierAlign" val="lCtrCh"/>
              </dgm:alg>
            </dgm:if>
            <dgm:else name="Name8">
              <dgm:alg type="hierRoot">
                <dgm:param type="hierAlign" val="rCtrCh"/>
              </dgm:alg>
            </dgm:else>
          </dgm:choose>
          <dgm:shape xmlns:r="http://schemas.openxmlformats.org/officeDocument/2006/relationships" r:blip="">
            <dgm:adjLst/>
          </dgm:shape>
          <dgm:presOf/>
          <dgm:layoutNode name="LevelOneTextNode" styleLbl="node0">
            <dgm:varLst>
              <dgm:chPref val="3"/>
            </dgm:varLst>
            <dgm:alg type="tx">
              <dgm:param type="autoTxRot" val="grav"/>
            </dgm:alg>
            <dgm:choose name="Name9">
              <dgm:if name="Name10" func="var" arg="dir" op="equ" val="norm">
                <dgm:shape xmlns:r="http://schemas.openxmlformats.org/officeDocument/2006/relationships" rot="270" type="rect" r:blip="">
                  <dgm:adjLst/>
                </dgm:shape>
              </dgm:if>
              <dgm:else name="Name11">
                <dgm:shape xmlns:r="http://schemas.openxmlformats.org/officeDocument/2006/relationships" rot="90" type="rect" r:blip="">
                  <dgm:adjLst/>
                </dgm:shape>
              </dgm:else>
            </dgm:choose>
            <dgm:presOf axis="self"/>
            <dgm:constrLst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2" fact="NaN" max="NaN"/>
            </dgm:ruleLst>
          </dgm:layoutNode>
          <dgm:layoutNode name="level2hierChild">
            <dgm:choose name="Name12">
              <dgm:if name="Name13" func="var" arg="dir" op="equ" val="norm">
                <dgm:alg type="hierChild">
                  <dgm:param type="linDir" val="fromT"/>
                  <dgm:param type="chAlign" val="l"/>
                </dgm:alg>
              </dgm:if>
              <dgm:else name="Name14">
                <dgm:alg type="hierChild">
                  <dgm:param type="linDir" val="fromT"/>
                  <dgm:param type="chAlign" val="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forEach name="repeat" axis="ch">
              <dgm:forEach name="Name15" axis="self" ptType="parTrans" cnt="1">
                <dgm:layoutNode name="conn2-1">
                  <dgm:choose name="Name16">
                    <dgm:if name="Name17" func="var" arg="dir" op="equ" val="norm">
                      <dgm:alg type="conn">
                        <dgm:param type="dim" val="1D"/>
                        <dgm:param type="begPts" val="midR"/>
                        <dgm:param type="endPts" val="midL"/>
                        <dgm:param type="endSty" val="noArr"/>
                        <dgm:param type="connRout" val="bend"/>
                      </dgm:alg>
                    </dgm:if>
                    <dgm:else name="Name18">
                      <dgm:alg type="conn">
                        <dgm:param type="dim" val="1D"/>
                        <dgm:param type="begPts" val="midL"/>
                        <dgm:param type="endPts" val="midR"/>
                        <dgm:param type="endSty" val="noArr"/>
                        <dgm:param type="connRout" val="bend"/>
                      </dgm:alg>
                    </dgm:else>
                  </dgm:choose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w" val="1"/>
                    <dgm:constr type="h" val="5"/>
                    <dgm:constr type="connDist"/>
                    <dgm:constr type="begPad"/>
                    <dgm:constr type="endPad"/>
                    <dgm:constr type="userA" for="ch" refType="connDist"/>
                  </dgm:constrLst>
                  <dgm:layoutNode name="connTx">
                    <dgm:alg type="tx">
                      <dgm:param type="autoTxRot" val="grav"/>
                    </dgm:alg>
                    <dgm:shape xmlns:r="http://schemas.openxmlformats.org/officeDocument/2006/relationships" type="rect" r:blip="" hideGeom="1">
                      <dgm:adjLst/>
                    </dgm:shape>
                    <dgm:presOf axis="self"/>
                    <dgm:constrLst>
                      <dgm:constr type="userA"/>
                      <dgm:constr type="w" refType="userA" fact="0.05"/>
                      <dgm:constr type="h" refType="userA" fact="0.05"/>
                      <dgm:constr type="lMarg" val="1"/>
                      <dgm:constr type="rMarg" val="1"/>
                      <dgm:constr type="tMarg"/>
                      <dgm:constr type="bMarg"/>
                    </dgm:constrLst>
                    <dgm:ruleLst>
                      <dgm:rule type="h" val="NaN" fact="0.25" max="NaN"/>
                      <dgm:rule type="w" val="NaN" fact="0.8" max="NaN"/>
                      <dgm:rule type="primFontSz" val="5" fact="NaN" max="NaN"/>
                    </dgm:ruleLst>
                  </dgm:layoutNode>
                </dgm:layoutNode>
              </dgm:forEach>
              <dgm:forEach name="Name19" axis="self" ptType="node">
                <dgm:layoutNode name="root2">
                  <dgm:choose name="Name20">
                    <dgm:if name="Name21" func="var" arg="dir" op="equ" val="norm">
                      <dgm:alg type="hierRoot">
                        <dgm:param type="hierAlign" val="lCtrCh"/>
                      </dgm:alg>
                    </dgm:if>
                    <dgm:else name="Name22">
                      <dgm:alg type="hierRoot">
                        <dgm:param type="hierAlign" val="rCtrCh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layoutNode name="LevelTwoTextNode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/>
                    <dgm:constrLst>
                      <dgm:constr type="tMarg" refType="primFontSz" fact="0.05"/>
                      <dgm:constr type="bMarg" refType="primFontSz" fact="0.05"/>
                      <dgm:constr type="lMarg" refType="primFontSz" fact="0.05"/>
                      <dgm:constr type="rMarg" refType="primFontSz" fact="0.05"/>
                    </dgm:constrLst>
                    <dgm:ruleLst>
                      <dgm:rule type="primFontSz" val="2" fact="NaN" max="NaN"/>
                    </dgm:ruleLst>
                  </dgm:layoutNode>
                  <dgm:layoutNode name="level3hierChild">
                    <dgm:choose name="Name23">
                      <dgm:if name="Name24" func="var" arg="dir" op="equ" val="norm">
                        <dgm:alg type="hierChild">
                          <dgm:param type="linDir" val="fromT"/>
                          <dgm:param type="chAlign" val="l"/>
                        </dgm:alg>
                      </dgm:if>
                      <dgm:else name="Name25">
                        <dgm:alg type="hierChild">
                          <dgm:param type="linDir" val="fromT"/>
                          <dgm:param type="chAlign" val="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forEach name="Name26" ref="repeat"/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8/layout/HorizontalMultiLevelHierarchy">
  <dgm:title val=""/>
  <dgm:desc val=""/>
  <dgm:catLst>
    <dgm:cat type="hierarchy" pri="46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 val="exact"/>
    </dgm:varLst>
    <dgm:choose name="Name1">
      <dgm:if name="Name2" func="var" arg="dir" op="equ" val="norm">
        <dgm:alg type="hierChild">
          <dgm:param type="linDir" val="fromT"/>
          <dgm:param type="chAlign" val="l"/>
        </dgm:alg>
      </dgm:if>
      <dgm:else name="Name3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des" forName="LevelOneTextNode" refType="h"/>
      <dgm:constr type="w" for="des" forName="LevelOneTextNode" refType="h" refFor="des" refForName="LevelOneTextNode" fact="0.19"/>
      <dgm:constr type="h" for="des" forName="LevelTwoTextNode" refType="w" refFor="des" refForName="LevelOneTextNode"/>
      <dgm:constr type="w" for="des" forName="LevelTwoTextNode" refType="h" refFor="des" refForName="LevelTwoTextNode" fact="3.28"/>
      <dgm:constr type="sibSp" refType="h" refFor="des" refForName="LevelTwoTextNode" op="equ" fact="0.25"/>
      <dgm:constr type="sibSp" for="des" forName="level2hierChild" refType="h" refFor="des" refForName="LevelTwoTextNode" op="equ" fact="0.25"/>
      <dgm:constr type="sibSp" for="des" forName="level3hierChild" refType="h" refFor="des" refForName="LevelTwoTextNode" op="equ" fact="0.25"/>
      <dgm:constr type="sp" for="des" forName="root1" refType="w" refFor="des" refForName="LevelTwoTextNode" fact="0.2"/>
      <dgm:constr type="sp" for="des" forName="root2" refType="sp" refFor="des" refForName="root1" op="equ"/>
      <dgm:constr type="primFontSz" for="des" forName="LevelOneTextNode" op="equ" val="65"/>
      <dgm:constr type="primFontSz" for="des" forName="LevelTwoTextNode" op="equ" val="65"/>
      <dgm:constr type="primFontSz" for="des" forName="LevelTwoTextNode" refType="primFontSz" refFor="des" refForName="LevelOneTextNode" op="lte"/>
      <dgm:constr type="primFontSz" for="des" forName="connTx" op="equ" val="50"/>
      <dgm:constr type="primFontSz" for="des" forName="connTx" refType="primFontSz" refFor="des" refForName="LevelOneTextNode" op="lte" fact="0.78"/>
    </dgm:constrLst>
    <dgm:forEach name="Name4" axis="ch">
      <dgm:forEach name="Name5" axis="self" ptType="node">
        <dgm:layoutNode name="root1">
          <dgm:choose name="Name6">
            <dgm:if name="Name7" func="var" arg="dir" op="equ" val="norm">
              <dgm:alg type="hierRoot">
                <dgm:param type="hierAlign" val="lCtrCh"/>
              </dgm:alg>
            </dgm:if>
            <dgm:else name="Name8">
              <dgm:alg type="hierRoot">
                <dgm:param type="hierAlign" val="rCtrCh"/>
              </dgm:alg>
            </dgm:else>
          </dgm:choose>
          <dgm:shape xmlns:r="http://schemas.openxmlformats.org/officeDocument/2006/relationships" r:blip="">
            <dgm:adjLst/>
          </dgm:shape>
          <dgm:presOf/>
          <dgm:layoutNode name="LevelOneTextNode" styleLbl="node0">
            <dgm:varLst>
              <dgm:chPref val="3"/>
            </dgm:varLst>
            <dgm:alg type="tx">
              <dgm:param type="autoTxRot" val="grav"/>
            </dgm:alg>
            <dgm:choose name="Name9">
              <dgm:if name="Name10" func="var" arg="dir" op="equ" val="norm">
                <dgm:shape xmlns:r="http://schemas.openxmlformats.org/officeDocument/2006/relationships" rot="270" type="rect" r:blip="">
                  <dgm:adjLst/>
                </dgm:shape>
              </dgm:if>
              <dgm:else name="Name11">
                <dgm:shape xmlns:r="http://schemas.openxmlformats.org/officeDocument/2006/relationships" rot="90" type="rect" r:blip="">
                  <dgm:adjLst/>
                </dgm:shape>
              </dgm:else>
            </dgm:choose>
            <dgm:presOf axis="self"/>
            <dgm:constrLst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2" fact="NaN" max="NaN"/>
            </dgm:ruleLst>
          </dgm:layoutNode>
          <dgm:layoutNode name="level2hierChild">
            <dgm:choose name="Name12">
              <dgm:if name="Name13" func="var" arg="dir" op="equ" val="norm">
                <dgm:alg type="hierChild">
                  <dgm:param type="linDir" val="fromT"/>
                  <dgm:param type="chAlign" val="l"/>
                </dgm:alg>
              </dgm:if>
              <dgm:else name="Name14">
                <dgm:alg type="hierChild">
                  <dgm:param type="linDir" val="fromT"/>
                  <dgm:param type="chAlign" val="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forEach name="repeat" axis="ch">
              <dgm:forEach name="Name15" axis="self" ptType="parTrans" cnt="1">
                <dgm:layoutNode name="conn2-1">
                  <dgm:choose name="Name16">
                    <dgm:if name="Name17" func="var" arg="dir" op="equ" val="norm">
                      <dgm:alg type="conn">
                        <dgm:param type="dim" val="1D"/>
                        <dgm:param type="begPts" val="midR"/>
                        <dgm:param type="endPts" val="midL"/>
                        <dgm:param type="endSty" val="noArr"/>
                        <dgm:param type="connRout" val="bend"/>
                      </dgm:alg>
                    </dgm:if>
                    <dgm:else name="Name18">
                      <dgm:alg type="conn">
                        <dgm:param type="dim" val="1D"/>
                        <dgm:param type="begPts" val="midL"/>
                        <dgm:param type="endPts" val="midR"/>
                        <dgm:param type="endSty" val="noArr"/>
                        <dgm:param type="connRout" val="bend"/>
                      </dgm:alg>
                    </dgm:else>
                  </dgm:choose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w" val="1"/>
                    <dgm:constr type="h" val="5"/>
                    <dgm:constr type="connDist"/>
                    <dgm:constr type="begPad"/>
                    <dgm:constr type="endPad"/>
                    <dgm:constr type="userA" for="ch" refType="connDist"/>
                  </dgm:constrLst>
                  <dgm:layoutNode name="connTx">
                    <dgm:alg type="tx">
                      <dgm:param type="autoTxRot" val="grav"/>
                    </dgm:alg>
                    <dgm:shape xmlns:r="http://schemas.openxmlformats.org/officeDocument/2006/relationships" type="rect" r:blip="" hideGeom="1">
                      <dgm:adjLst/>
                    </dgm:shape>
                    <dgm:presOf axis="self"/>
                    <dgm:constrLst>
                      <dgm:constr type="userA"/>
                      <dgm:constr type="w" refType="userA" fact="0.05"/>
                      <dgm:constr type="h" refType="userA" fact="0.05"/>
                      <dgm:constr type="lMarg" val="1"/>
                      <dgm:constr type="rMarg" val="1"/>
                      <dgm:constr type="tMarg"/>
                      <dgm:constr type="bMarg"/>
                    </dgm:constrLst>
                    <dgm:ruleLst>
                      <dgm:rule type="h" val="NaN" fact="0.25" max="NaN"/>
                      <dgm:rule type="w" val="NaN" fact="0.8" max="NaN"/>
                      <dgm:rule type="primFontSz" val="5" fact="NaN" max="NaN"/>
                    </dgm:ruleLst>
                  </dgm:layoutNode>
                </dgm:layoutNode>
              </dgm:forEach>
              <dgm:forEach name="Name19" axis="self" ptType="node">
                <dgm:layoutNode name="root2">
                  <dgm:choose name="Name20">
                    <dgm:if name="Name21" func="var" arg="dir" op="equ" val="norm">
                      <dgm:alg type="hierRoot">
                        <dgm:param type="hierAlign" val="lCtrCh"/>
                      </dgm:alg>
                    </dgm:if>
                    <dgm:else name="Name22">
                      <dgm:alg type="hierRoot">
                        <dgm:param type="hierAlign" val="rCtrCh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layoutNode name="LevelTwoTextNode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/>
                    <dgm:constrLst>
                      <dgm:constr type="tMarg" refType="primFontSz" fact="0.05"/>
                      <dgm:constr type="bMarg" refType="primFontSz" fact="0.05"/>
                      <dgm:constr type="lMarg" refType="primFontSz" fact="0.05"/>
                      <dgm:constr type="rMarg" refType="primFontSz" fact="0.05"/>
                    </dgm:constrLst>
                    <dgm:ruleLst>
                      <dgm:rule type="primFontSz" val="2" fact="NaN" max="NaN"/>
                    </dgm:ruleLst>
                  </dgm:layoutNode>
                  <dgm:layoutNode name="level3hierChild">
                    <dgm:choose name="Name23">
                      <dgm:if name="Name24" func="var" arg="dir" op="equ" val="norm">
                        <dgm:alg type="hierChild">
                          <dgm:param type="linDir" val="fromT"/>
                          <dgm:param type="chAlign" val="l"/>
                        </dgm:alg>
                      </dgm:if>
                      <dgm:else name="Name25">
                        <dgm:alg type="hierChild">
                          <dgm:param type="linDir" val="fromT"/>
                          <dgm:param type="chAlign" val="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forEach name="Name26" ref="repeat"/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8/layout/HorizontalMultiLevelHierarchy">
  <dgm:title val=""/>
  <dgm:desc val=""/>
  <dgm:catLst>
    <dgm:cat type="hierarchy" pri="46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 val="exact"/>
    </dgm:varLst>
    <dgm:choose name="Name1">
      <dgm:if name="Name2" func="var" arg="dir" op="equ" val="norm">
        <dgm:alg type="hierChild">
          <dgm:param type="linDir" val="fromT"/>
          <dgm:param type="chAlign" val="l"/>
        </dgm:alg>
      </dgm:if>
      <dgm:else name="Name3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des" forName="LevelOneTextNode" refType="h"/>
      <dgm:constr type="w" for="des" forName="LevelOneTextNode" refType="h" refFor="des" refForName="LevelOneTextNode" fact="0.19"/>
      <dgm:constr type="h" for="des" forName="LevelTwoTextNode" refType="w" refFor="des" refForName="LevelOneTextNode"/>
      <dgm:constr type="w" for="des" forName="LevelTwoTextNode" refType="h" refFor="des" refForName="LevelTwoTextNode" fact="3.28"/>
      <dgm:constr type="sibSp" refType="h" refFor="des" refForName="LevelTwoTextNode" op="equ" fact="0.25"/>
      <dgm:constr type="sibSp" for="des" forName="level2hierChild" refType="h" refFor="des" refForName="LevelTwoTextNode" op="equ" fact="0.25"/>
      <dgm:constr type="sibSp" for="des" forName="level3hierChild" refType="h" refFor="des" refForName="LevelTwoTextNode" op="equ" fact="0.25"/>
      <dgm:constr type="sp" for="des" forName="root1" refType="w" refFor="des" refForName="LevelTwoTextNode" fact="0.2"/>
      <dgm:constr type="sp" for="des" forName="root2" refType="sp" refFor="des" refForName="root1" op="equ"/>
      <dgm:constr type="primFontSz" for="des" forName="LevelOneTextNode" op="equ" val="65"/>
      <dgm:constr type="primFontSz" for="des" forName="LevelTwoTextNode" op="equ" val="65"/>
      <dgm:constr type="primFontSz" for="des" forName="LevelTwoTextNode" refType="primFontSz" refFor="des" refForName="LevelOneTextNode" op="lte"/>
      <dgm:constr type="primFontSz" for="des" forName="connTx" op="equ" val="50"/>
      <dgm:constr type="primFontSz" for="des" forName="connTx" refType="primFontSz" refFor="des" refForName="LevelOneTextNode" op="lte" fact="0.78"/>
    </dgm:constrLst>
    <dgm:forEach name="Name4" axis="ch">
      <dgm:forEach name="Name5" axis="self" ptType="node">
        <dgm:layoutNode name="root1">
          <dgm:choose name="Name6">
            <dgm:if name="Name7" func="var" arg="dir" op="equ" val="norm">
              <dgm:alg type="hierRoot">
                <dgm:param type="hierAlign" val="lCtrCh"/>
              </dgm:alg>
            </dgm:if>
            <dgm:else name="Name8">
              <dgm:alg type="hierRoot">
                <dgm:param type="hierAlign" val="rCtrCh"/>
              </dgm:alg>
            </dgm:else>
          </dgm:choose>
          <dgm:shape xmlns:r="http://schemas.openxmlformats.org/officeDocument/2006/relationships" r:blip="">
            <dgm:adjLst/>
          </dgm:shape>
          <dgm:presOf/>
          <dgm:layoutNode name="LevelOneTextNode" styleLbl="node0">
            <dgm:varLst>
              <dgm:chPref val="3"/>
            </dgm:varLst>
            <dgm:alg type="tx">
              <dgm:param type="autoTxRot" val="grav"/>
            </dgm:alg>
            <dgm:choose name="Name9">
              <dgm:if name="Name10" func="var" arg="dir" op="equ" val="norm">
                <dgm:shape xmlns:r="http://schemas.openxmlformats.org/officeDocument/2006/relationships" rot="270" type="rect" r:blip="">
                  <dgm:adjLst/>
                </dgm:shape>
              </dgm:if>
              <dgm:else name="Name11">
                <dgm:shape xmlns:r="http://schemas.openxmlformats.org/officeDocument/2006/relationships" rot="90" type="rect" r:blip="">
                  <dgm:adjLst/>
                </dgm:shape>
              </dgm:else>
            </dgm:choose>
            <dgm:presOf axis="self"/>
            <dgm:constrLst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2" fact="NaN" max="NaN"/>
            </dgm:ruleLst>
          </dgm:layoutNode>
          <dgm:layoutNode name="level2hierChild">
            <dgm:choose name="Name12">
              <dgm:if name="Name13" func="var" arg="dir" op="equ" val="norm">
                <dgm:alg type="hierChild">
                  <dgm:param type="linDir" val="fromT"/>
                  <dgm:param type="chAlign" val="l"/>
                </dgm:alg>
              </dgm:if>
              <dgm:else name="Name14">
                <dgm:alg type="hierChild">
                  <dgm:param type="linDir" val="fromT"/>
                  <dgm:param type="chAlign" val="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forEach name="repeat" axis="ch">
              <dgm:forEach name="Name15" axis="self" ptType="parTrans" cnt="1">
                <dgm:layoutNode name="conn2-1">
                  <dgm:choose name="Name16">
                    <dgm:if name="Name17" func="var" arg="dir" op="equ" val="norm">
                      <dgm:alg type="conn">
                        <dgm:param type="dim" val="1D"/>
                        <dgm:param type="begPts" val="midR"/>
                        <dgm:param type="endPts" val="midL"/>
                        <dgm:param type="endSty" val="noArr"/>
                        <dgm:param type="connRout" val="bend"/>
                      </dgm:alg>
                    </dgm:if>
                    <dgm:else name="Name18">
                      <dgm:alg type="conn">
                        <dgm:param type="dim" val="1D"/>
                        <dgm:param type="begPts" val="midL"/>
                        <dgm:param type="endPts" val="midR"/>
                        <dgm:param type="endSty" val="noArr"/>
                        <dgm:param type="connRout" val="bend"/>
                      </dgm:alg>
                    </dgm:else>
                  </dgm:choose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w" val="1"/>
                    <dgm:constr type="h" val="5"/>
                    <dgm:constr type="connDist"/>
                    <dgm:constr type="begPad"/>
                    <dgm:constr type="endPad"/>
                    <dgm:constr type="userA" for="ch" refType="connDist"/>
                  </dgm:constrLst>
                  <dgm:layoutNode name="connTx">
                    <dgm:alg type="tx">
                      <dgm:param type="autoTxRot" val="grav"/>
                    </dgm:alg>
                    <dgm:shape xmlns:r="http://schemas.openxmlformats.org/officeDocument/2006/relationships" type="rect" r:blip="" hideGeom="1">
                      <dgm:adjLst/>
                    </dgm:shape>
                    <dgm:presOf axis="self"/>
                    <dgm:constrLst>
                      <dgm:constr type="userA"/>
                      <dgm:constr type="w" refType="userA" fact="0.05"/>
                      <dgm:constr type="h" refType="userA" fact="0.05"/>
                      <dgm:constr type="lMarg" val="1"/>
                      <dgm:constr type="rMarg" val="1"/>
                      <dgm:constr type="tMarg"/>
                      <dgm:constr type="bMarg"/>
                    </dgm:constrLst>
                    <dgm:ruleLst>
                      <dgm:rule type="h" val="NaN" fact="0.25" max="NaN"/>
                      <dgm:rule type="w" val="NaN" fact="0.8" max="NaN"/>
                      <dgm:rule type="primFontSz" val="5" fact="NaN" max="NaN"/>
                    </dgm:ruleLst>
                  </dgm:layoutNode>
                </dgm:layoutNode>
              </dgm:forEach>
              <dgm:forEach name="Name19" axis="self" ptType="node">
                <dgm:layoutNode name="root2">
                  <dgm:choose name="Name20">
                    <dgm:if name="Name21" func="var" arg="dir" op="equ" val="norm">
                      <dgm:alg type="hierRoot">
                        <dgm:param type="hierAlign" val="lCtrCh"/>
                      </dgm:alg>
                    </dgm:if>
                    <dgm:else name="Name22">
                      <dgm:alg type="hierRoot">
                        <dgm:param type="hierAlign" val="rCtrCh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layoutNode name="LevelTwoTextNode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/>
                    <dgm:constrLst>
                      <dgm:constr type="tMarg" refType="primFontSz" fact="0.05"/>
                      <dgm:constr type="bMarg" refType="primFontSz" fact="0.05"/>
                      <dgm:constr type="lMarg" refType="primFontSz" fact="0.05"/>
                      <dgm:constr type="rMarg" refType="primFontSz" fact="0.05"/>
                    </dgm:constrLst>
                    <dgm:ruleLst>
                      <dgm:rule type="primFontSz" val="2" fact="NaN" max="NaN"/>
                    </dgm:ruleLst>
                  </dgm:layoutNode>
                  <dgm:layoutNode name="level3hierChild">
                    <dgm:choose name="Name23">
                      <dgm:if name="Name24" func="var" arg="dir" op="equ" val="norm">
                        <dgm:alg type="hierChild">
                          <dgm:param type="linDir" val="fromT"/>
                          <dgm:param type="chAlign" val="l"/>
                        </dgm:alg>
                      </dgm:if>
                      <dgm:else name="Name25">
                        <dgm:alg type="hierChild">
                          <dgm:param type="linDir" val="fromT"/>
                          <dgm:param type="chAlign" val="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forEach name="Name26" ref="repeat"/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8/layout/HorizontalMultiLevelHierarchy">
  <dgm:title val=""/>
  <dgm:desc val=""/>
  <dgm:catLst>
    <dgm:cat type="hierarchy" pri="46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 val="exact"/>
    </dgm:varLst>
    <dgm:choose name="Name1">
      <dgm:if name="Name2" func="var" arg="dir" op="equ" val="norm">
        <dgm:alg type="hierChild">
          <dgm:param type="linDir" val="fromT"/>
          <dgm:param type="chAlign" val="l"/>
        </dgm:alg>
      </dgm:if>
      <dgm:else name="Name3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des" forName="LevelOneTextNode" refType="h"/>
      <dgm:constr type="w" for="des" forName="LevelOneTextNode" refType="h" refFor="des" refForName="LevelOneTextNode" fact="0.19"/>
      <dgm:constr type="h" for="des" forName="LevelTwoTextNode" refType="w" refFor="des" refForName="LevelOneTextNode"/>
      <dgm:constr type="w" for="des" forName="LevelTwoTextNode" refType="h" refFor="des" refForName="LevelTwoTextNode" fact="3.28"/>
      <dgm:constr type="sibSp" refType="h" refFor="des" refForName="LevelTwoTextNode" op="equ" fact="0.25"/>
      <dgm:constr type="sibSp" for="des" forName="level2hierChild" refType="h" refFor="des" refForName="LevelTwoTextNode" op="equ" fact="0.25"/>
      <dgm:constr type="sibSp" for="des" forName="level3hierChild" refType="h" refFor="des" refForName="LevelTwoTextNode" op="equ" fact="0.25"/>
      <dgm:constr type="sp" for="des" forName="root1" refType="w" refFor="des" refForName="LevelTwoTextNode" fact="0.2"/>
      <dgm:constr type="sp" for="des" forName="root2" refType="sp" refFor="des" refForName="root1" op="equ"/>
      <dgm:constr type="primFontSz" for="des" forName="LevelOneTextNode" op="equ" val="65"/>
      <dgm:constr type="primFontSz" for="des" forName="LevelTwoTextNode" op="equ" val="65"/>
      <dgm:constr type="primFontSz" for="des" forName="LevelTwoTextNode" refType="primFontSz" refFor="des" refForName="LevelOneTextNode" op="lte"/>
      <dgm:constr type="primFontSz" for="des" forName="connTx" op="equ" val="50"/>
      <dgm:constr type="primFontSz" for="des" forName="connTx" refType="primFontSz" refFor="des" refForName="LevelOneTextNode" op="lte" fact="0.78"/>
    </dgm:constrLst>
    <dgm:forEach name="Name4" axis="ch">
      <dgm:forEach name="Name5" axis="self" ptType="node">
        <dgm:layoutNode name="root1">
          <dgm:choose name="Name6">
            <dgm:if name="Name7" func="var" arg="dir" op="equ" val="norm">
              <dgm:alg type="hierRoot">
                <dgm:param type="hierAlign" val="lCtrCh"/>
              </dgm:alg>
            </dgm:if>
            <dgm:else name="Name8">
              <dgm:alg type="hierRoot">
                <dgm:param type="hierAlign" val="rCtrCh"/>
              </dgm:alg>
            </dgm:else>
          </dgm:choose>
          <dgm:shape xmlns:r="http://schemas.openxmlformats.org/officeDocument/2006/relationships" r:blip="">
            <dgm:adjLst/>
          </dgm:shape>
          <dgm:presOf/>
          <dgm:layoutNode name="LevelOneTextNode" styleLbl="node0">
            <dgm:varLst>
              <dgm:chPref val="3"/>
            </dgm:varLst>
            <dgm:alg type="tx">
              <dgm:param type="autoTxRot" val="grav"/>
            </dgm:alg>
            <dgm:choose name="Name9">
              <dgm:if name="Name10" func="var" arg="dir" op="equ" val="norm">
                <dgm:shape xmlns:r="http://schemas.openxmlformats.org/officeDocument/2006/relationships" rot="270" type="rect" r:blip="">
                  <dgm:adjLst/>
                </dgm:shape>
              </dgm:if>
              <dgm:else name="Name11">
                <dgm:shape xmlns:r="http://schemas.openxmlformats.org/officeDocument/2006/relationships" rot="90" type="rect" r:blip="">
                  <dgm:adjLst/>
                </dgm:shape>
              </dgm:else>
            </dgm:choose>
            <dgm:presOf axis="self"/>
            <dgm:constrLst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2" fact="NaN" max="NaN"/>
            </dgm:ruleLst>
          </dgm:layoutNode>
          <dgm:layoutNode name="level2hierChild">
            <dgm:choose name="Name12">
              <dgm:if name="Name13" func="var" arg="dir" op="equ" val="norm">
                <dgm:alg type="hierChild">
                  <dgm:param type="linDir" val="fromT"/>
                  <dgm:param type="chAlign" val="l"/>
                </dgm:alg>
              </dgm:if>
              <dgm:else name="Name14">
                <dgm:alg type="hierChild">
                  <dgm:param type="linDir" val="fromT"/>
                  <dgm:param type="chAlign" val="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forEach name="repeat" axis="ch">
              <dgm:forEach name="Name15" axis="self" ptType="parTrans" cnt="1">
                <dgm:layoutNode name="conn2-1">
                  <dgm:choose name="Name16">
                    <dgm:if name="Name17" func="var" arg="dir" op="equ" val="norm">
                      <dgm:alg type="conn">
                        <dgm:param type="dim" val="1D"/>
                        <dgm:param type="begPts" val="midR"/>
                        <dgm:param type="endPts" val="midL"/>
                        <dgm:param type="endSty" val="noArr"/>
                        <dgm:param type="connRout" val="bend"/>
                      </dgm:alg>
                    </dgm:if>
                    <dgm:else name="Name18">
                      <dgm:alg type="conn">
                        <dgm:param type="dim" val="1D"/>
                        <dgm:param type="begPts" val="midL"/>
                        <dgm:param type="endPts" val="midR"/>
                        <dgm:param type="endSty" val="noArr"/>
                        <dgm:param type="connRout" val="bend"/>
                      </dgm:alg>
                    </dgm:else>
                  </dgm:choose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w" val="1"/>
                    <dgm:constr type="h" val="5"/>
                    <dgm:constr type="connDist"/>
                    <dgm:constr type="begPad"/>
                    <dgm:constr type="endPad"/>
                    <dgm:constr type="userA" for="ch" refType="connDist"/>
                  </dgm:constrLst>
                  <dgm:layoutNode name="connTx">
                    <dgm:alg type="tx">
                      <dgm:param type="autoTxRot" val="grav"/>
                    </dgm:alg>
                    <dgm:shape xmlns:r="http://schemas.openxmlformats.org/officeDocument/2006/relationships" type="rect" r:blip="" hideGeom="1">
                      <dgm:adjLst/>
                    </dgm:shape>
                    <dgm:presOf axis="self"/>
                    <dgm:constrLst>
                      <dgm:constr type="userA"/>
                      <dgm:constr type="w" refType="userA" fact="0.05"/>
                      <dgm:constr type="h" refType="userA" fact="0.05"/>
                      <dgm:constr type="lMarg" val="1"/>
                      <dgm:constr type="rMarg" val="1"/>
                      <dgm:constr type="tMarg"/>
                      <dgm:constr type="bMarg"/>
                    </dgm:constrLst>
                    <dgm:ruleLst>
                      <dgm:rule type="h" val="NaN" fact="0.25" max="NaN"/>
                      <dgm:rule type="w" val="NaN" fact="0.8" max="NaN"/>
                      <dgm:rule type="primFontSz" val="5" fact="NaN" max="NaN"/>
                    </dgm:ruleLst>
                  </dgm:layoutNode>
                </dgm:layoutNode>
              </dgm:forEach>
              <dgm:forEach name="Name19" axis="self" ptType="node">
                <dgm:layoutNode name="root2">
                  <dgm:choose name="Name20">
                    <dgm:if name="Name21" func="var" arg="dir" op="equ" val="norm">
                      <dgm:alg type="hierRoot">
                        <dgm:param type="hierAlign" val="lCtrCh"/>
                      </dgm:alg>
                    </dgm:if>
                    <dgm:else name="Name22">
                      <dgm:alg type="hierRoot">
                        <dgm:param type="hierAlign" val="rCtrCh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layoutNode name="LevelTwoTextNode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/>
                    <dgm:constrLst>
                      <dgm:constr type="tMarg" refType="primFontSz" fact="0.05"/>
                      <dgm:constr type="bMarg" refType="primFontSz" fact="0.05"/>
                      <dgm:constr type="lMarg" refType="primFontSz" fact="0.05"/>
                      <dgm:constr type="rMarg" refType="primFontSz" fact="0.05"/>
                    </dgm:constrLst>
                    <dgm:ruleLst>
                      <dgm:rule type="primFontSz" val="2" fact="NaN" max="NaN"/>
                    </dgm:ruleLst>
                  </dgm:layoutNode>
                  <dgm:layoutNode name="level3hierChild">
                    <dgm:choose name="Name23">
                      <dgm:if name="Name24" func="var" arg="dir" op="equ" val="norm">
                        <dgm:alg type="hierChild">
                          <dgm:param type="linDir" val="fromT"/>
                          <dgm:param type="chAlign" val="l"/>
                        </dgm:alg>
                      </dgm:if>
                      <dgm:else name="Name25">
                        <dgm:alg type="hierChild">
                          <dgm:param type="linDir" val="fromT"/>
                          <dgm:param type="chAlign" val="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forEach name="Name26" ref="repeat"/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8/layout/HorizontalMultiLevelHierarchy">
  <dgm:title val=""/>
  <dgm:desc val=""/>
  <dgm:catLst>
    <dgm:cat type="hierarchy" pri="46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 val="exact"/>
    </dgm:varLst>
    <dgm:choose name="Name1">
      <dgm:if name="Name2" func="var" arg="dir" op="equ" val="norm">
        <dgm:alg type="hierChild">
          <dgm:param type="linDir" val="fromT"/>
          <dgm:param type="chAlign" val="l"/>
        </dgm:alg>
      </dgm:if>
      <dgm:else name="Name3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des" forName="LevelOneTextNode" refType="h"/>
      <dgm:constr type="w" for="des" forName="LevelOneTextNode" refType="h" refFor="des" refForName="LevelOneTextNode" fact="0.19"/>
      <dgm:constr type="h" for="des" forName="LevelTwoTextNode" refType="w" refFor="des" refForName="LevelOneTextNode"/>
      <dgm:constr type="w" for="des" forName="LevelTwoTextNode" refType="h" refFor="des" refForName="LevelTwoTextNode" fact="3.28"/>
      <dgm:constr type="sibSp" refType="h" refFor="des" refForName="LevelTwoTextNode" op="equ" fact="0.25"/>
      <dgm:constr type="sibSp" for="des" forName="level2hierChild" refType="h" refFor="des" refForName="LevelTwoTextNode" op="equ" fact="0.25"/>
      <dgm:constr type="sibSp" for="des" forName="level3hierChild" refType="h" refFor="des" refForName="LevelTwoTextNode" op="equ" fact="0.25"/>
      <dgm:constr type="sp" for="des" forName="root1" refType="w" refFor="des" refForName="LevelTwoTextNode" fact="0.2"/>
      <dgm:constr type="sp" for="des" forName="root2" refType="sp" refFor="des" refForName="root1" op="equ"/>
      <dgm:constr type="primFontSz" for="des" forName="LevelOneTextNode" op="equ" val="65"/>
      <dgm:constr type="primFontSz" for="des" forName="LevelTwoTextNode" op="equ" val="65"/>
      <dgm:constr type="primFontSz" for="des" forName="LevelTwoTextNode" refType="primFontSz" refFor="des" refForName="LevelOneTextNode" op="lte"/>
      <dgm:constr type="primFontSz" for="des" forName="connTx" op="equ" val="50"/>
      <dgm:constr type="primFontSz" for="des" forName="connTx" refType="primFontSz" refFor="des" refForName="LevelOneTextNode" op="lte" fact="0.78"/>
    </dgm:constrLst>
    <dgm:forEach name="Name4" axis="ch">
      <dgm:forEach name="Name5" axis="self" ptType="node">
        <dgm:layoutNode name="root1">
          <dgm:choose name="Name6">
            <dgm:if name="Name7" func="var" arg="dir" op="equ" val="norm">
              <dgm:alg type="hierRoot">
                <dgm:param type="hierAlign" val="lCtrCh"/>
              </dgm:alg>
            </dgm:if>
            <dgm:else name="Name8">
              <dgm:alg type="hierRoot">
                <dgm:param type="hierAlign" val="rCtrCh"/>
              </dgm:alg>
            </dgm:else>
          </dgm:choose>
          <dgm:shape xmlns:r="http://schemas.openxmlformats.org/officeDocument/2006/relationships" r:blip="">
            <dgm:adjLst/>
          </dgm:shape>
          <dgm:presOf/>
          <dgm:layoutNode name="LevelOneTextNode" styleLbl="node0">
            <dgm:varLst>
              <dgm:chPref val="3"/>
            </dgm:varLst>
            <dgm:alg type="tx">
              <dgm:param type="autoTxRot" val="grav"/>
            </dgm:alg>
            <dgm:choose name="Name9">
              <dgm:if name="Name10" func="var" arg="dir" op="equ" val="norm">
                <dgm:shape xmlns:r="http://schemas.openxmlformats.org/officeDocument/2006/relationships" rot="270" type="rect" r:blip="">
                  <dgm:adjLst/>
                </dgm:shape>
              </dgm:if>
              <dgm:else name="Name11">
                <dgm:shape xmlns:r="http://schemas.openxmlformats.org/officeDocument/2006/relationships" rot="90" type="rect" r:blip="">
                  <dgm:adjLst/>
                </dgm:shape>
              </dgm:else>
            </dgm:choose>
            <dgm:presOf axis="self"/>
            <dgm:constrLst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2" fact="NaN" max="NaN"/>
            </dgm:ruleLst>
          </dgm:layoutNode>
          <dgm:layoutNode name="level2hierChild">
            <dgm:choose name="Name12">
              <dgm:if name="Name13" func="var" arg="dir" op="equ" val="norm">
                <dgm:alg type="hierChild">
                  <dgm:param type="linDir" val="fromT"/>
                  <dgm:param type="chAlign" val="l"/>
                </dgm:alg>
              </dgm:if>
              <dgm:else name="Name14">
                <dgm:alg type="hierChild">
                  <dgm:param type="linDir" val="fromT"/>
                  <dgm:param type="chAlign" val="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forEach name="repeat" axis="ch">
              <dgm:forEach name="Name15" axis="self" ptType="parTrans" cnt="1">
                <dgm:layoutNode name="conn2-1">
                  <dgm:choose name="Name16">
                    <dgm:if name="Name17" func="var" arg="dir" op="equ" val="norm">
                      <dgm:alg type="conn">
                        <dgm:param type="dim" val="1D"/>
                        <dgm:param type="begPts" val="midR"/>
                        <dgm:param type="endPts" val="midL"/>
                        <dgm:param type="endSty" val="noArr"/>
                        <dgm:param type="connRout" val="bend"/>
                      </dgm:alg>
                    </dgm:if>
                    <dgm:else name="Name18">
                      <dgm:alg type="conn">
                        <dgm:param type="dim" val="1D"/>
                        <dgm:param type="begPts" val="midL"/>
                        <dgm:param type="endPts" val="midR"/>
                        <dgm:param type="endSty" val="noArr"/>
                        <dgm:param type="connRout" val="bend"/>
                      </dgm:alg>
                    </dgm:else>
                  </dgm:choose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w" val="1"/>
                    <dgm:constr type="h" val="5"/>
                    <dgm:constr type="connDist"/>
                    <dgm:constr type="begPad"/>
                    <dgm:constr type="endPad"/>
                    <dgm:constr type="userA" for="ch" refType="connDist"/>
                  </dgm:constrLst>
                  <dgm:layoutNode name="connTx">
                    <dgm:alg type="tx">
                      <dgm:param type="autoTxRot" val="grav"/>
                    </dgm:alg>
                    <dgm:shape xmlns:r="http://schemas.openxmlformats.org/officeDocument/2006/relationships" type="rect" r:blip="" hideGeom="1">
                      <dgm:adjLst/>
                    </dgm:shape>
                    <dgm:presOf axis="self"/>
                    <dgm:constrLst>
                      <dgm:constr type="userA"/>
                      <dgm:constr type="w" refType="userA" fact="0.05"/>
                      <dgm:constr type="h" refType="userA" fact="0.05"/>
                      <dgm:constr type="lMarg" val="1"/>
                      <dgm:constr type="rMarg" val="1"/>
                      <dgm:constr type="tMarg"/>
                      <dgm:constr type="bMarg"/>
                    </dgm:constrLst>
                    <dgm:ruleLst>
                      <dgm:rule type="h" val="NaN" fact="0.25" max="NaN"/>
                      <dgm:rule type="w" val="NaN" fact="0.8" max="NaN"/>
                      <dgm:rule type="primFontSz" val="5" fact="NaN" max="NaN"/>
                    </dgm:ruleLst>
                  </dgm:layoutNode>
                </dgm:layoutNode>
              </dgm:forEach>
              <dgm:forEach name="Name19" axis="self" ptType="node">
                <dgm:layoutNode name="root2">
                  <dgm:choose name="Name20">
                    <dgm:if name="Name21" func="var" arg="dir" op="equ" val="norm">
                      <dgm:alg type="hierRoot">
                        <dgm:param type="hierAlign" val="lCtrCh"/>
                      </dgm:alg>
                    </dgm:if>
                    <dgm:else name="Name22">
                      <dgm:alg type="hierRoot">
                        <dgm:param type="hierAlign" val="rCtrCh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layoutNode name="LevelTwoTextNode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/>
                    <dgm:constrLst>
                      <dgm:constr type="tMarg" refType="primFontSz" fact="0.05"/>
                      <dgm:constr type="bMarg" refType="primFontSz" fact="0.05"/>
                      <dgm:constr type="lMarg" refType="primFontSz" fact="0.05"/>
                      <dgm:constr type="rMarg" refType="primFontSz" fact="0.05"/>
                    </dgm:constrLst>
                    <dgm:ruleLst>
                      <dgm:rule type="primFontSz" val="2" fact="NaN" max="NaN"/>
                    </dgm:ruleLst>
                  </dgm:layoutNode>
                  <dgm:layoutNode name="level3hierChild">
                    <dgm:choose name="Name23">
                      <dgm:if name="Name24" func="var" arg="dir" op="equ" val="norm">
                        <dgm:alg type="hierChild">
                          <dgm:param type="linDir" val="fromT"/>
                          <dgm:param type="chAlign" val="l"/>
                        </dgm:alg>
                      </dgm:if>
                      <dgm:else name="Name25">
                        <dgm:alg type="hierChild">
                          <dgm:param type="linDir" val="fromT"/>
                          <dgm:param type="chAlign" val="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forEach name="Name26" ref="repeat"/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8/layout/HorizontalMultiLevelHierarchy">
  <dgm:title val=""/>
  <dgm:desc val=""/>
  <dgm:catLst>
    <dgm:cat type="hierarchy" pri="46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 val="exact"/>
    </dgm:varLst>
    <dgm:choose name="Name1">
      <dgm:if name="Name2" func="var" arg="dir" op="equ" val="norm">
        <dgm:alg type="hierChild">
          <dgm:param type="linDir" val="fromT"/>
          <dgm:param type="chAlign" val="l"/>
        </dgm:alg>
      </dgm:if>
      <dgm:else name="Name3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des" forName="LevelOneTextNode" refType="h"/>
      <dgm:constr type="w" for="des" forName="LevelOneTextNode" refType="h" refFor="des" refForName="LevelOneTextNode" fact="0.19"/>
      <dgm:constr type="h" for="des" forName="LevelTwoTextNode" refType="w" refFor="des" refForName="LevelOneTextNode"/>
      <dgm:constr type="w" for="des" forName="LevelTwoTextNode" refType="h" refFor="des" refForName="LevelTwoTextNode" fact="3.28"/>
      <dgm:constr type="sibSp" refType="h" refFor="des" refForName="LevelTwoTextNode" op="equ" fact="0.25"/>
      <dgm:constr type="sibSp" for="des" forName="level2hierChild" refType="h" refFor="des" refForName="LevelTwoTextNode" op="equ" fact="0.25"/>
      <dgm:constr type="sibSp" for="des" forName="level3hierChild" refType="h" refFor="des" refForName="LevelTwoTextNode" op="equ" fact="0.25"/>
      <dgm:constr type="sp" for="des" forName="root1" refType="w" refFor="des" refForName="LevelTwoTextNode" fact="0.2"/>
      <dgm:constr type="sp" for="des" forName="root2" refType="sp" refFor="des" refForName="root1" op="equ"/>
      <dgm:constr type="primFontSz" for="des" forName="LevelOneTextNode" op="equ" val="65"/>
      <dgm:constr type="primFontSz" for="des" forName="LevelTwoTextNode" op="equ" val="65"/>
      <dgm:constr type="primFontSz" for="des" forName="LevelTwoTextNode" refType="primFontSz" refFor="des" refForName="LevelOneTextNode" op="lte"/>
      <dgm:constr type="primFontSz" for="des" forName="connTx" op="equ" val="50"/>
      <dgm:constr type="primFontSz" for="des" forName="connTx" refType="primFontSz" refFor="des" refForName="LevelOneTextNode" op="lte" fact="0.78"/>
    </dgm:constrLst>
    <dgm:forEach name="Name4" axis="ch">
      <dgm:forEach name="Name5" axis="self" ptType="node">
        <dgm:layoutNode name="root1">
          <dgm:choose name="Name6">
            <dgm:if name="Name7" func="var" arg="dir" op="equ" val="norm">
              <dgm:alg type="hierRoot">
                <dgm:param type="hierAlign" val="lCtrCh"/>
              </dgm:alg>
            </dgm:if>
            <dgm:else name="Name8">
              <dgm:alg type="hierRoot">
                <dgm:param type="hierAlign" val="rCtrCh"/>
              </dgm:alg>
            </dgm:else>
          </dgm:choose>
          <dgm:shape xmlns:r="http://schemas.openxmlformats.org/officeDocument/2006/relationships" r:blip="">
            <dgm:adjLst/>
          </dgm:shape>
          <dgm:presOf/>
          <dgm:layoutNode name="LevelOneTextNode" styleLbl="node0">
            <dgm:varLst>
              <dgm:chPref val="3"/>
            </dgm:varLst>
            <dgm:alg type="tx">
              <dgm:param type="autoTxRot" val="grav"/>
            </dgm:alg>
            <dgm:choose name="Name9">
              <dgm:if name="Name10" func="var" arg="dir" op="equ" val="norm">
                <dgm:shape xmlns:r="http://schemas.openxmlformats.org/officeDocument/2006/relationships" rot="270" type="rect" r:blip="">
                  <dgm:adjLst/>
                </dgm:shape>
              </dgm:if>
              <dgm:else name="Name11">
                <dgm:shape xmlns:r="http://schemas.openxmlformats.org/officeDocument/2006/relationships" rot="90" type="rect" r:blip="">
                  <dgm:adjLst/>
                </dgm:shape>
              </dgm:else>
            </dgm:choose>
            <dgm:presOf axis="self"/>
            <dgm:constrLst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2" fact="NaN" max="NaN"/>
            </dgm:ruleLst>
          </dgm:layoutNode>
          <dgm:layoutNode name="level2hierChild">
            <dgm:choose name="Name12">
              <dgm:if name="Name13" func="var" arg="dir" op="equ" val="norm">
                <dgm:alg type="hierChild">
                  <dgm:param type="linDir" val="fromT"/>
                  <dgm:param type="chAlign" val="l"/>
                </dgm:alg>
              </dgm:if>
              <dgm:else name="Name14">
                <dgm:alg type="hierChild">
                  <dgm:param type="linDir" val="fromT"/>
                  <dgm:param type="chAlign" val="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forEach name="repeat" axis="ch">
              <dgm:forEach name="Name15" axis="self" ptType="parTrans" cnt="1">
                <dgm:layoutNode name="conn2-1">
                  <dgm:choose name="Name16">
                    <dgm:if name="Name17" func="var" arg="dir" op="equ" val="norm">
                      <dgm:alg type="conn">
                        <dgm:param type="dim" val="1D"/>
                        <dgm:param type="begPts" val="midR"/>
                        <dgm:param type="endPts" val="midL"/>
                        <dgm:param type="endSty" val="noArr"/>
                        <dgm:param type="connRout" val="bend"/>
                      </dgm:alg>
                    </dgm:if>
                    <dgm:else name="Name18">
                      <dgm:alg type="conn">
                        <dgm:param type="dim" val="1D"/>
                        <dgm:param type="begPts" val="midL"/>
                        <dgm:param type="endPts" val="midR"/>
                        <dgm:param type="endSty" val="noArr"/>
                        <dgm:param type="connRout" val="bend"/>
                      </dgm:alg>
                    </dgm:else>
                  </dgm:choose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w" val="1"/>
                    <dgm:constr type="h" val="5"/>
                    <dgm:constr type="connDist"/>
                    <dgm:constr type="begPad"/>
                    <dgm:constr type="endPad"/>
                    <dgm:constr type="userA" for="ch" refType="connDist"/>
                  </dgm:constrLst>
                  <dgm:layoutNode name="connTx">
                    <dgm:alg type="tx">
                      <dgm:param type="autoTxRot" val="grav"/>
                    </dgm:alg>
                    <dgm:shape xmlns:r="http://schemas.openxmlformats.org/officeDocument/2006/relationships" type="rect" r:blip="" hideGeom="1">
                      <dgm:adjLst/>
                    </dgm:shape>
                    <dgm:presOf axis="self"/>
                    <dgm:constrLst>
                      <dgm:constr type="userA"/>
                      <dgm:constr type="w" refType="userA" fact="0.05"/>
                      <dgm:constr type="h" refType="userA" fact="0.05"/>
                      <dgm:constr type="lMarg" val="1"/>
                      <dgm:constr type="rMarg" val="1"/>
                      <dgm:constr type="tMarg"/>
                      <dgm:constr type="bMarg"/>
                    </dgm:constrLst>
                    <dgm:ruleLst>
                      <dgm:rule type="h" val="NaN" fact="0.25" max="NaN"/>
                      <dgm:rule type="w" val="NaN" fact="0.8" max="NaN"/>
                      <dgm:rule type="primFontSz" val="5" fact="NaN" max="NaN"/>
                    </dgm:ruleLst>
                  </dgm:layoutNode>
                </dgm:layoutNode>
              </dgm:forEach>
              <dgm:forEach name="Name19" axis="self" ptType="node">
                <dgm:layoutNode name="root2">
                  <dgm:choose name="Name20">
                    <dgm:if name="Name21" func="var" arg="dir" op="equ" val="norm">
                      <dgm:alg type="hierRoot">
                        <dgm:param type="hierAlign" val="lCtrCh"/>
                      </dgm:alg>
                    </dgm:if>
                    <dgm:else name="Name22">
                      <dgm:alg type="hierRoot">
                        <dgm:param type="hierAlign" val="rCtrCh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layoutNode name="LevelTwoTextNode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/>
                    <dgm:constrLst>
                      <dgm:constr type="tMarg" refType="primFontSz" fact="0.05"/>
                      <dgm:constr type="bMarg" refType="primFontSz" fact="0.05"/>
                      <dgm:constr type="lMarg" refType="primFontSz" fact="0.05"/>
                      <dgm:constr type="rMarg" refType="primFontSz" fact="0.05"/>
                    </dgm:constrLst>
                    <dgm:ruleLst>
                      <dgm:rule type="primFontSz" val="2" fact="NaN" max="NaN"/>
                    </dgm:ruleLst>
                  </dgm:layoutNode>
                  <dgm:layoutNode name="level3hierChild">
                    <dgm:choose name="Name23">
                      <dgm:if name="Name24" func="var" arg="dir" op="equ" val="norm">
                        <dgm:alg type="hierChild">
                          <dgm:param type="linDir" val="fromT"/>
                          <dgm:param type="chAlign" val="l"/>
                        </dgm:alg>
                      </dgm:if>
                      <dgm:else name="Name25">
                        <dgm:alg type="hierChild">
                          <dgm:param type="linDir" val="fromT"/>
                          <dgm:param type="chAlign" val="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forEach name="Name26" ref="repeat"/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7.xml><?xml version="1.0" encoding="utf-8"?>
<dgm:layoutDef xmlns:dgm="http://schemas.openxmlformats.org/drawingml/2006/diagram" xmlns:a="http://schemas.openxmlformats.org/drawingml/2006/main" uniqueId="urn:microsoft.com/office/officeart/2008/layout/HorizontalMultiLevelHierarchy">
  <dgm:title val=""/>
  <dgm:desc val=""/>
  <dgm:catLst>
    <dgm:cat type="hierarchy" pri="46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 val="exact"/>
    </dgm:varLst>
    <dgm:choose name="Name1">
      <dgm:if name="Name2" func="var" arg="dir" op="equ" val="norm">
        <dgm:alg type="hierChild">
          <dgm:param type="linDir" val="fromT"/>
          <dgm:param type="chAlign" val="l"/>
        </dgm:alg>
      </dgm:if>
      <dgm:else name="Name3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des" forName="LevelOneTextNode" refType="h"/>
      <dgm:constr type="w" for="des" forName="LevelOneTextNode" refType="h" refFor="des" refForName="LevelOneTextNode" fact="0.19"/>
      <dgm:constr type="h" for="des" forName="LevelTwoTextNode" refType="w" refFor="des" refForName="LevelOneTextNode"/>
      <dgm:constr type="w" for="des" forName="LevelTwoTextNode" refType="h" refFor="des" refForName="LevelTwoTextNode" fact="3.28"/>
      <dgm:constr type="sibSp" refType="h" refFor="des" refForName="LevelTwoTextNode" op="equ" fact="0.25"/>
      <dgm:constr type="sibSp" for="des" forName="level2hierChild" refType="h" refFor="des" refForName="LevelTwoTextNode" op="equ" fact="0.25"/>
      <dgm:constr type="sibSp" for="des" forName="level3hierChild" refType="h" refFor="des" refForName="LevelTwoTextNode" op="equ" fact="0.25"/>
      <dgm:constr type="sp" for="des" forName="root1" refType="w" refFor="des" refForName="LevelTwoTextNode" fact="0.2"/>
      <dgm:constr type="sp" for="des" forName="root2" refType="sp" refFor="des" refForName="root1" op="equ"/>
      <dgm:constr type="primFontSz" for="des" forName="LevelOneTextNode" op="equ" val="65"/>
      <dgm:constr type="primFontSz" for="des" forName="LevelTwoTextNode" op="equ" val="65"/>
      <dgm:constr type="primFontSz" for="des" forName="LevelTwoTextNode" refType="primFontSz" refFor="des" refForName="LevelOneTextNode" op="lte"/>
      <dgm:constr type="primFontSz" for="des" forName="connTx" op="equ" val="50"/>
      <dgm:constr type="primFontSz" for="des" forName="connTx" refType="primFontSz" refFor="des" refForName="LevelOneTextNode" op="lte" fact="0.78"/>
    </dgm:constrLst>
    <dgm:forEach name="Name4" axis="ch">
      <dgm:forEach name="Name5" axis="self" ptType="node">
        <dgm:layoutNode name="root1">
          <dgm:choose name="Name6">
            <dgm:if name="Name7" func="var" arg="dir" op="equ" val="norm">
              <dgm:alg type="hierRoot">
                <dgm:param type="hierAlign" val="lCtrCh"/>
              </dgm:alg>
            </dgm:if>
            <dgm:else name="Name8">
              <dgm:alg type="hierRoot">
                <dgm:param type="hierAlign" val="rCtrCh"/>
              </dgm:alg>
            </dgm:else>
          </dgm:choose>
          <dgm:shape xmlns:r="http://schemas.openxmlformats.org/officeDocument/2006/relationships" r:blip="">
            <dgm:adjLst/>
          </dgm:shape>
          <dgm:presOf/>
          <dgm:layoutNode name="LevelOneTextNode" styleLbl="node0">
            <dgm:varLst>
              <dgm:chPref val="3"/>
            </dgm:varLst>
            <dgm:alg type="tx">
              <dgm:param type="autoTxRot" val="grav"/>
            </dgm:alg>
            <dgm:choose name="Name9">
              <dgm:if name="Name10" func="var" arg="dir" op="equ" val="norm">
                <dgm:shape xmlns:r="http://schemas.openxmlformats.org/officeDocument/2006/relationships" rot="270" type="rect" r:blip="">
                  <dgm:adjLst/>
                </dgm:shape>
              </dgm:if>
              <dgm:else name="Name11">
                <dgm:shape xmlns:r="http://schemas.openxmlformats.org/officeDocument/2006/relationships" rot="90" type="rect" r:blip="">
                  <dgm:adjLst/>
                </dgm:shape>
              </dgm:else>
            </dgm:choose>
            <dgm:presOf axis="self"/>
            <dgm:constrLst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2" fact="NaN" max="NaN"/>
            </dgm:ruleLst>
          </dgm:layoutNode>
          <dgm:layoutNode name="level2hierChild">
            <dgm:choose name="Name12">
              <dgm:if name="Name13" func="var" arg="dir" op="equ" val="norm">
                <dgm:alg type="hierChild">
                  <dgm:param type="linDir" val="fromT"/>
                  <dgm:param type="chAlign" val="l"/>
                </dgm:alg>
              </dgm:if>
              <dgm:else name="Name14">
                <dgm:alg type="hierChild">
                  <dgm:param type="linDir" val="fromT"/>
                  <dgm:param type="chAlign" val="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forEach name="repeat" axis="ch">
              <dgm:forEach name="Name15" axis="self" ptType="parTrans" cnt="1">
                <dgm:layoutNode name="conn2-1">
                  <dgm:choose name="Name16">
                    <dgm:if name="Name17" func="var" arg="dir" op="equ" val="norm">
                      <dgm:alg type="conn">
                        <dgm:param type="dim" val="1D"/>
                        <dgm:param type="begPts" val="midR"/>
                        <dgm:param type="endPts" val="midL"/>
                        <dgm:param type="endSty" val="noArr"/>
                        <dgm:param type="connRout" val="bend"/>
                      </dgm:alg>
                    </dgm:if>
                    <dgm:else name="Name18">
                      <dgm:alg type="conn">
                        <dgm:param type="dim" val="1D"/>
                        <dgm:param type="begPts" val="midL"/>
                        <dgm:param type="endPts" val="midR"/>
                        <dgm:param type="endSty" val="noArr"/>
                        <dgm:param type="connRout" val="bend"/>
                      </dgm:alg>
                    </dgm:else>
                  </dgm:choose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w" val="1"/>
                    <dgm:constr type="h" val="5"/>
                    <dgm:constr type="connDist"/>
                    <dgm:constr type="begPad"/>
                    <dgm:constr type="endPad"/>
                    <dgm:constr type="userA" for="ch" refType="connDist"/>
                  </dgm:constrLst>
                  <dgm:layoutNode name="connTx">
                    <dgm:alg type="tx">
                      <dgm:param type="autoTxRot" val="grav"/>
                    </dgm:alg>
                    <dgm:shape xmlns:r="http://schemas.openxmlformats.org/officeDocument/2006/relationships" type="rect" r:blip="" hideGeom="1">
                      <dgm:adjLst/>
                    </dgm:shape>
                    <dgm:presOf axis="self"/>
                    <dgm:constrLst>
                      <dgm:constr type="userA"/>
                      <dgm:constr type="w" refType="userA" fact="0.05"/>
                      <dgm:constr type="h" refType="userA" fact="0.05"/>
                      <dgm:constr type="lMarg" val="1"/>
                      <dgm:constr type="rMarg" val="1"/>
                      <dgm:constr type="tMarg"/>
                      <dgm:constr type="bMarg"/>
                    </dgm:constrLst>
                    <dgm:ruleLst>
                      <dgm:rule type="h" val="NaN" fact="0.25" max="NaN"/>
                      <dgm:rule type="w" val="NaN" fact="0.8" max="NaN"/>
                      <dgm:rule type="primFontSz" val="5" fact="NaN" max="NaN"/>
                    </dgm:ruleLst>
                  </dgm:layoutNode>
                </dgm:layoutNode>
              </dgm:forEach>
              <dgm:forEach name="Name19" axis="self" ptType="node">
                <dgm:layoutNode name="root2">
                  <dgm:choose name="Name20">
                    <dgm:if name="Name21" func="var" arg="dir" op="equ" val="norm">
                      <dgm:alg type="hierRoot">
                        <dgm:param type="hierAlign" val="lCtrCh"/>
                      </dgm:alg>
                    </dgm:if>
                    <dgm:else name="Name22">
                      <dgm:alg type="hierRoot">
                        <dgm:param type="hierAlign" val="rCtrCh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layoutNode name="LevelTwoTextNode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/>
                    <dgm:constrLst>
                      <dgm:constr type="tMarg" refType="primFontSz" fact="0.05"/>
                      <dgm:constr type="bMarg" refType="primFontSz" fact="0.05"/>
                      <dgm:constr type="lMarg" refType="primFontSz" fact="0.05"/>
                      <dgm:constr type="rMarg" refType="primFontSz" fact="0.05"/>
                    </dgm:constrLst>
                    <dgm:ruleLst>
                      <dgm:rule type="primFontSz" val="2" fact="NaN" max="NaN"/>
                    </dgm:ruleLst>
                  </dgm:layoutNode>
                  <dgm:layoutNode name="level3hierChild">
                    <dgm:choose name="Name23">
                      <dgm:if name="Name24" func="var" arg="dir" op="equ" val="norm">
                        <dgm:alg type="hierChild">
                          <dgm:param type="linDir" val="fromT"/>
                          <dgm:param type="chAlign" val="l"/>
                        </dgm:alg>
                      </dgm:if>
                      <dgm:else name="Name25">
                        <dgm:alg type="hierChild">
                          <dgm:param type="linDir" val="fromT"/>
                          <dgm:param type="chAlign" val="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forEach name="Name26" ref="repeat"/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8.xml><?xml version="1.0" encoding="utf-8"?>
<dgm:layoutDef xmlns:dgm="http://schemas.openxmlformats.org/drawingml/2006/diagram" xmlns:a="http://schemas.openxmlformats.org/drawingml/2006/main" uniqueId="urn:microsoft.com/office/officeart/2008/layout/HorizontalMultiLevelHierarchy">
  <dgm:title val=""/>
  <dgm:desc val=""/>
  <dgm:catLst>
    <dgm:cat type="hierarchy" pri="46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 val="exact"/>
    </dgm:varLst>
    <dgm:choose name="Name1">
      <dgm:if name="Name2" func="var" arg="dir" op="equ" val="norm">
        <dgm:alg type="hierChild">
          <dgm:param type="linDir" val="fromT"/>
          <dgm:param type="chAlign" val="l"/>
        </dgm:alg>
      </dgm:if>
      <dgm:else name="Name3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des" forName="LevelOneTextNode" refType="h"/>
      <dgm:constr type="w" for="des" forName="LevelOneTextNode" refType="h" refFor="des" refForName="LevelOneTextNode" fact="0.19"/>
      <dgm:constr type="h" for="des" forName="LevelTwoTextNode" refType="w" refFor="des" refForName="LevelOneTextNode"/>
      <dgm:constr type="w" for="des" forName="LevelTwoTextNode" refType="h" refFor="des" refForName="LevelTwoTextNode" fact="3.28"/>
      <dgm:constr type="sibSp" refType="h" refFor="des" refForName="LevelTwoTextNode" op="equ" fact="0.25"/>
      <dgm:constr type="sibSp" for="des" forName="level2hierChild" refType="h" refFor="des" refForName="LevelTwoTextNode" op="equ" fact="0.25"/>
      <dgm:constr type="sibSp" for="des" forName="level3hierChild" refType="h" refFor="des" refForName="LevelTwoTextNode" op="equ" fact="0.25"/>
      <dgm:constr type="sp" for="des" forName="root1" refType="w" refFor="des" refForName="LevelTwoTextNode" fact="0.2"/>
      <dgm:constr type="sp" for="des" forName="root2" refType="sp" refFor="des" refForName="root1" op="equ"/>
      <dgm:constr type="primFontSz" for="des" forName="LevelOneTextNode" op="equ" val="65"/>
      <dgm:constr type="primFontSz" for="des" forName="LevelTwoTextNode" op="equ" val="65"/>
      <dgm:constr type="primFontSz" for="des" forName="LevelTwoTextNode" refType="primFontSz" refFor="des" refForName="LevelOneTextNode" op="lte"/>
      <dgm:constr type="primFontSz" for="des" forName="connTx" op="equ" val="50"/>
      <dgm:constr type="primFontSz" for="des" forName="connTx" refType="primFontSz" refFor="des" refForName="LevelOneTextNode" op="lte" fact="0.78"/>
    </dgm:constrLst>
    <dgm:forEach name="Name4" axis="ch">
      <dgm:forEach name="Name5" axis="self" ptType="node">
        <dgm:layoutNode name="root1">
          <dgm:choose name="Name6">
            <dgm:if name="Name7" func="var" arg="dir" op="equ" val="norm">
              <dgm:alg type="hierRoot">
                <dgm:param type="hierAlign" val="lCtrCh"/>
              </dgm:alg>
            </dgm:if>
            <dgm:else name="Name8">
              <dgm:alg type="hierRoot">
                <dgm:param type="hierAlign" val="rCtrCh"/>
              </dgm:alg>
            </dgm:else>
          </dgm:choose>
          <dgm:shape xmlns:r="http://schemas.openxmlformats.org/officeDocument/2006/relationships" r:blip="">
            <dgm:adjLst/>
          </dgm:shape>
          <dgm:presOf/>
          <dgm:layoutNode name="LevelOneTextNode" styleLbl="node0">
            <dgm:varLst>
              <dgm:chPref val="3"/>
            </dgm:varLst>
            <dgm:alg type="tx">
              <dgm:param type="autoTxRot" val="grav"/>
            </dgm:alg>
            <dgm:choose name="Name9">
              <dgm:if name="Name10" func="var" arg="dir" op="equ" val="norm">
                <dgm:shape xmlns:r="http://schemas.openxmlformats.org/officeDocument/2006/relationships" rot="270" type="rect" r:blip="">
                  <dgm:adjLst/>
                </dgm:shape>
              </dgm:if>
              <dgm:else name="Name11">
                <dgm:shape xmlns:r="http://schemas.openxmlformats.org/officeDocument/2006/relationships" rot="90" type="rect" r:blip="">
                  <dgm:adjLst/>
                </dgm:shape>
              </dgm:else>
            </dgm:choose>
            <dgm:presOf axis="self"/>
            <dgm:constrLst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2" fact="NaN" max="NaN"/>
            </dgm:ruleLst>
          </dgm:layoutNode>
          <dgm:layoutNode name="level2hierChild">
            <dgm:choose name="Name12">
              <dgm:if name="Name13" func="var" arg="dir" op="equ" val="norm">
                <dgm:alg type="hierChild">
                  <dgm:param type="linDir" val="fromT"/>
                  <dgm:param type="chAlign" val="l"/>
                </dgm:alg>
              </dgm:if>
              <dgm:else name="Name14">
                <dgm:alg type="hierChild">
                  <dgm:param type="linDir" val="fromT"/>
                  <dgm:param type="chAlign" val="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forEach name="repeat" axis="ch">
              <dgm:forEach name="Name15" axis="self" ptType="parTrans" cnt="1">
                <dgm:layoutNode name="conn2-1">
                  <dgm:choose name="Name16">
                    <dgm:if name="Name17" func="var" arg="dir" op="equ" val="norm">
                      <dgm:alg type="conn">
                        <dgm:param type="dim" val="1D"/>
                        <dgm:param type="begPts" val="midR"/>
                        <dgm:param type="endPts" val="midL"/>
                        <dgm:param type="endSty" val="noArr"/>
                        <dgm:param type="connRout" val="bend"/>
                      </dgm:alg>
                    </dgm:if>
                    <dgm:else name="Name18">
                      <dgm:alg type="conn">
                        <dgm:param type="dim" val="1D"/>
                        <dgm:param type="begPts" val="midL"/>
                        <dgm:param type="endPts" val="midR"/>
                        <dgm:param type="endSty" val="noArr"/>
                        <dgm:param type="connRout" val="bend"/>
                      </dgm:alg>
                    </dgm:else>
                  </dgm:choose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w" val="1"/>
                    <dgm:constr type="h" val="5"/>
                    <dgm:constr type="connDist"/>
                    <dgm:constr type="begPad"/>
                    <dgm:constr type="endPad"/>
                    <dgm:constr type="userA" for="ch" refType="connDist"/>
                  </dgm:constrLst>
                  <dgm:layoutNode name="connTx">
                    <dgm:alg type="tx">
                      <dgm:param type="autoTxRot" val="grav"/>
                    </dgm:alg>
                    <dgm:shape xmlns:r="http://schemas.openxmlformats.org/officeDocument/2006/relationships" type="rect" r:blip="" hideGeom="1">
                      <dgm:adjLst/>
                    </dgm:shape>
                    <dgm:presOf axis="self"/>
                    <dgm:constrLst>
                      <dgm:constr type="userA"/>
                      <dgm:constr type="w" refType="userA" fact="0.05"/>
                      <dgm:constr type="h" refType="userA" fact="0.05"/>
                      <dgm:constr type="lMarg" val="1"/>
                      <dgm:constr type="rMarg" val="1"/>
                      <dgm:constr type="tMarg"/>
                      <dgm:constr type="bMarg"/>
                    </dgm:constrLst>
                    <dgm:ruleLst>
                      <dgm:rule type="h" val="NaN" fact="0.25" max="NaN"/>
                      <dgm:rule type="w" val="NaN" fact="0.8" max="NaN"/>
                      <dgm:rule type="primFontSz" val="5" fact="NaN" max="NaN"/>
                    </dgm:ruleLst>
                  </dgm:layoutNode>
                </dgm:layoutNode>
              </dgm:forEach>
              <dgm:forEach name="Name19" axis="self" ptType="node">
                <dgm:layoutNode name="root2">
                  <dgm:choose name="Name20">
                    <dgm:if name="Name21" func="var" arg="dir" op="equ" val="norm">
                      <dgm:alg type="hierRoot">
                        <dgm:param type="hierAlign" val="lCtrCh"/>
                      </dgm:alg>
                    </dgm:if>
                    <dgm:else name="Name22">
                      <dgm:alg type="hierRoot">
                        <dgm:param type="hierAlign" val="rCtrCh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layoutNode name="LevelTwoTextNode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/>
                    <dgm:constrLst>
                      <dgm:constr type="tMarg" refType="primFontSz" fact="0.05"/>
                      <dgm:constr type="bMarg" refType="primFontSz" fact="0.05"/>
                      <dgm:constr type="lMarg" refType="primFontSz" fact="0.05"/>
                      <dgm:constr type="rMarg" refType="primFontSz" fact="0.05"/>
                    </dgm:constrLst>
                    <dgm:ruleLst>
                      <dgm:rule type="primFontSz" val="2" fact="NaN" max="NaN"/>
                    </dgm:ruleLst>
                  </dgm:layoutNode>
                  <dgm:layoutNode name="level3hierChild">
                    <dgm:choose name="Name23">
                      <dgm:if name="Name24" func="var" arg="dir" op="equ" val="norm">
                        <dgm:alg type="hierChild">
                          <dgm:param type="linDir" val="fromT"/>
                          <dgm:param type="chAlign" val="l"/>
                        </dgm:alg>
                      </dgm:if>
                      <dgm:else name="Name25">
                        <dgm:alg type="hierChild">
                          <dgm:param type="linDir" val="fromT"/>
                          <dgm:param type="chAlign" val="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forEach name="Name26" ref="repeat"/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9.xml><?xml version="1.0" encoding="utf-8"?>
<dgm:layoutDef xmlns:dgm="http://schemas.openxmlformats.org/drawingml/2006/diagram" xmlns:a="http://schemas.openxmlformats.org/drawingml/2006/main" uniqueId="urn:microsoft.com/office/officeart/2008/layout/HorizontalMultiLevelHierarchy">
  <dgm:title val=""/>
  <dgm:desc val=""/>
  <dgm:catLst>
    <dgm:cat type="hierarchy" pri="46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 val="exact"/>
    </dgm:varLst>
    <dgm:choose name="Name1">
      <dgm:if name="Name2" func="var" arg="dir" op="equ" val="norm">
        <dgm:alg type="hierChild">
          <dgm:param type="linDir" val="fromT"/>
          <dgm:param type="chAlign" val="l"/>
        </dgm:alg>
      </dgm:if>
      <dgm:else name="Name3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des" forName="LevelOneTextNode" refType="h"/>
      <dgm:constr type="w" for="des" forName="LevelOneTextNode" refType="h" refFor="des" refForName="LevelOneTextNode" fact="0.19"/>
      <dgm:constr type="h" for="des" forName="LevelTwoTextNode" refType="w" refFor="des" refForName="LevelOneTextNode"/>
      <dgm:constr type="w" for="des" forName="LevelTwoTextNode" refType="h" refFor="des" refForName="LevelTwoTextNode" fact="3.28"/>
      <dgm:constr type="sibSp" refType="h" refFor="des" refForName="LevelTwoTextNode" op="equ" fact="0.25"/>
      <dgm:constr type="sibSp" for="des" forName="level2hierChild" refType="h" refFor="des" refForName="LevelTwoTextNode" op="equ" fact="0.25"/>
      <dgm:constr type="sibSp" for="des" forName="level3hierChild" refType="h" refFor="des" refForName="LevelTwoTextNode" op="equ" fact="0.25"/>
      <dgm:constr type="sp" for="des" forName="root1" refType="w" refFor="des" refForName="LevelTwoTextNode" fact="0.2"/>
      <dgm:constr type="sp" for="des" forName="root2" refType="sp" refFor="des" refForName="root1" op="equ"/>
      <dgm:constr type="primFontSz" for="des" forName="LevelOneTextNode" op="equ" val="65"/>
      <dgm:constr type="primFontSz" for="des" forName="LevelTwoTextNode" op="equ" val="65"/>
      <dgm:constr type="primFontSz" for="des" forName="LevelTwoTextNode" refType="primFontSz" refFor="des" refForName="LevelOneTextNode" op="lte"/>
      <dgm:constr type="primFontSz" for="des" forName="connTx" op="equ" val="50"/>
      <dgm:constr type="primFontSz" for="des" forName="connTx" refType="primFontSz" refFor="des" refForName="LevelOneTextNode" op="lte" fact="0.78"/>
    </dgm:constrLst>
    <dgm:forEach name="Name4" axis="ch">
      <dgm:forEach name="Name5" axis="self" ptType="node">
        <dgm:layoutNode name="root1">
          <dgm:choose name="Name6">
            <dgm:if name="Name7" func="var" arg="dir" op="equ" val="norm">
              <dgm:alg type="hierRoot">
                <dgm:param type="hierAlign" val="lCtrCh"/>
              </dgm:alg>
            </dgm:if>
            <dgm:else name="Name8">
              <dgm:alg type="hierRoot">
                <dgm:param type="hierAlign" val="rCtrCh"/>
              </dgm:alg>
            </dgm:else>
          </dgm:choose>
          <dgm:shape xmlns:r="http://schemas.openxmlformats.org/officeDocument/2006/relationships" r:blip="">
            <dgm:adjLst/>
          </dgm:shape>
          <dgm:presOf/>
          <dgm:layoutNode name="LevelOneTextNode" styleLbl="node0">
            <dgm:varLst>
              <dgm:chPref val="3"/>
            </dgm:varLst>
            <dgm:alg type="tx">
              <dgm:param type="autoTxRot" val="grav"/>
            </dgm:alg>
            <dgm:choose name="Name9">
              <dgm:if name="Name10" func="var" arg="dir" op="equ" val="norm">
                <dgm:shape xmlns:r="http://schemas.openxmlformats.org/officeDocument/2006/relationships" rot="270" type="rect" r:blip="">
                  <dgm:adjLst/>
                </dgm:shape>
              </dgm:if>
              <dgm:else name="Name11">
                <dgm:shape xmlns:r="http://schemas.openxmlformats.org/officeDocument/2006/relationships" rot="90" type="rect" r:blip="">
                  <dgm:adjLst/>
                </dgm:shape>
              </dgm:else>
            </dgm:choose>
            <dgm:presOf axis="self"/>
            <dgm:constrLst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2" fact="NaN" max="NaN"/>
            </dgm:ruleLst>
          </dgm:layoutNode>
          <dgm:layoutNode name="level2hierChild">
            <dgm:choose name="Name12">
              <dgm:if name="Name13" func="var" arg="dir" op="equ" val="norm">
                <dgm:alg type="hierChild">
                  <dgm:param type="linDir" val="fromT"/>
                  <dgm:param type="chAlign" val="l"/>
                </dgm:alg>
              </dgm:if>
              <dgm:else name="Name14">
                <dgm:alg type="hierChild">
                  <dgm:param type="linDir" val="fromT"/>
                  <dgm:param type="chAlign" val="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forEach name="repeat" axis="ch">
              <dgm:forEach name="Name15" axis="self" ptType="parTrans" cnt="1">
                <dgm:layoutNode name="conn2-1">
                  <dgm:choose name="Name16">
                    <dgm:if name="Name17" func="var" arg="dir" op="equ" val="norm">
                      <dgm:alg type="conn">
                        <dgm:param type="dim" val="1D"/>
                        <dgm:param type="begPts" val="midR"/>
                        <dgm:param type="endPts" val="midL"/>
                        <dgm:param type="endSty" val="noArr"/>
                        <dgm:param type="connRout" val="bend"/>
                      </dgm:alg>
                    </dgm:if>
                    <dgm:else name="Name18">
                      <dgm:alg type="conn">
                        <dgm:param type="dim" val="1D"/>
                        <dgm:param type="begPts" val="midL"/>
                        <dgm:param type="endPts" val="midR"/>
                        <dgm:param type="endSty" val="noArr"/>
                        <dgm:param type="connRout" val="bend"/>
                      </dgm:alg>
                    </dgm:else>
                  </dgm:choose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w" val="1"/>
                    <dgm:constr type="h" val="5"/>
                    <dgm:constr type="connDist"/>
                    <dgm:constr type="begPad"/>
                    <dgm:constr type="endPad"/>
                    <dgm:constr type="userA" for="ch" refType="connDist"/>
                  </dgm:constrLst>
                  <dgm:layoutNode name="connTx">
                    <dgm:alg type="tx">
                      <dgm:param type="autoTxRot" val="grav"/>
                    </dgm:alg>
                    <dgm:shape xmlns:r="http://schemas.openxmlformats.org/officeDocument/2006/relationships" type="rect" r:blip="" hideGeom="1">
                      <dgm:adjLst/>
                    </dgm:shape>
                    <dgm:presOf axis="self"/>
                    <dgm:constrLst>
                      <dgm:constr type="userA"/>
                      <dgm:constr type="w" refType="userA" fact="0.05"/>
                      <dgm:constr type="h" refType="userA" fact="0.05"/>
                      <dgm:constr type="lMarg" val="1"/>
                      <dgm:constr type="rMarg" val="1"/>
                      <dgm:constr type="tMarg"/>
                      <dgm:constr type="bMarg"/>
                    </dgm:constrLst>
                    <dgm:ruleLst>
                      <dgm:rule type="h" val="NaN" fact="0.25" max="NaN"/>
                      <dgm:rule type="w" val="NaN" fact="0.8" max="NaN"/>
                      <dgm:rule type="primFontSz" val="5" fact="NaN" max="NaN"/>
                    </dgm:ruleLst>
                  </dgm:layoutNode>
                </dgm:layoutNode>
              </dgm:forEach>
              <dgm:forEach name="Name19" axis="self" ptType="node">
                <dgm:layoutNode name="root2">
                  <dgm:choose name="Name20">
                    <dgm:if name="Name21" func="var" arg="dir" op="equ" val="norm">
                      <dgm:alg type="hierRoot">
                        <dgm:param type="hierAlign" val="lCtrCh"/>
                      </dgm:alg>
                    </dgm:if>
                    <dgm:else name="Name22">
                      <dgm:alg type="hierRoot">
                        <dgm:param type="hierAlign" val="rCtrCh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layoutNode name="LevelTwoTextNode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/>
                    <dgm:constrLst>
                      <dgm:constr type="tMarg" refType="primFontSz" fact="0.05"/>
                      <dgm:constr type="bMarg" refType="primFontSz" fact="0.05"/>
                      <dgm:constr type="lMarg" refType="primFontSz" fact="0.05"/>
                      <dgm:constr type="rMarg" refType="primFontSz" fact="0.05"/>
                    </dgm:constrLst>
                    <dgm:ruleLst>
                      <dgm:rule type="primFontSz" val="2" fact="NaN" max="NaN"/>
                    </dgm:ruleLst>
                  </dgm:layoutNode>
                  <dgm:layoutNode name="level3hierChild">
                    <dgm:choose name="Name23">
                      <dgm:if name="Name24" func="var" arg="dir" op="equ" val="norm">
                        <dgm:alg type="hierChild">
                          <dgm:param type="linDir" val="fromT"/>
                          <dgm:param type="chAlign" val="l"/>
                        </dgm:alg>
                      </dgm:if>
                      <dgm:else name="Name25">
                        <dgm:alg type="hierChild">
                          <dgm:param type="linDir" val="fromT"/>
                          <dgm:param type="chAlign" val="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forEach name="Name26" ref="repeat"/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0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7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8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9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>
            <a:extLst>
              <a:ext uri="{FF2B5EF4-FFF2-40B4-BE49-F238E27FC236}">
                <a16:creationId xmlns:a16="http://schemas.microsoft.com/office/drawing/2014/main" id="{B028EFDA-A75E-49AB-9C1C-E96D5D820198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89DB3184-593B-4E78-B58C-DA62E4A2A4A3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C51B798-6D2C-417B-AF46-ECB70983C150}" type="datetimeFigureOut">
              <a:rPr lang="en-US" smtClean="0"/>
              <a:t>11/15/22</a:t>
            </a:fld>
            <a:endParaRPr lang="en-US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5015F87B-7E94-4DDB-9703-3B62B77C5F8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87C9CA73-2501-4D43-9D8D-E09D9E3F3DF7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8651251-5CB6-4896-AAF1-C5E7C80339FD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5484496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D00A665-AB63-487C-A689-A96D5AA0C864}" type="datetimeFigureOut">
              <a:rPr lang="en-US" smtClean="0"/>
              <a:t>11/15/22</a:t>
            </a:fld>
            <a:endParaRPr lang="en-US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455821" y="1143000"/>
            <a:ext cx="3946358" cy="2219826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4629F0A-9DE2-44AB-9A84-CC28BAF7B397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5266562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b="0" kern="1200">
        <a:solidFill>
          <a:schemeClr val="accent1"/>
        </a:solidFill>
        <a:latin typeface="+mj-lt"/>
        <a:ea typeface="+mn-ea"/>
        <a:cs typeface="+mn-cs"/>
      </a:defRPr>
    </a:lvl1pPr>
    <a:lvl2pPr marL="180975" indent="-180975" algn="l" defTabSz="914400" rtl="0" eaLnBrk="1" latinLnBrk="0" hangingPunct="1">
      <a:buClr>
        <a:schemeClr val="accent1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360363" indent="-179388" algn="l" defTabSz="914400" rtl="0" eaLnBrk="1" latinLnBrk="0" hangingPunct="1">
      <a:buClr>
        <a:schemeClr val="bg2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541338" indent="-180975" algn="l" defTabSz="914400" rtl="0" eaLnBrk="1" latinLnBrk="0" hangingPunct="1">
      <a:buClr>
        <a:schemeClr val="bg2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722313" indent="-180975" algn="l" defTabSz="914400" rtl="0" eaLnBrk="1" latinLnBrk="0" hangingPunct="1">
      <a:buClr>
        <a:schemeClr val="bg2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4629F0A-9DE2-44AB-9A84-CC28BAF7B397}" type="slidenum">
              <a:rPr lang="en-US" smtClean="0"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468249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1455738" y="1143000"/>
            <a:ext cx="3946525" cy="221932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4629F0A-9DE2-44AB-9A84-CC28BAF7B397}" type="slidenum">
              <a:rPr lang="en-US" smtClean="0"/>
              <a:t>2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66444871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1455738" y="1143000"/>
            <a:ext cx="3946525" cy="221932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3"/>
            <a:r>
              <a:rPr lang="de-DE" dirty="0"/>
              <a:t>Das Bild wird in ein </a:t>
            </a:r>
            <a:r>
              <a:rPr lang="de-DE" dirty="0" err="1"/>
              <a:t>Grid</a:t>
            </a:r>
            <a:r>
              <a:rPr lang="de-DE" dirty="0"/>
              <a:t> unterteilt</a:t>
            </a:r>
          </a:p>
          <a:p>
            <a:pPr lvl="4"/>
            <a:r>
              <a:rPr lang="de-DE" dirty="0"/>
              <a:t>YOLO </a:t>
            </a:r>
            <a:r>
              <a:rPr lang="de-DE" dirty="0" err="1"/>
              <a:t>predicted</a:t>
            </a:r>
            <a:r>
              <a:rPr lang="de-DE" dirty="0"/>
              <a:t> </a:t>
            </a:r>
            <a:r>
              <a:rPr lang="de-DE" dirty="0" err="1"/>
              <a:t>Bounding</a:t>
            </a:r>
            <a:r>
              <a:rPr lang="de-DE" dirty="0"/>
              <a:t> Boxes für jede Zelle</a:t>
            </a:r>
          </a:p>
          <a:p>
            <a:pPr lvl="4"/>
            <a:r>
              <a:rPr lang="de-DE" dirty="0"/>
              <a:t>Objekterkennung als Regressionsproblem</a:t>
            </a:r>
          </a:p>
          <a:p>
            <a:pPr lvl="4"/>
            <a:r>
              <a:rPr lang="de-DE" dirty="0"/>
              <a:t>Kein Post-</a:t>
            </a:r>
            <a:r>
              <a:rPr lang="de-DE" dirty="0" err="1"/>
              <a:t>processing</a:t>
            </a:r>
            <a:r>
              <a:rPr lang="de-DE" dirty="0"/>
              <a:t> benötigt</a:t>
            </a:r>
          </a:p>
          <a:p>
            <a:pPr lvl="4"/>
            <a:r>
              <a:rPr lang="de-DE" dirty="0"/>
              <a:t>Nutzt </a:t>
            </a:r>
            <a:r>
              <a:rPr lang="de-DE" dirty="0" err="1"/>
              <a:t>Mosaic</a:t>
            </a:r>
            <a:r>
              <a:rPr lang="de-DE" dirty="0"/>
              <a:t> Data Augmentation</a:t>
            </a:r>
          </a:p>
          <a:p>
            <a:pPr lvl="5"/>
            <a:r>
              <a:rPr lang="de-DE" dirty="0"/>
              <a:t>Mehrere Bilder werden zu einem Bild kombiniert</a:t>
            </a:r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4629F0A-9DE2-44AB-9A84-CC28BAF7B397}" type="slidenum">
              <a:rPr lang="en-US" smtClean="0"/>
              <a:t>2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67499023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1455738" y="1143000"/>
            <a:ext cx="3946525" cy="221932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4629F0A-9DE2-44AB-9A84-CC28BAF7B397}" type="slidenum">
              <a:rPr lang="en-US" smtClean="0"/>
              <a:t>2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91303836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1455738" y="1143000"/>
            <a:ext cx="3946525" cy="221932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4629F0A-9DE2-44AB-9A84-CC28BAF7B397}" type="slidenum">
              <a:rPr lang="en-US" smtClean="0"/>
              <a:t>2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00457809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1455738" y="1143000"/>
            <a:ext cx="3946525" cy="221932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4"/>
            <a:r>
              <a:rPr lang="de-DE" dirty="0"/>
              <a:t>steigert Unabhängigkeit von einzelnen Fehlern</a:t>
            </a:r>
          </a:p>
          <a:p>
            <a:pPr lvl="4"/>
            <a:r>
              <a:rPr lang="de-DE" dirty="0"/>
              <a:t>weniger </a:t>
            </a:r>
            <a:r>
              <a:rPr lang="de-DE" dirty="0" err="1"/>
              <a:t>false</a:t>
            </a:r>
            <a:r>
              <a:rPr lang="de-DE" dirty="0"/>
              <a:t> negatives aber mehr </a:t>
            </a:r>
            <a:r>
              <a:rPr lang="de-DE" dirty="0" err="1"/>
              <a:t>false</a:t>
            </a:r>
            <a:r>
              <a:rPr lang="de-DE" dirty="0"/>
              <a:t> </a:t>
            </a:r>
            <a:r>
              <a:rPr lang="de-DE" dirty="0" err="1"/>
              <a:t>postivies</a:t>
            </a:r>
            <a:r>
              <a:rPr lang="de-DE" dirty="0"/>
              <a:t> </a:t>
            </a:r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4629F0A-9DE2-44AB-9A84-CC28BAF7B397}" type="slidenum">
              <a:rPr lang="en-US" smtClean="0"/>
              <a:t>3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80243599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1455738" y="1143000"/>
            <a:ext cx="3946525" cy="221932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4629F0A-9DE2-44AB-9A84-CC28BAF7B397}" type="slidenum">
              <a:rPr lang="en-US" smtClean="0"/>
              <a:t>3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59044120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1455738" y="1143000"/>
            <a:ext cx="3946525" cy="221932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4629F0A-9DE2-44AB-9A84-CC28BAF7B397}" type="slidenum">
              <a:rPr lang="en-US" smtClean="0"/>
              <a:t>3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73511013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1455738" y="1143000"/>
            <a:ext cx="3946525" cy="221932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4629F0A-9DE2-44AB-9A84-CC28BAF7B397}" type="slidenum">
              <a:rPr lang="en-US" smtClean="0"/>
              <a:t>3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10031419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1455738" y="1143000"/>
            <a:ext cx="3946525" cy="221932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4629F0A-9DE2-44AB-9A84-CC28BAF7B397}" type="slidenum">
              <a:rPr lang="en-US" smtClean="0"/>
              <a:t>4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34035508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1455738" y="1143000"/>
            <a:ext cx="3946525" cy="221932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4629F0A-9DE2-44AB-9A84-CC28BAF7B397}" type="slidenum">
              <a:rPr lang="en-US" smtClean="0"/>
              <a:t>4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3392726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1455738" y="1143000"/>
            <a:ext cx="3946525" cy="221932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4629F0A-9DE2-44AB-9A84-CC28BAF7B397}" type="slidenum">
              <a:rPr lang="en-US" smtClean="0"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51009458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1455738" y="1143000"/>
            <a:ext cx="3946525" cy="221932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measures overall disparity between the different classes and the overall similarity within the classes. </a:t>
            </a:r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4629F0A-9DE2-44AB-9A84-CC28BAF7B397}" type="slidenum">
              <a:rPr lang="en-US" smtClean="0"/>
              <a:t>4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24501318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1455738" y="1143000"/>
            <a:ext cx="3946525" cy="221932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4629F0A-9DE2-44AB-9A84-CC28BAF7B397}" type="slidenum">
              <a:rPr lang="en-US" smtClean="0"/>
              <a:t>5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1974779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1455738" y="1143000"/>
            <a:ext cx="3946525" cy="221932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4"/>
            <a:r>
              <a:rPr lang="de-DE" dirty="0"/>
              <a:t>Alles </a:t>
            </a:r>
            <a:r>
              <a:rPr lang="de-DE" dirty="0" err="1"/>
              <a:t>Apoe</a:t>
            </a:r>
            <a:r>
              <a:rPr lang="de-DE" dirty="0"/>
              <a:t>-Knockout Mäuse (Entwickeln Atherosklerose durch Alter oder Fütterung)</a:t>
            </a:r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4629F0A-9DE2-44AB-9A84-CC28BAF7B397}" type="slidenum">
              <a:rPr lang="en-US" smtClean="0"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2044837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1455738" y="1143000"/>
            <a:ext cx="3946525" cy="221932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4629F0A-9DE2-44AB-9A84-CC28BAF7B397}" type="slidenum">
              <a:rPr lang="en-US" smtClean="0"/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1677384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1455738" y="1143000"/>
            <a:ext cx="3946525" cy="221932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4629F0A-9DE2-44AB-9A84-CC28BAF7B397}" type="slidenum">
              <a:rPr lang="en-US" smtClean="0"/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1588985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1455738" y="1143000"/>
            <a:ext cx="3946525" cy="221932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4629F0A-9DE2-44AB-9A84-CC28BAF7B397}" type="slidenum">
              <a:rPr lang="en-US" smtClean="0"/>
              <a:t>1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4508614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1455738" y="1143000"/>
            <a:ext cx="3946525" cy="221932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4629F0A-9DE2-44AB-9A84-CC28BAF7B397}" type="slidenum">
              <a:rPr lang="en-US" smtClean="0"/>
              <a:t>1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8365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1455738" y="1143000"/>
            <a:ext cx="3946525" cy="221932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>
                <a:latin typeface="+mn-lt"/>
                <a:sym typeface="Wingdings" panose="05000000000000000000" pitchFamily="2" charset="2"/>
              </a:rPr>
              <a:t>von Encoder, Learning Rate, Data </a:t>
            </a:r>
            <a:r>
              <a:rPr lang="de-DE" dirty="0" err="1">
                <a:latin typeface="+mn-lt"/>
                <a:sym typeface="Wingdings" panose="05000000000000000000" pitchFamily="2" charset="2"/>
              </a:rPr>
              <a:t>Augmentations</a:t>
            </a:r>
            <a:r>
              <a:rPr lang="de-DE" dirty="0">
                <a:latin typeface="+mn-lt"/>
                <a:sym typeface="Wingdings" panose="05000000000000000000" pitchFamily="2" charset="2"/>
              </a:rPr>
              <a:t>, ...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4629F0A-9DE2-44AB-9A84-CC28BAF7B397}" type="slidenum">
              <a:rPr lang="en-US" smtClean="0"/>
              <a:t>1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0363525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1455738" y="1143000"/>
            <a:ext cx="3946525" cy="221932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4629F0A-9DE2-44AB-9A84-CC28BAF7B397}" type="slidenum">
              <a:rPr lang="en-US" smtClean="0"/>
              <a:t>2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3351124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5" Type="http://schemas.openxmlformats.org/officeDocument/2006/relationships/image" Target="../media/image3.jpeg"/><Relationship Id="rId4" Type="http://schemas.openxmlformats.org/officeDocument/2006/relationships/image" Target="../media/image1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4" Type="http://schemas.openxmlformats.org/officeDocument/2006/relationships/image" Target="../media/image1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4" Type="http://schemas.openxmlformats.org/officeDocument/2006/relationships/image" Target="../media/image1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Relationship Id="rId4" Type="http://schemas.openxmlformats.org/officeDocument/2006/relationships/image" Target="../media/image1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Relationship Id="rId4" Type="http://schemas.openxmlformats.org/officeDocument/2006/relationships/image" Target="../media/image1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Relationship Id="rId4" Type="http://schemas.openxmlformats.org/officeDocument/2006/relationships/image" Target="../media/image1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.xml"/><Relationship Id="rId4" Type="http://schemas.openxmlformats.org/officeDocument/2006/relationships/image" Target="../media/image1.emf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3.xml"/><Relationship Id="rId4" Type="http://schemas.openxmlformats.org/officeDocument/2006/relationships/image" Target="../media/image1.emf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4.xml"/><Relationship Id="rId4" Type="http://schemas.openxmlformats.org/officeDocument/2006/relationships/image" Target="../media/image1.emf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5.xml"/><Relationship Id="rId4" Type="http://schemas.openxmlformats.org/officeDocument/2006/relationships/image" Target="../media/image1.emf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6.xml"/><Relationship Id="rId4" Type="http://schemas.openxmlformats.org/officeDocument/2006/relationships/image" Target="../media/image1.emf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7.xml"/><Relationship Id="rId4" Type="http://schemas.openxmlformats.org/officeDocument/2006/relationships/image" Target="../media/image1.emf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8.xml"/><Relationship Id="rId4" Type="http://schemas.openxmlformats.org/officeDocument/2006/relationships/image" Target="../media/image1.emf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9.xml"/><Relationship Id="rId5" Type="http://schemas.openxmlformats.org/officeDocument/2006/relationships/image" Target="../media/image4.jpeg"/><Relationship Id="rId4" Type="http://schemas.openxmlformats.org/officeDocument/2006/relationships/image" Target="../media/image1.emf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0.xml"/><Relationship Id="rId5" Type="http://schemas.openxmlformats.org/officeDocument/2006/relationships/image" Target="../media/image5.jpeg"/><Relationship Id="rId4" Type="http://schemas.openxmlformats.org/officeDocument/2006/relationships/image" Target="../media/image1.emf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1.xml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2.xml"/><Relationship Id="rId4" Type="http://schemas.openxmlformats.org/officeDocument/2006/relationships/image" Target="../media/image1.emf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3.xml"/><Relationship Id="rId5" Type="http://schemas.openxmlformats.org/officeDocument/2006/relationships/image" Target="../media/image2.jpeg"/><Relationship Id="rId4" Type="http://schemas.openxmlformats.org/officeDocument/2006/relationships/image" Target="../media/image1.emf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4.xml"/><Relationship Id="rId5" Type="http://schemas.openxmlformats.org/officeDocument/2006/relationships/image" Target="../media/image3.jpeg"/><Relationship Id="rId4" Type="http://schemas.openxmlformats.org/officeDocument/2006/relationships/image" Target="../media/image1.emf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5.xml"/><Relationship Id="rId5" Type="http://schemas.openxmlformats.org/officeDocument/2006/relationships/image" Target="../media/image2.jpeg"/><Relationship Id="rId4" Type="http://schemas.openxmlformats.org/officeDocument/2006/relationships/image" Target="../media/image1.emf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6.xml"/><Relationship Id="rId5" Type="http://schemas.openxmlformats.org/officeDocument/2006/relationships/image" Target="../media/image3.jpeg"/><Relationship Id="rId4" Type="http://schemas.openxmlformats.org/officeDocument/2006/relationships/image" Target="../media/image1.emf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5" Type="http://schemas.openxmlformats.org/officeDocument/2006/relationships/image" Target="../media/image2.jpeg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5" Type="http://schemas.openxmlformats.org/officeDocument/2006/relationships/image" Target="../media/image3.jpeg"/><Relationship Id="rId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5" Type="http://schemas.openxmlformats.org/officeDocument/2006/relationships/image" Target="../media/image2.jpeg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– große Headline ob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838081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6B002FD9-AF19-4ED6-84E1-C634A79B2BA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solidFill>
            <a:schemeClr val="bg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Bild durch Klicken auf Symbol hinzufügen</a:t>
            </a:r>
            <a:endParaRPr lang="en-US" dirty="0"/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275388" y="2814098"/>
            <a:ext cx="5916612" cy="3170777"/>
          </a:xfrm>
          <a:gradFill flip="none" rotWithShape="1">
            <a:gsLst>
              <a:gs pos="46000">
                <a:srgbClr val="3F6672"/>
              </a:gs>
              <a:gs pos="0">
                <a:srgbClr val="023D4A"/>
              </a:gs>
              <a:gs pos="88000">
                <a:srgbClr val="8DA0A8"/>
              </a:gs>
              <a:gs pos="100000">
                <a:srgbClr val="5B7583"/>
              </a:gs>
            </a:gsLst>
            <a:lin ang="18000000" scaled="0"/>
            <a:tileRect/>
          </a:gradFill>
        </p:spPr>
        <p:txBody>
          <a:bodyPr lIns="360000" tIns="360000" rIns="360000" bIns="360000" anchor="b">
            <a:sp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3200" b="0" i="0">
                <a:solidFill>
                  <a:schemeClr val="bg1"/>
                </a:solidFill>
                <a:latin typeface="Myriad Pro" panose="020B0503030403020204" pitchFamily="34" charset="0"/>
              </a:defRPr>
            </a:lvl1pPr>
            <a:lvl2pPr>
              <a:lnSpc>
                <a:spcPts val="3520"/>
              </a:lnSpc>
              <a:spcAft>
                <a:spcPts val="1600"/>
              </a:spcAft>
              <a:defRPr sz="4160" b="0" i="0">
                <a:solidFill>
                  <a:schemeClr val="bg1"/>
                </a:solidFill>
                <a:latin typeface="Myriad Pro" panose="020B0503030403020204" pitchFamily="34" charset="0"/>
              </a:defRPr>
            </a:lvl2pPr>
            <a:lvl3pPr>
              <a:lnSpc>
                <a:spcPct val="110000"/>
              </a:lnSpc>
              <a:spcAft>
                <a:spcPts val="0"/>
              </a:spcAft>
              <a:defRPr sz="1600" b="1" i="0">
                <a:solidFill>
                  <a:schemeClr val="bg1"/>
                </a:solidFill>
                <a:latin typeface="Myriad Pro" panose="020B0503030403020204" pitchFamily="34" charset="0"/>
              </a:defRPr>
            </a:lvl3pPr>
            <a:lvl4pPr marL="0" indent="0">
              <a:lnSpc>
                <a:spcPct val="110000"/>
              </a:lnSpc>
              <a:spcBef>
                <a:spcPts val="208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 dirty="0"/>
              <a:t>Headline groß, Myriad Pro Regular, 32 </a:t>
            </a:r>
            <a:r>
              <a:rPr lang="de-DE" dirty="0" err="1"/>
              <a:t>pt</a:t>
            </a:r>
            <a:endParaRPr lang="de-DE" dirty="0"/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 err="1"/>
              <a:t>Subline</a:t>
            </a:r>
            <a:r>
              <a:rPr lang="de-DE" dirty="0"/>
              <a:t>/Referent/Datum</a:t>
            </a:r>
          </a:p>
          <a:p>
            <a:pPr lvl="3"/>
            <a:r>
              <a:rPr lang="de-DE" dirty="0"/>
              <a:t>Referenten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10983B20-CF3E-4EB7-8ABD-887696F49A40}"/>
              </a:ext>
            </a:extLst>
          </p:cNvPr>
          <p:cNvSpPr>
            <a:spLocks noGrp="1"/>
          </p:cNvSpPr>
          <p:nvPr>
            <p:ph type="dt" sz="half" idx="12"/>
          </p:nvPr>
        </p:nvSpPr>
        <p:spPr>
          <a:xfrm>
            <a:off x="1388048" y="7027336"/>
            <a:ext cx="720000" cy="123111"/>
          </a:xfrm>
        </p:spPr>
        <p:txBody>
          <a:bodyPr/>
          <a:lstStyle/>
          <a:p>
            <a:fld id="{18404E2F-0DC3-491D-BBFF-E567024868D0}" type="datetime1">
              <a:rPr lang="de-DE" noProof="0" smtClean="0"/>
              <a:t>15.11.22</a:t>
            </a:fld>
            <a:endParaRPr lang="de-DE" noProof="0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A6758628-A8B7-4C0C-9D76-AB8C3683620A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2297897" y="7027336"/>
            <a:ext cx="2952000" cy="123111"/>
          </a:xfrm>
        </p:spPr>
        <p:txBody>
          <a:bodyPr/>
          <a:lstStyle/>
          <a:p>
            <a:r>
              <a:rPr lang="de-DE" noProof="0" dirty="0"/>
              <a:t>© Universität zu Lübeck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2D93D0D8-808F-4B9D-9E74-3D2864287D23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479425" y="7027336"/>
            <a:ext cx="720000" cy="123111"/>
          </a:xfrm>
        </p:spPr>
        <p:txBody>
          <a:bodyPr/>
          <a:lstStyle/>
          <a:p>
            <a:r>
              <a:rPr lang="de-DE" noProof="0" dirty="0"/>
              <a:t>Seit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2487151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elfolie – große Headline oben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465993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afik 4">
            <a:extLst>
              <a:ext uri="{FF2B5EF4-FFF2-40B4-BE49-F238E27FC236}">
                <a16:creationId xmlns:a16="http://schemas.microsoft.com/office/drawing/2014/main" id="{44D4A135-0D0F-1250-6053-DD7322B87D45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" y="1190"/>
            <a:ext cx="12191295" cy="6856810"/>
          </a:xfrm>
          <a:prstGeom prst="rect">
            <a:avLst/>
          </a:prstGeom>
        </p:spPr>
      </p:pic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-1" y="2814098"/>
            <a:ext cx="11712575" cy="3170777"/>
          </a:xfrm>
          <a:noFill/>
        </p:spPr>
        <p:txBody>
          <a:bodyPr wrap="square" lIns="486000" tIns="360000" rIns="360000" bIns="360000" anchor="b">
            <a:sp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3200" b="0" i="0">
                <a:solidFill>
                  <a:schemeClr val="bg1"/>
                </a:solidFill>
                <a:latin typeface="Myriad Pro" panose="020B0503030403020204" pitchFamily="34" charset="0"/>
              </a:defRPr>
            </a:lvl1pPr>
            <a:lvl2pPr>
              <a:lnSpc>
                <a:spcPts val="3520"/>
              </a:lnSpc>
              <a:spcAft>
                <a:spcPts val="1600"/>
              </a:spcAft>
              <a:defRPr sz="4160" b="0" i="0">
                <a:solidFill>
                  <a:schemeClr val="bg1"/>
                </a:solidFill>
                <a:latin typeface="Myriad Pro" panose="020B0503030403020204" pitchFamily="34" charset="0"/>
              </a:defRPr>
            </a:lvl2pPr>
            <a:lvl3pPr>
              <a:lnSpc>
                <a:spcPct val="110000"/>
              </a:lnSpc>
              <a:spcAft>
                <a:spcPts val="0"/>
              </a:spcAft>
              <a:defRPr sz="1600" b="1" i="0">
                <a:solidFill>
                  <a:schemeClr val="bg1"/>
                </a:solidFill>
                <a:latin typeface="Myriad Pro" panose="020B0503030403020204" pitchFamily="34" charset="0"/>
              </a:defRPr>
            </a:lvl3pPr>
            <a:lvl4pPr marL="0" indent="0">
              <a:lnSpc>
                <a:spcPct val="110000"/>
              </a:lnSpc>
              <a:spcBef>
                <a:spcPts val="208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 dirty="0"/>
              <a:t>Headline groß, Myriad Pro Regular, </a:t>
            </a:r>
          </a:p>
          <a:p>
            <a:pPr lvl="0"/>
            <a:r>
              <a:rPr lang="de-DE" dirty="0"/>
              <a:t>32 </a:t>
            </a:r>
            <a:r>
              <a:rPr lang="de-DE" dirty="0" err="1"/>
              <a:t>pt</a:t>
            </a:r>
            <a:endParaRPr lang="de-DE" dirty="0"/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 err="1"/>
              <a:t>Subline</a:t>
            </a:r>
            <a:r>
              <a:rPr lang="de-DE" dirty="0"/>
              <a:t>/Referent/Datum</a:t>
            </a:r>
          </a:p>
          <a:p>
            <a:pPr lvl="3"/>
            <a:r>
              <a:rPr lang="de-DE" dirty="0"/>
              <a:t>Referenten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25C68886-21F8-4FFB-8201-7F0BA6565D68}"/>
              </a:ext>
            </a:extLst>
          </p:cNvPr>
          <p:cNvSpPr>
            <a:spLocks noGrp="1"/>
          </p:cNvSpPr>
          <p:nvPr>
            <p:ph type="dt" sz="half" idx="12"/>
          </p:nvPr>
        </p:nvSpPr>
        <p:spPr>
          <a:xfrm>
            <a:off x="1388048" y="7027336"/>
            <a:ext cx="720000" cy="123111"/>
          </a:xfrm>
        </p:spPr>
        <p:txBody>
          <a:bodyPr/>
          <a:lstStyle/>
          <a:p>
            <a:fld id="{18404E2F-0DC3-491D-BBFF-E567024868D0}" type="datetime1">
              <a:rPr lang="de-DE" noProof="0" smtClean="0"/>
              <a:t>15.11.22</a:t>
            </a:fld>
            <a:endParaRPr lang="de-DE" noProof="0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44BD0276-DAC0-4256-A958-3D3DD10E633D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2297897" y="7027336"/>
            <a:ext cx="2952000" cy="123111"/>
          </a:xfrm>
        </p:spPr>
        <p:txBody>
          <a:bodyPr/>
          <a:lstStyle/>
          <a:p>
            <a:r>
              <a:rPr lang="de-DE" noProof="0" dirty="0"/>
              <a:t>© Universität zu Lübeck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5696E82-453E-4196-8BCD-BF982D26413F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479425" y="7027336"/>
            <a:ext cx="720000" cy="123111"/>
          </a:xfrm>
        </p:spPr>
        <p:txBody>
          <a:bodyPr/>
          <a:lstStyle/>
          <a:p>
            <a:r>
              <a:rPr lang="de-DE" noProof="0" dirty="0"/>
              <a:t>Seit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5243126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trenner – Bild vollfläch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95B6287E-4A4F-4439-B422-A23539B268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040601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Bildplatzhalter 7">
            <a:extLst>
              <a:ext uri="{FF2B5EF4-FFF2-40B4-BE49-F238E27FC236}">
                <a16:creationId xmlns:a16="http://schemas.microsoft.com/office/drawing/2014/main" id="{43168385-808A-40CF-ACBB-25E2FEB39C95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1"/>
            <a:ext cx="12192000" cy="6158116"/>
          </a:xfrm>
          <a:solidFill>
            <a:schemeClr val="bg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Bild durch Klicken auf Symbol hinzufügen</a:t>
            </a:r>
            <a:endParaRPr lang="en-US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959FA541-8597-4991-9A2A-D86D39840ED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75388" y="3149600"/>
            <a:ext cx="5916612" cy="2177878"/>
          </a:xfrm>
          <a:gradFill flip="none" rotWithShape="1">
            <a:gsLst>
              <a:gs pos="46000">
                <a:srgbClr val="3F6672"/>
              </a:gs>
              <a:gs pos="0">
                <a:srgbClr val="023D4A"/>
              </a:gs>
              <a:gs pos="88000">
                <a:srgbClr val="8DA0A8"/>
              </a:gs>
              <a:gs pos="100000">
                <a:srgbClr val="5B7583"/>
              </a:gs>
            </a:gsLst>
            <a:lin ang="18000000" scaled="0"/>
            <a:tileRect/>
          </a:gradFill>
        </p:spPr>
        <p:txBody>
          <a:bodyPr lIns="360000" tIns="360000" rIns="360000" bIns="360000"/>
          <a:lstStyle>
            <a:lvl1pPr>
              <a:lnSpc>
                <a:spcPct val="110000"/>
              </a:lnSpc>
              <a:spcAft>
                <a:spcPts val="0"/>
              </a:spcAft>
              <a:defRPr sz="3200" b="0" i="0">
                <a:solidFill>
                  <a:schemeClr val="bg1"/>
                </a:solidFill>
                <a:latin typeface="Myriad Pro" panose="020B0503030403020204" pitchFamily="34" charset="0"/>
              </a:defRPr>
            </a:lvl1pPr>
            <a:lvl2pPr>
              <a:lnSpc>
                <a:spcPts val="3520"/>
              </a:lnSpc>
              <a:spcAft>
                <a:spcPts val="1600"/>
              </a:spcAft>
              <a:defRPr sz="4160" b="0" i="0">
                <a:solidFill>
                  <a:schemeClr val="bg1"/>
                </a:solidFill>
                <a:latin typeface="Myriad Pro" panose="020B0503030403020204" pitchFamily="34" charset="0"/>
              </a:defRPr>
            </a:lvl2pPr>
            <a:lvl3pPr>
              <a:lnSpc>
                <a:spcPct val="110000"/>
              </a:lnSpc>
              <a:defRPr sz="1600"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Zahl</a:t>
            </a:r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/>
              <a:t>Kapitelüberschrift, Myriad Pro </a:t>
            </a:r>
            <a:r>
              <a:rPr lang="de-DE" dirty="0" err="1"/>
              <a:t>Bold</a:t>
            </a:r>
            <a:r>
              <a:rPr lang="de-DE" dirty="0"/>
              <a:t>, 16 </a:t>
            </a:r>
            <a:r>
              <a:rPr lang="de-DE" dirty="0" err="1"/>
              <a:t>pt</a:t>
            </a:r>
            <a:endParaRPr lang="de-DE" dirty="0"/>
          </a:p>
        </p:txBody>
      </p:sp>
      <p:sp>
        <p:nvSpPr>
          <p:cNvPr id="11" name="Datumsplatzhalter 10">
            <a:extLst>
              <a:ext uri="{FF2B5EF4-FFF2-40B4-BE49-F238E27FC236}">
                <a16:creationId xmlns:a16="http://schemas.microsoft.com/office/drawing/2014/main" id="{ACA94CF4-7D7D-4A16-808E-9BB3F11A7974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E6BEEC3F-C136-4E04-8E02-6DF963A6E721}" type="datetime1">
              <a:rPr lang="de-DE" noProof="0" smtClean="0"/>
              <a:t>15.11.22</a:t>
            </a:fld>
            <a:endParaRPr lang="de-DE" noProof="0" dirty="0"/>
          </a:p>
        </p:txBody>
      </p:sp>
      <p:sp>
        <p:nvSpPr>
          <p:cNvPr id="12" name="Copyright Fraunhofer">
            <a:extLst>
              <a:ext uri="{FF2B5EF4-FFF2-40B4-BE49-F238E27FC236}">
                <a16:creationId xmlns:a16="http://schemas.microsoft.com/office/drawing/2014/main" id="{86A8951A-7642-4D31-B686-A714C8CCF5F7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 noProof="0" dirty="0"/>
              <a:t>© Universität zu Lübeck</a:t>
            </a:r>
          </a:p>
        </p:txBody>
      </p:sp>
      <p:sp>
        <p:nvSpPr>
          <p:cNvPr id="13" name="Foliennummernplatzhalter 12">
            <a:extLst>
              <a:ext uri="{FF2B5EF4-FFF2-40B4-BE49-F238E27FC236}">
                <a16:creationId xmlns:a16="http://schemas.microsoft.com/office/drawing/2014/main" id="{9DE5828C-86B5-43E8-99E0-320BB3D4C7F3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r>
              <a:rPr lang="de-DE" noProof="0" dirty="0"/>
              <a:t>Seit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943035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27" userDrawn="1">
          <p15:clr>
            <a:srgbClr val="FBAE40"/>
          </p15:clr>
        </p15:guide>
        <p15:guide id="2" pos="3953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trenner – Bild 2/3 randabfall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95B6287E-4A4F-4439-B422-A23539B268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033059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95B6287E-4A4F-4439-B422-A23539B268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Bildplatzhalter 7">
            <a:extLst>
              <a:ext uri="{FF2B5EF4-FFF2-40B4-BE49-F238E27FC236}">
                <a16:creationId xmlns:a16="http://schemas.microsoft.com/office/drawing/2014/main" id="{43168385-808A-40CF-ACBB-25E2FEB39C95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1681371"/>
            <a:ext cx="6794500" cy="4457904"/>
          </a:xfrm>
          <a:solidFill>
            <a:schemeClr val="bg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Bild durch Klicken auf Symbol hinzufügen</a:t>
            </a:r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9CEB97AB-0648-4C20-81AF-315192BBB0A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9" name="Datumsplatzhalter 8">
            <a:extLst>
              <a:ext uri="{FF2B5EF4-FFF2-40B4-BE49-F238E27FC236}">
                <a16:creationId xmlns:a16="http://schemas.microsoft.com/office/drawing/2014/main" id="{8CF3FD1A-1D27-41F1-9CA0-1DB93D823FF3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2179119F-C342-4DBA-9211-F4375B7FF2D1}" type="datetime1">
              <a:rPr lang="de-DE" noProof="0" smtClean="0"/>
              <a:t>15.11.22</a:t>
            </a:fld>
            <a:endParaRPr lang="de-DE" noProof="0" dirty="0"/>
          </a:p>
        </p:txBody>
      </p:sp>
      <p:sp>
        <p:nvSpPr>
          <p:cNvPr id="11" name="Copyright Fraunhofer">
            <a:extLst>
              <a:ext uri="{FF2B5EF4-FFF2-40B4-BE49-F238E27FC236}">
                <a16:creationId xmlns:a16="http://schemas.microsoft.com/office/drawing/2014/main" id="{E2CAD830-41D2-49E6-9A6C-8B30840C6153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 noProof="0" dirty="0"/>
              <a:t>© Universität zu Lübeck</a:t>
            </a:r>
          </a:p>
        </p:txBody>
      </p:sp>
      <p:sp>
        <p:nvSpPr>
          <p:cNvPr id="12" name="Foliennummernplatzhalter 11">
            <a:extLst>
              <a:ext uri="{FF2B5EF4-FFF2-40B4-BE49-F238E27FC236}">
                <a16:creationId xmlns:a16="http://schemas.microsoft.com/office/drawing/2014/main" id="{31C2822D-ACBC-46C4-BC5F-37D1A4BC0459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r>
              <a:rPr lang="de-DE" noProof="0" dirty="0"/>
              <a:t>Seit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8349B4F5-3985-40FA-BB6F-4069C03E55E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79425" y="778321"/>
            <a:ext cx="11233150" cy="330860"/>
          </a:xfrm>
        </p:spPr>
        <p:txBody>
          <a:bodyPr/>
          <a:lstStyle>
            <a:lvl1pPr>
              <a:defRPr sz="2000" b="0" i="0">
                <a:solidFill>
                  <a:schemeClr val="accent2"/>
                </a:solidFill>
                <a:latin typeface="Myriad Pro" panose="020B0503030403020204" pitchFamily="34" charset="0"/>
              </a:defRPr>
            </a:lvl1pPr>
            <a:lvl2pPr>
              <a:defRPr sz="2400" b="1"/>
            </a:lvl2pPr>
            <a:lvl3pPr>
              <a:defRPr sz="2400" b="1"/>
            </a:lvl3pPr>
            <a:lvl4pPr>
              <a:defRPr sz="2400" b="1"/>
            </a:lvl4pPr>
            <a:lvl5pPr>
              <a:defRPr sz="2400" b="1"/>
            </a:lvl5pPr>
          </a:lstStyle>
          <a:p>
            <a:pPr lvl="0"/>
            <a:r>
              <a:rPr lang="de-DE" dirty="0" err="1"/>
              <a:t>Subline</a:t>
            </a:r>
            <a:endParaRPr lang="de-DE" dirty="0"/>
          </a:p>
        </p:txBody>
      </p:sp>
      <p:sp>
        <p:nvSpPr>
          <p:cNvPr id="4" name="Textplatzhalter 9">
            <a:extLst>
              <a:ext uri="{FF2B5EF4-FFF2-40B4-BE49-F238E27FC236}">
                <a16:creationId xmlns:a16="http://schemas.microsoft.com/office/drawing/2014/main" id="{0266C524-648E-246F-0E76-B95D2CDA08A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75388" y="3149600"/>
            <a:ext cx="5916612" cy="2177878"/>
          </a:xfrm>
          <a:gradFill flip="none" rotWithShape="1">
            <a:gsLst>
              <a:gs pos="46000">
                <a:srgbClr val="3F6672"/>
              </a:gs>
              <a:gs pos="0">
                <a:srgbClr val="023D4A"/>
              </a:gs>
              <a:gs pos="88000">
                <a:srgbClr val="8DA0A8"/>
              </a:gs>
              <a:gs pos="100000">
                <a:srgbClr val="5B7583"/>
              </a:gs>
            </a:gsLst>
            <a:lin ang="18000000" scaled="0"/>
            <a:tileRect/>
          </a:gradFill>
        </p:spPr>
        <p:txBody>
          <a:bodyPr lIns="360000" tIns="360000" rIns="360000" bIns="360000"/>
          <a:lstStyle>
            <a:lvl1pPr>
              <a:lnSpc>
                <a:spcPct val="110000"/>
              </a:lnSpc>
              <a:spcAft>
                <a:spcPts val="0"/>
              </a:spcAft>
              <a:defRPr sz="3200" b="0" i="0">
                <a:solidFill>
                  <a:schemeClr val="bg1"/>
                </a:solidFill>
                <a:latin typeface="Myriad Pro" panose="020B0503030403020204" pitchFamily="34" charset="0"/>
              </a:defRPr>
            </a:lvl1pPr>
            <a:lvl2pPr>
              <a:lnSpc>
                <a:spcPts val="3520"/>
              </a:lnSpc>
              <a:spcAft>
                <a:spcPts val="1600"/>
              </a:spcAft>
              <a:defRPr sz="4160" b="0" i="0">
                <a:solidFill>
                  <a:schemeClr val="bg1"/>
                </a:solidFill>
                <a:latin typeface="Myriad Pro" panose="020B0503030403020204" pitchFamily="34" charset="0"/>
              </a:defRPr>
            </a:lvl2pPr>
            <a:lvl3pPr>
              <a:lnSpc>
                <a:spcPct val="110000"/>
              </a:lnSpc>
              <a:defRPr sz="1600"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Zahl</a:t>
            </a:r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/>
              <a:t>Kapitelüberschrift, Myriad Pro </a:t>
            </a:r>
            <a:r>
              <a:rPr lang="de-DE" dirty="0" err="1"/>
              <a:t>Bold</a:t>
            </a:r>
            <a:r>
              <a:rPr lang="de-DE" dirty="0"/>
              <a:t>, 16 </a:t>
            </a:r>
            <a:r>
              <a:rPr lang="de-DE" dirty="0" err="1"/>
              <a:t>pt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9534136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27" userDrawn="1">
          <p15:clr>
            <a:srgbClr val="FBAE40"/>
          </p15:clr>
        </p15:guide>
        <p15:guide id="2" pos="3953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trenner – Beschreibung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95B6287E-4A4F-4439-B422-A23539B268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73226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95B6287E-4A4F-4439-B422-A23539B268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Bildplatzhalter 7">
            <a:extLst>
              <a:ext uri="{FF2B5EF4-FFF2-40B4-BE49-F238E27FC236}">
                <a16:creationId xmlns:a16="http://schemas.microsoft.com/office/drawing/2014/main" id="{43168385-808A-40CF-ACBB-25E2FEB39C95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79424" y="1700213"/>
            <a:ext cx="6315075" cy="4284662"/>
          </a:xfrm>
          <a:solidFill>
            <a:schemeClr val="bg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Bild durch Klicken auf Symbol hinzufügen</a:t>
            </a:r>
            <a:endParaRPr lang="en-US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959FA541-8597-4991-9A2A-D86D39840ED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75388" y="3149600"/>
            <a:ext cx="5916612" cy="1622533"/>
          </a:xfrm>
          <a:gradFill flip="none" rotWithShape="1">
            <a:gsLst>
              <a:gs pos="46000">
                <a:srgbClr val="3F6672"/>
              </a:gs>
              <a:gs pos="0">
                <a:srgbClr val="023D4A"/>
              </a:gs>
              <a:gs pos="88000">
                <a:srgbClr val="8DA0A8"/>
              </a:gs>
              <a:gs pos="100000">
                <a:srgbClr val="5B7583"/>
              </a:gs>
            </a:gsLst>
            <a:lin ang="18000000" scaled="0"/>
            <a:tileRect/>
          </a:gradFill>
        </p:spPr>
        <p:txBody>
          <a:bodyPr lIns="360000" tIns="360000" rIns="360000" bIns="360000"/>
          <a:lstStyle>
            <a:lvl1pPr>
              <a:lnSpc>
                <a:spcPct val="110000"/>
              </a:lnSpc>
              <a:spcAft>
                <a:spcPts val="0"/>
              </a:spcAft>
              <a:defRPr sz="2000" b="1">
                <a:solidFill>
                  <a:schemeClr val="bg1"/>
                </a:solidFill>
              </a:defRPr>
            </a:lvl1pPr>
            <a:lvl2pPr>
              <a:lnSpc>
                <a:spcPts val="2420"/>
              </a:lnSpc>
              <a:spcAft>
                <a:spcPts val="0"/>
              </a:spcAft>
              <a:defRPr sz="2860" b="0" i="0">
                <a:solidFill>
                  <a:schemeClr val="bg1"/>
                </a:solidFill>
                <a:latin typeface="Myriad Pro" panose="020B0503030403020204" pitchFamily="34" charset="0"/>
              </a:defRPr>
            </a:lvl2pPr>
            <a:lvl3pPr>
              <a:lnSpc>
                <a:spcPct val="110000"/>
              </a:lnSpc>
              <a:defRPr sz="1600" b="0" i="0">
                <a:solidFill>
                  <a:schemeClr val="bg1"/>
                </a:solidFill>
                <a:latin typeface="Myriad Pro" panose="020B0503030403020204" pitchFamily="34" charset="0"/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Kapitelüberschrift, Myriad Pro </a:t>
            </a:r>
            <a:r>
              <a:rPr lang="de-DE" dirty="0" err="1"/>
              <a:t>Bold</a:t>
            </a:r>
            <a:r>
              <a:rPr lang="de-DE" dirty="0"/>
              <a:t> 20 </a:t>
            </a:r>
            <a:r>
              <a:rPr lang="de-DE" dirty="0" err="1"/>
              <a:t>pt</a:t>
            </a:r>
            <a:endParaRPr lang="de-DE" dirty="0"/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/>
              <a:t>Myriad Pro Regular, 16 </a:t>
            </a:r>
            <a:r>
              <a:rPr lang="de-DE" dirty="0" err="1"/>
              <a:t>pt</a:t>
            </a:r>
            <a:r>
              <a:rPr lang="de-DE" dirty="0"/>
              <a:t> 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9CEB97AB-0648-4C20-81AF-315192BBB0A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9" name="Datumsplatzhalter 8">
            <a:extLst>
              <a:ext uri="{FF2B5EF4-FFF2-40B4-BE49-F238E27FC236}">
                <a16:creationId xmlns:a16="http://schemas.microsoft.com/office/drawing/2014/main" id="{57475347-60C7-4275-87BB-E0A043A53960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FC469E6C-F598-4F80-AB6C-46A0783E2A2E}" type="datetime1">
              <a:rPr lang="de-DE" noProof="0" smtClean="0"/>
              <a:t>15.11.22</a:t>
            </a:fld>
            <a:endParaRPr lang="de-DE" noProof="0" dirty="0"/>
          </a:p>
        </p:txBody>
      </p:sp>
      <p:sp>
        <p:nvSpPr>
          <p:cNvPr id="11" name="Copyright Fraunhofer">
            <a:extLst>
              <a:ext uri="{FF2B5EF4-FFF2-40B4-BE49-F238E27FC236}">
                <a16:creationId xmlns:a16="http://schemas.microsoft.com/office/drawing/2014/main" id="{262368A1-9617-47E7-A038-2429D810911C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 noProof="0" dirty="0"/>
              <a:t>© Universität zu Lübeck</a:t>
            </a:r>
          </a:p>
        </p:txBody>
      </p:sp>
      <p:sp>
        <p:nvSpPr>
          <p:cNvPr id="12" name="Foliennummernplatzhalter 11">
            <a:extLst>
              <a:ext uri="{FF2B5EF4-FFF2-40B4-BE49-F238E27FC236}">
                <a16:creationId xmlns:a16="http://schemas.microsoft.com/office/drawing/2014/main" id="{7CAF98EC-E908-46DA-A386-F0D4232D418D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r>
              <a:rPr lang="de-DE" noProof="0" dirty="0"/>
              <a:t>Seit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1600B162-5CE1-4081-9F76-7824B5C1719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79425" y="778321"/>
            <a:ext cx="11233150" cy="330860"/>
          </a:xfrm>
        </p:spPr>
        <p:txBody>
          <a:bodyPr/>
          <a:lstStyle>
            <a:lvl1pPr>
              <a:defRPr sz="2000" b="0" i="0">
                <a:solidFill>
                  <a:schemeClr val="accent2"/>
                </a:solidFill>
                <a:latin typeface="Myriad Pro" panose="020B0503030403020204" pitchFamily="34" charset="0"/>
              </a:defRPr>
            </a:lvl1pPr>
          </a:lstStyle>
          <a:p>
            <a:pPr lvl="0"/>
            <a:r>
              <a:rPr lang="de-DE" dirty="0" err="1"/>
              <a:t>Sublin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640914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27" userDrawn="1">
          <p15:clr>
            <a:srgbClr val="FBAE40"/>
          </p15:clr>
        </p15:guide>
        <p15:guide id="2" pos="3953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folie mit Beschreibung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3">
            <a:extLst>
              <a:ext uri="{FF2B5EF4-FFF2-40B4-BE49-F238E27FC236}">
                <a16:creationId xmlns:a16="http://schemas.microsoft.com/office/drawing/2014/main" id="{C1659636-5F4E-A5A1-E5EB-5D2DE44AB21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146747"/>
          </a:xfrm>
          <a:prstGeom prst="rect">
            <a:avLst/>
          </a:prstGeom>
        </p:spPr>
      </p:pic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982447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78198" y="1999174"/>
            <a:ext cx="7346585" cy="1731243"/>
          </a:xfrm>
          <a:noFill/>
        </p:spPr>
        <p:txBody>
          <a:bodyPr wrap="square" lIns="0" tIns="0" rIns="0" bIns="0" anchor="t">
            <a:sp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1600" b="1" i="0">
                <a:solidFill>
                  <a:schemeClr val="bg1"/>
                </a:solidFill>
                <a:latin typeface="Myriad Pro" panose="020B0503030403020204" pitchFamily="34" charset="0"/>
              </a:defRPr>
            </a:lvl1pPr>
            <a:lvl2pPr>
              <a:lnSpc>
                <a:spcPts val="3200"/>
              </a:lnSpc>
              <a:spcAft>
                <a:spcPts val="640"/>
              </a:spcAft>
              <a:defRPr sz="4160" b="0" i="0">
                <a:solidFill>
                  <a:schemeClr val="bg1"/>
                </a:solidFill>
                <a:latin typeface="Myriad Pro" panose="020B0503030403020204" pitchFamily="34" charset="0"/>
              </a:defRPr>
            </a:lvl2pPr>
            <a:lvl3pPr>
              <a:lnSpc>
                <a:spcPct val="100000"/>
              </a:lnSpc>
              <a:spcAft>
                <a:spcPts val="0"/>
              </a:spcAft>
              <a:defRPr sz="3200" b="0" i="0">
                <a:solidFill>
                  <a:schemeClr val="bg1"/>
                </a:solidFill>
                <a:latin typeface="Myriad Pro" panose="020B0503030403020204" pitchFamily="34" charset="0"/>
              </a:defRPr>
            </a:lvl3pPr>
            <a:lvl4pPr marL="0" indent="0">
              <a:lnSpc>
                <a:spcPts val="2080"/>
              </a:lnSpc>
              <a:spcBef>
                <a:spcPts val="2080"/>
              </a:spcBef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 dirty="0"/>
              <a:t>Kapitelnummer </a:t>
            </a:r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/>
              <a:t>Headline groß, Myriad Pro Regular, </a:t>
            </a:r>
            <a:br>
              <a:rPr lang="de-DE" dirty="0"/>
            </a:br>
            <a:r>
              <a:rPr lang="de-DE" dirty="0"/>
              <a:t>32 </a:t>
            </a:r>
            <a:r>
              <a:rPr lang="de-DE" dirty="0" err="1"/>
              <a:t>pt</a:t>
            </a:r>
            <a:r>
              <a:rPr lang="de-DE" dirty="0"/>
              <a:t>,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52AD05C7-382B-438D-B349-2F1CC8C2BCCF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78088260-380C-400E-94F1-80576C9596AC}" type="datetime1">
              <a:rPr lang="de-DE" noProof="0" smtClean="0"/>
              <a:t>15.11.22</a:t>
            </a:fld>
            <a:endParaRPr lang="de-DE" noProof="0" dirty="0"/>
          </a:p>
        </p:txBody>
      </p:sp>
      <p:sp>
        <p:nvSpPr>
          <p:cNvPr id="6" name="Copyright Fraunhofer">
            <a:extLst>
              <a:ext uri="{FF2B5EF4-FFF2-40B4-BE49-F238E27FC236}">
                <a16:creationId xmlns:a16="http://schemas.microsoft.com/office/drawing/2014/main" id="{F4113842-5E3F-4997-8349-B76EB457E535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de-DE" noProof="0" dirty="0"/>
              <a:t>© Universität zu Lübeck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63428535-A26E-4A75-A2D0-95960DB6BCF0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de-DE" noProof="0" dirty="0"/>
              <a:t>Seit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9366009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Kapitelfolie mit Beschreibung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fik 8">
            <a:extLst>
              <a:ext uri="{FF2B5EF4-FFF2-40B4-BE49-F238E27FC236}">
                <a16:creationId xmlns:a16="http://schemas.microsoft.com/office/drawing/2014/main" id="{9CFDF5FA-70F3-B7EC-A521-C981792FEE3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1"/>
            <a:ext cx="12192000" cy="6146746"/>
          </a:xfrm>
          <a:prstGeom prst="rect">
            <a:avLst/>
          </a:prstGeom>
        </p:spPr>
      </p:pic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982447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78198" y="1999174"/>
            <a:ext cx="7346585" cy="1731243"/>
          </a:xfrm>
          <a:noFill/>
        </p:spPr>
        <p:txBody>
          <a:bodyPr wrap="square" lIns="0" tIns="0" rIns="0" bIns="0" anchor="t">
            <a:sp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1600" b="1" i="0">
                <a:solidFill>
                  <a:schemeClr val="bg1"/>
                </a:solidFill>
                <a:latin typeface="Myriad Pro" panose="020B0503030403020204" pitchFamily="34" charset="0"/>
              </a:defRPr>
            </a:lvl1pPr>
            <a:lvl2pPr>
              <a:lnSpc>
                <a:spcPts val="3200"/>
              </a:lnSpc>
              <a:spcAft>
                <a:spcPts val="640"/>
              </a:spcAft>
              <a:defRPr sz="4160" b="0" i="0">
                <a:solidFill>
                  <a:schemeClr val="bg1"/>
                </a:solidFill>
                <a:latin typeface="Myriad Pro" panose="020B0503030403020204" pitchFamily="34" charset="0"/>
              </a:defRPr>
            </a:lvl2pPr>
            <a:lvl3pPr>
              <a:lnSpc>
                <a:spcPct val="100000"/>
              </a:lnSpc>
              <a:spcAft>
                <a:spcPts val="0"/>
              </a:spcAft>
              <a:defRPr sz="3200" b="0" i="0">
                <a:solidFill>
                  <a:schemeClr val="bg1"/>
                </a:solidFill>
                <a:latin typeface="Myriad Pro" panose="020B0503030403020204" pitchFamily="34" charset="0"/>
              </a:defRPr>
            </a:lvl3pPr>
            <a:lvl4pPr marL="0" indent="0">
              <a:lnSpc>
                <a:spcPts val="2080"/>
              </a:lnSpc>
              <a:spcBef>
                <a:spcPts val="2080"/>
              </a:spcBef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 dirty="0"/>
              <a:t>Kapitelnummer </a:t>
            </a:r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/>
              <a:t>Headline groß, Myriad Pro Regular, </a:t>
            </a:r>
            <a:br>
              <a:rPr lang="de-DE" dirty="0"/>
            </a:br>
            <a:r>
              <a:rPr lang="de-DE" dirty="0"/>
              <a:t>32 </a:t>
            </a:r>
            <a:r>
              <a:rPr lang="de-DE" dirty="0" err="1"/>
              <a:t>pt</a:t>
            </a:r>
            <a:r>
              <a:rPr lang="de-DE" dirty="0"/>
              <a:t>,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52AD05C7-382B-438D-B349-2F1CC8C2BCCF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78088260-380C-400E-94F1-80576C9596AC}" type="datetime1">
              <a:rPr lang="de-DE" noProof="0" smtClean="0"/>
              <a:t>15.11.22</a:t>
            </a:fld>
            <a:endParaRPr lang="de-DE" noProof="0" dirty="0"/>
          </a:p>
        </p:txBody>
      </p:sp>
      <p:sp>
        <p:nvSpPr>
          <p:cNvPr id="6" name="Copyright Fraunhofer">
            <a:extLst>
              <a:ext uri="{FF2B5EF4-FFF2-40B4-BE49-F238E27FC236}">
                <a16:creationId xmlns:a16="http://schemas.microsoft.com/office/drawing/2014/main" id="{F4113842-5E3F-4997-8349-B76EB457E535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de-DE" noProof="0" dirty="0"/>
              <a:t>© Universität zu Lübeck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63428535-A26E-4A75-A2D0-95960DB6BCF0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de-DE" noProof="0" dirty="0"/>
              <a:t>Seit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6815807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2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2C7AF347-EE19-4A49-ACB3-3F7316F7E1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421640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DDBBD9DA-78F9-4E62-A16F-A3EAEE483A5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AC2951-09AD-4688-B783-DAE1ADDED63E}" type="datetime1">
              <a:rPr lang="de-DE" noProof="0" smtClean="0"/>
              <a:t>15.11.22</a:t>
            </a:fld>
            <a:endParaRPr lang="de-DE" noProof="0" dirty="0"/>
          </a:p>
        </p:txBody>
      </p:sp>
      <p:sp>
        <p:nvSpPr>
          <p:cNvPr id="9" name="Copyright Fraunhofer">
            <a:extLst>
              <a:ext uri="{FF2B5EF4-FFF2-40B4-BE49-F238E27FC236}">
                <a16:creationId xmlns:a16="http://schemas.microsoft.com/office/drawing/2014/main" id="{68024DD5-D614-4E40-8330-76F9312A054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 dirty="0"/>
              <a:t>© Universität zu Lübeck</a:t>
            </a:r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54063AB9-A95E-44E6-BF4C-CF29833128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 noProof="0" dirty="0"/>
              <a:t>Seit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594FD133-02A3-4CCE-886B-5D61839C10E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778321"/>
            <a:ext cx="11233150" cy="330860"/>
          </a:xfrm>
        </p:spPr>
        <p:txBody>
          <a:bodyPr/>
          <a:lstStyle>
            <a:lvl1pPr>
              <a:defRPr sz="2000" b="0" i="0">
                <a:solidFill>
                  <a:schemeClr val="accent2"/>
                </a:solidFill>
                <a:latin typeface="Myriad Pro" panose="020B0503030403020204" pitchFamily="34" charset="0"/>
              </a:defRPr>
            </a:lvl1pPr>
          </a:lstStyle>
          <a:p>
            <a:pPr lvl="0"/>
            <a:r>
              <a:rPr lang="de-DE" dirty="0" err="1"/>
              <a:t>Subline</a:t>
            </a:r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7A89D932-8DCF-4ABE-8120-3CC2C601E53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8199" y="1703388"/>
            <a:ext cx="5437188" cy="2640595"/>
          </a:xfrm>
        </p:spPr>
        <p:txBody>
          <a:bodyPr/>
          <a:lstStyle/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77715D3E-BD63-49BD-96CA-087D6CFC2D25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275388" y="1703388"/>
            <a:ext cx="5437187" cy="2640595"/>
          </a:xfrm>
        </p:spPr>
        <p:txBody>
          <a:bodyPr/>
          <a:lstStyle/>
          <a:p>
            <a:pPr lvl="0"/>
            <a:r>
              <a:rPr lang="de-DE" noProof="0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29054292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53" userDrawn="1">
          <p15:clr>
            <a:srgbClr val="FBAE40"/>
          </p15:clr>
        </p15:guide>
        <p15:guide id="2" pos="3727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3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19BFEDD4-0A61-4DAA-847E-5542C0836BF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870035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5A3A3249-3413-4CB5-A695-6373FE34900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225054-8F4D-4B67-8803-E473E83FD8A6}" type="datetime1">
              <a:rPr lang="de-DE" noProof="0" smtClean="0"/>
              <a:t>15.11.22</a:t>
            </a:fld>
            <a:endParaRPr lang="de-DE" noProof="0" dirty="0"/>
          </a:p>
        </p:txBody>
      </p:sp>
      <p:sp>
        <p:nvSpPr>
          <p:cNvPr id="8" name="Copyright Fraunhofer">
            <a:extLst>
              <a:ext uri="{FF2B5EF4-FFF2-40B4-BE49-F238E27FC236}">
                <a16:creationId xmlns:a16="http://schemas.microsoft.com/office/drawing/2014/main" id="{97173DEC-80BC-41B9-97B7-7718E8E2756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 dirty="0"/>
              <a:t>© Universität zu Lübeck</a:t>
            </a:r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3BA71267-E3FD-4A93-BE1B-8DD361058AD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 noProof="0" dirty="0"/>
              <a:t>Seit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841153CC-8B9B-4F23-A87D-CDC7D540D2D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778321"/>
            <a:ext cx="11233150" cy="330860"/>
          </a:xfrm>
        </p:spPr>
        <p:txBody>
          <a:bodyPr/>
          <a:lstStyle>
            <a:lvl1pPr>
              <a:defRPr sz="2000" b="0" i="0">
                <a:solidFill>
                  <a:schemeClr val="accent2"/>
                </a:solidFill>
                <a:latin typeface="Myriad Pro" panose="020B0503030403020204" pitchFamily="34" charset="0"/>
              </a:defRPr>
            </a:lvl1pPr>
          </a:lstStyle>
          <a:p>
            <a:pPr lvl="0"/>
            <a:r>
              <a:rPr lang="de-DE" dirty="0" err="1"/>
              <a:t>Subline</a:t>
            </a:r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5AAA71AE-8A22-4F1C-8598-F96615B924D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8199" y="1703388"/>
            <a:ext cx="3492500" cy="2640595"/>
          </a:xfrm>
        </p:spPr>
        <p:txBody>
          <a:bodyPr/>
          <a:lstStyle/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6F587FD1-7E1D-43C5-AEEB-11FB82BEE61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332288" y="1703388"/>
            <a:ext cx="3492500" cy="2640595"/>
          </a:xfrm>
        </p:spPr>
        <p:txBody>
          <a:bodyPr/>
          <a:lstStyle>
            <a:lvl9pPr>
              <a:buAutoNum type="arabicPeriod"/>
              <a:defRPr/>
            </a:lvl9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2D288D47-B1E2-4566-B8EC-6D108A69525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220075" y="1703388"/>
            <a:ext cx="3492500" cy="2740025"/>
          </a:xfrm>
        </p:spPr>
        <p:txBody>
          <a:bodyPr/>
          <a:lstStyle/>
          <a:p>
            <a:pPr lvl="0"/>
            <a:r>
              <a:rPr lang="de-DE" noProof="0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6821823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02" userDrawn="1">
          <p15:clr>
            <a:srgbClr val="FBAE40"/>
          </p15:clr>
        </p15:guide>
        <p15:guide id="2" pos="2729" userDrawn="1">
          <p15:clr>
            <a:srgbClr val="FBAE40"/>
          </p15:clr>
        </p15:guide>
        <p15:guide id="3" pos="4929" userDrawn="1">
          <p15:clr>
            <a:srgbClr val="FBAE40"/>
          </p15:clr>
        </p15:guide>
        <p15:guide id="4" pos="5178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4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2C7AF347-EE19-4A49-ACB3-3F7316F7E1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47879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2C7AF347-EE19-4A49-ACB3-3F7316F7E1D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12" name="Datumsplatzhalter 11">
            <a:extLst>
              <a:ext uri="{FF2B5EF4-FFF2-40B4-BE49-F238E27FC236}">
                <a16:creationId xmlns:a16="http://schemas.microsoft.com/office/drawing/2014/main" id="{61F0DBA5-C1B0-44DC-A359-F53055D10B5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62B3568-9F39-45BA-8ABC-B5488CC74074}" type="datetime1">
              <a:rPr lang="de-DE" noProof="0" smtClean="0"/>
              <a:t>15.11.22</a:t>
            </a:fld>
            <a:endParaRPr lang="de-DE" noProof="0" dirty="0"/>
          </a:p>
        </p:txBody>
      </p:sp>
      <p:sp>
        <p:nvSpPr>
          <p:cNvPr id="13" name="Copyright Fraunhofer">
            <a:extLst>
              <a:ext uri="{FF2B5EF4-FFF2-40B4-BE49-F238E27FC236}">
                <a16:creationId xmlns:a16="http://schemas.microsoft.com/office/drawing/2014/main" id="{3A411D1E-2AF9-4CC5-AEC7-0C6DF157F57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 dirty="0"/>
              <a:t>© Universität zu Lübeck</a:t>
            </a:r>
          </a:p>
        </p:txBody>
      </p:sp>
      <p:sp>
        <p:nvSpPr>
          <p:cNvPr id="14" name="Foliennummernplatzhalter 13">
            <a:extLst>
              <a:ext uri="{FF2B5EF4-FFF2-40B4-BE49-F238E27FC236}">
                <a16:creationId xmlns:a16="http://schemas.microsoft.com/office/drawing/2014/main" id="{4828F296-FF06-4CDF-A47F-F729AA31C0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 noProof="0" dirty="0"/>
              <a:t>Seit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38C0110F-2625-4571-AE19-B8D78EAA1F9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778321"/>
            <a:ext cx="11233150" cy="330860"/>
          </a:xfrm>
        </p:spPr>
        <p:txBody>
          <a:bodyPr/>
          <a:lstStyle>
            <a:lvl1pPr>
              <a:defRPr sz="2000" b="0" i="0">
                <a:solidFill>
                  <a:schemeClr val="accent2"/>
                </a:solidFill>
                <a:latin typeface="Myriad Pro" panose="020B0503030403020204" pitchFamily="34" charset="0"/>
              </a:defRPr>
            </a:lvl1pPr>
          </a:lstStyle>
          <a:p>
            <a:pPr lvl="0"/>
            <a:r>
              <a:rPr lang="de-DE" dirty="0" err="1"/>
              <a:t>Subline</a:t>
            </a:r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79EF34A9-6B75-4492-8A12-35A87E55C8A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8199" y="1703388"/>
            <a:ext cx="2520950" cy="2932112"/>
          </a:xfrm>
        </p:spPr>
        <p:txBody>
          <a:bodyPr/>
          <a:lstStyle/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2E310D88-98AF-4753-BFFB-0D7937A9728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395663" y="1703388"/>
            <a:ext cx="2520950" cy="2911438"/>
          </a:xfrm>
        </p:spPr>
        <p:txBody>
          <a:bodyPr/>
          <a:lstStyle/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CBED3F47-FB9A-471A-8A6D-C6AC2320A9A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275388" y="1703388"/>
            <a:ext cx="2520950" cy="2911438"/>
          </a:xfrm>
        </p:spPr>
        <p:txBody>
          <a:bodyPr/>
          <a:lstStyle/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4C0EBAA-DEB8-42ED-9FF0-97A1433AEB5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9191625" y="1703388"/>
            <a:ext cx="2520950" cy="2911438"/>
          </a:xfrm>
        </p:spPr>
        <p:txBody>
          <a:bodyPr/>
          <a:lstStyle/>
          <a:p>
            <a:pPr lvl="0"/>
            <a:r>
              <a:rPr lang="de-DE" noProof="0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23470600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53">
          <p15:clr>
            <a:srgbClr val="FBAE40"/>
          </p15:clr>
        </p15:guide>
        <p15:guide id="2" pos="3727">
          <p15:clr>
            <a:srgbClr val="FBAE40"/>
          </p15:clr>
        </p15:guide>
        <p15:guide id="3" pos="2139" userDrawn="1">
          <p15:clr>
            <a:srgbClr val="FBAE40"/>
          </p15:clr>
        </p15:guide>
        <p15:guide id="4" pos="1890" userDrawn="1">
          <p15:clr>
            <a:srgbClr val="FBAE40"/>
          </p15:clr>
        </p15:guide>
        <p15:guide id="5" pos="5541" userDrawn="1">
          <p15:clr>
            <a:srgbClr val="FBAE40"/>
          </p15:clr>
        </p15:guide>
        <p15:guide id="6" pos="5790" userDrawn="1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2 Spalten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33CE2A8B-DF0C-4ED8-B188-C82210FB660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424408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Bildplatzhalter 6">
            <a:extLst>
              <a:ext uri="{FF2B5EF4-FFF2-40B4-BE49-F238E27FC236}">
                <a16:creationId xmlns:a16="http://schemas.microsoft.com/office/drawing/2014/main" id="{2593715C-3DC0-4E6F-AC38-9875A9DF0C1D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275388" y="0"/>
            <a:ext cx="5916612" cy="6134100"/>
          </a:xfrm>
          <a:solidFill>
            <a:schemeClr val="bg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Bild durch Klicken auf Symbol hinzufügen</a:t>
            </a:r>
            <a:endParaRPr lang="en-US" dirty="0"/>
          </a:p>
        </p:txBody>
      </p:sp>
      <p:sp>
        <p:nvSpPr>
          <p:cNvPr id="9" name="Datumsplatzhalter 8">
            <a:extLst>
              <a:ext uri="{FF2B5EF4-FFF2-40B4-BE49-F238E27FC236}">
                <a16:creationId xmlns:a16="http://schemas.microsoft.com/office/drawing/2014/main" id="{4EB5820C-E708-4B83-B2D5-A17747D22EE7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0047F9E9-11D7-474D-A6DA-3492ADD97332}" type="datetime1">
              <a:rPr lang="de-DE" noProof="0" smtClean="0"/>
              <a:t>15.11.22</a:t>
            </a:fld>
            <a:endParaRPr lang="de-DE" noProof="0" dirty="0"/>
          </a:p>
        </p:txBody>
      </p:sp>
      <p:sp>
        <p:nvSpPr>
          <p:cNvPr id="11" name="Copyright Fraunhofer">
            <a:extLst>
              <a:ext uri="{FF2B5EF4-FFF2-40B4-BE49-F238E27FC236}">
                <a16:creationId xmlns:a16="http://schemas.microsoft.com/office/drawing/2014/main" id="{D2144230-B8EC-476B-931A-D0CD27889EE1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 noProof="0" dirty="0"/>
              <a:t>© Universität zu Lübeck</a:t>
            </a:r>
          </a:p>
        </p:txBody>
      </p:sp>
      <p:sp>
        <p:nvSpPr>
          <p:cNvPr id="12" name="Foliennummernplatzhalter 11">
            <a:extLst>
              <a:ext uri="{FF2B5EF4-FFF2-40B4-BE49-F238E27FC236}">
                <a16:creationId xmlns:a16="http://schemas.microsoft.com/office/drawing/2014/main" id="{A1FBFD26-99E1-4A8F-A74A-F6ADF2E2D81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de-DE" noProof="0" dirty="0"/>
              <a:t>Seit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C16DB4C6-EB43-4DAF-85FB-3D5502FB73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395588"/>
            <a:ext cx="5437188" cy="382733"/>
          </a:xfrm>
        </p:spPr>
        <p:txBody>
          <a:bodyPr vert="horz"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B238F142-8C02-4935-B629-B6251A26C16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79425" y="778321"/>
            <a:ext cx="5437188" cy="330860"/>
          </a:xfrm>
        </p:spPr>
        <p:txBody>
          <a:bodyPr/>
          <a:lstStyle>
            <a:lvl1pPr>
              <a:defRPr sz="2000" b="0" i="0">
                <a:solidFill>
                  <a:schemeClr val="accent2"/>
                </a:solidFill>
                <a:latin typeface="Myriad Pro" panose="020B0503030403020204" pitchFamily="34" charset="0"/>
              </a:defRPr>
            </a:lvl1pPr>
          </a:lstStyle>
          <a:p>
            <a:pPr lvl="0"/>
            <a:r>
              <a:rPr lang="de-DE" dirty="0" err="1"/>
              <a:t>Subline</a:t>
            </a:r>
            <a:endParaRPr lang="en-US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4FD108-BE77-4119-8953-7B3B60E98A00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78199" y="1703388"/>
            <a:ext cx="5437188" cy="2640595"/>
          </a:xfrm>
        </p:spPr>
        <p:txBody>
          <a:bodyPr/>
          <a:lstStyle/>
          <a:p>
            <a:pPr lvl="0"/>
            <a:r>
              <a:rPr lang="de-DE" noProof="0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6788085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53" userDrawn="1">
          <p15:clr>
            <a:srgbClr val="FBAE40"/>
          </p15:clr>
        </p15:guide>
        <p15:guide id="2" pos="3727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– große Headline un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309058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6B002FD9-AF19-4ED6-84E1-C634A79B2BA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solidFill>
            <a:schemeClr val="bg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Bild durch Klicken auf Symbol hinzufügen</a:t>
            </a:r>
            <a:endParaRPr lang="en-US" dirty="0"/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" y="2980810"/>
            <a:ext cx="5916612" cy="3004065"/>
          </a:xfrm>
          <a:gradFill flip="none" rotWithShape="1">
            <a:gsLst>
              <a:gs pos="46000">
                <a:srgbClr val="3F6672"/>
              </a:gs>
              <a:gs pos="0">
                <a:srgbClr val="023D4A"/>
              </a:gs>
              <a:gs pos="88000">
                <a:srgbClr val="8DA0A8"/>
              </a:gs>
              <a:gs pos="100000">
                <a:srgbClr val="5B7583"/>
              </a:gs>
            </a:gsLst>
            <a:lin ang="18000000" scaled="0"/>
            <a:tileRect/>
          </a:gradFill>
        </p:spPr>
        <p:txBody>
          <a:bodyPr lIns="486000" tIns="360000" rIns="360000" bIns="360000" anchor="b">
            <a:sp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1600" b="1" i="0">
                <a:solidFill>
                  <a:schemeClr val="bg1"/>
                </a:solidFill>
                <a:latin typeface="Myriad Pro" panose="020B0503030403020204" pitchFamily="34" charset="0"/>
              </a:defRPr>
            </a:lvl1pPr>
            <a:lvl2pPr>
              <a:lnSpc>
                <a:spcPts val="3200"/>
              </a:lnSpc>
              <a:spcAft>
                <a:spcPts val="640"/>
              </a:spcAft>
              <a:defRPr sz="4160" b="0" i="0">
                <a:solidFill>
                  <a:schemeClr val="bg1"/>
                </a:solidFill>
                <a:latin typeface="Myriad Pro" panose="020B0503030403020204" pitchFamily="34" charset="0"/>
              </a:defRPr>
            </a:lvl2pPr>
            <a:lvl3pPr>
              <a:lnSpc>
                <a:spcPct val="100000"/>
              </a:lnSpc>
              <a:spcAft>
                <a:spcPts val="0"/>
              </a:spcAft>
              <a:defRPr sz="3200" b="0" i="0">
                <a:solidFill>
                  <a:schemeClr val="bg1"/>
                </a:solidFill>
                <a:latin typeface="Myriad Pro" panose="020B0503030403020204" pitchFamily="34" charset="0"/>
              </a:defRPr>
            </a:lvl3pPr>
            <a:lvl4pPr marL="0" indent="0">
              <a:lnSpc>
                <a:spcPct val="110000"/>
              </a:lnSpc>
              <a:spcBef>
                <a:spcPts val="208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 dirty="0" err="1"/>
              <a:t>Subline</a:t>
            </a:r>
            <a:r>
              <a:rPr lang="de-DE" dirty="0"/>
              <a:t>/Referent/Datum</a:t>
            </a:r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/>
              <a:t>Headline groß, Myriad Pro Regular, 32 </a:t>
            </a:r>
            <a:r>
              <a:rPr lang="de-DE" dirty="0" err="1"/>
              <a:t>pt</a:t>
            </a:r>
            <a:endParaRPr lang="de-DE" dirty="0"/>
          </a:p>
          <a:p>
            <a:pPr lvl="3"/>
            <a:r>
              <a:rPr lang="de-DE" dirty="0"/>
              <a:t>Referenten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D968778D-8BC8-464B-A800-1D1791A3726E}"/>
              </a:ext>
            </a:extLst>
          </p:cNvPr>
          <p:cNvSpPr>
            <a:spLocks noGrp="1"/>
          </p:cNvSpPr>
          <p:nvPr>
            <p:ph type="dt" sz="half" idx="12"/>
          </p:nvPr>
        </p:nvSpPr>
        <p:spPr>
          <a:xfrm>
            <a:off x="1388048" y="7027336"/>
            <a:ext cx="720000" cy="123111"/>
          </a:xfrm>
        </p:spPr>
        <p:txBody>
          <a:bodyPr/>
          <a:lstStyle/>
          <a:p>
            <a:fld id="{18404E2F-0DC3-491D-BBFF-E567024868D0}" type="datetime1">
              <a:rPr lang="de-DE" noProof="0" smtClean="0"/>
              <a:t>15.11.22</a:t>
            </a:fld>
            <a:endParaRPr lang="de-DE" noProof="0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75260CBB-BBBF-4BD2-A2B2-E16FB43BCE8E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2297897" y="7027336"/>
            <a:ext cx="2952000" cy="123111"/>
          </a:xfrm>
        </p:spPr>
        <p:txBody>
          <a:bodyPr/>
          <a:lstStyle/>
          <a:p>
            <a:r>
              <a:rPr lang="de-DE" noProof="0" dirty="0"/>
              <a:t>© Universität zu Lübeck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C9F131B-2B68-425B-8FFF-8D359E0D5DD5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479425" y="7027336"/>
            <a:ext cx="720000" cy="123111"/>
          </a:xfrm>
        </p:spPr>
        <p:txBody>
          <a:bodyPr/>
          <a:lstStyle/>
          <a:p>
            <a:r>
              <a:rPr lang="de-DE" noProof="0" dirty="0"/>
              <a:t>Seit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7452369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3 Spalten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D3ED57BE-37A9-4D96-8E88-2396C118622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318074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Bildplatzhalter 6">
            <a:extLst>
              <a:ext uri="{FF2B5EF4-FFF2-40B4-BE49-F238E27FC236}">
                <a16:creationId xmlns:a16="http://schemas.microsoft.com/office/drawing/2014/main" id="{61458B9F-36A1-41C9-BED5-48660CBF7B3D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8220075" y="0"/>
            <a:ext cx="3971925" cy="6134100"/>
          </a:xfrm>
          <a:solidFill>
            <a:schemeClr val="bg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Bild durch Klicken auf Symbol hinzufügen</a:t>
            </a:r>
            <a:endParaRPr lang="en-US" dirty="0"/>
          </a:p>
        </p:txBody>
      </p:sp>
      <p:sp>
        <p:nvSpPr>
          <p:cNvPr id="9" name="Datumsplatzhalter 8">
            <a:extLst>
              <a:ext uri="{FF2B5EF4-FFF2-40B4-BE49-F238E27FC236}">
                <a16:creationId xmlns:a16="http://schemas.microsoft.com/office/drawing/2014/main" id="{3A55FE10-1600-4EC9-BD53-2AD0F1FF5A23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1B09DD79-ED55-4B70-88EA-06391A367C88}" type="datetime1">
              <a:rPr lang="de-DE" noProof="0" smtClean="0"/>
              <a:t>15.11.22</a:t>
            </a:fld>
            <a:endParaRPr lang="de-DE" noProof="0" dirty="0"/>
          </a:p>
        </p:txBody>
      </p:sp>
      <p:sp>
        <p:nvSpPr>
          <p:cNvPr id="11" name="Copyright Fraunhofer">
            <a:extLst>
              <a:ext uri="{FF2B5EF4-FFF2-40B4-BE49-F238E27FC236}">
                <a16:creationId xmlns:a16="http://schemas.microsoft.com/office/drawing/2014/main" id="{3F46C379-14E1-4C3E-81B3-2514BD91D65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 noProof="0" dirty="0"/>
              <a:t>© Universität zu Lübeck</a:t>
            </a:r>
          </a:p>
        </p:txBody>
      </p:sp>
      <p:sp>
        <p:nvSpPr>
          <p:cNvPr id="12" name="Foliennummernplatzhalter 11">
            <a:extLst>
              <a:ext uri="{FF2B5EF4-FFF2-40B4-BE49-F238E27FC236}">
                <a16:creationId xmlns:a16="http://schemas.microsoft.com/office/drawing/2014/main" id="{1983DEDE-C1BC-4CFF-B990-BF9CE174A58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de-DE" noProof="0" dirty="0"/>
              <a:t>Seit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43CF28B4-14C0-46CF-91E6-E56862CBC6F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395588"/>
            <a:ext cx="7345363" cy="382733"/>
          </a:xfrm>
        </p:spPr>
        <p:txBody>
          <a:bodyPr vert="horz"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BEE1F331-B496-4BC0-8505-F35F3C57A21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79425" y="778321"/>
            <a:ext cx="7345363" cy="330860"/>
          </a:xfrm>
        </p:spPr>
        <p:txBody>
          <a:bodyPr/>
          <a:lstStyle>
            <a:lvl1pPr>
              <a:defRPr sz="2000" b="0" i="0">
                <a:solidFill>
                  <a:schemeClr val="accent2"/>
                </a:solidFill>
                <a:latin typeface="Myriad Pro" panose="020B0503030403020204" pitchFamily="34" charset="0"/>
              </a:defRPr>
            </a:lvl1pPr>
          </a:lstStyle>
          <a:p>
            <a:pPr lvl="0"/>
            <a:r>
              <a:rPr lang="de-DE" dirty="0" err="1"/>
              <a:t>Subline</a:t>
            </a:r>
            <a:endParaRPr lang="en-US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B813626-B371-440A-B685-32C75971336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78199" y="1703388"/>
            <a:ext cx="3492500" cy="2640595"/>
          </a:xfrm>
        </p:spPr>
        <p:txBody>
          <a:bodyPr/>
          <a:lstStyle/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E2D2D81B-2964-4DEB-9973-66C95A1B0002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332288" y="1703388"/>
            <a:ext cx="3492500" cy="2619375"/>
          </a:xfrm>
        </p:spPr>
        <p:txBody>
          <a:bodyPr/>
          <a:lstStyle/>
          <a:p>
            <a:pPr lvl="0"/>
            <a:r>
              <a:rPr lang="de-DE" noProof="0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40458485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02" userDrawn="1">
          <p15:clr>
            <a:srgbClr val="FBAE40"/>
          </p15:clr>
        </p15:guide>
        <p15:guide id="2" pos="2729" userDrawn="1">
          <p15:clr>
            <a:srgbClr val="FBAE40"/>
          </p15:clr>
        </p15:guide>
        <p15:guide id="3" pos="4929" userDrawn="1">
          <p15:clr>
            <a:srgbClr val="FBAE40"/>
          </p15:clr>
        </p15:guide>
        <p15:guide id="4" pos="5178" userDrawn="1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1 Spalte | kleine 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>
            <a:extLst>
              <a:ext uri="{FF2B5EF4-FFF2-40B4-BE49-F238E27FC236}">
                <a16:creationId xmlns:a16="http://schemas.microsoft.com/office/drawing/2014/main" id="{73EB3F1D-68CC-4D42-88C6-FD851995773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116082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7242AEA7-0D8C-4AD8-8EEC-63FF8206F79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5A82B2D-840F-4167-AD44-C02BC9C87CCB}" type="datetime1">
              <a:rPr lang="de-DE" noProof="0" smtClean="0"/>
              <a:t>15.11.22</a:t>
            </a:fld>
            <a:endParaRPr lang="de-DE" noProof="0" dirty="0"/>
          </a:p>
        </p:txBody>
      </p:sp>
      <p:sp>
        <p:nvSpPr>
          <p:cNvPr id="8" name="Copyright Fraunhofer">
            <a:extLst>
              <a:ext uri="{FF2B5EF4-FFF2-40B4-BE49-F238E27FC236}">
                <a16:creationId xmlns:a16="http://schemas.microsoft.com/office/drawing/2014/main" id="{3BFD0A8D-1DCE-43F0-A5E3-4221FF17E80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 dirty="0"/>
              <a:t>© Universität zu Lübeck</a:t>
            </a: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C680CF9D-E06C-44A3-9743-D9D200F41CB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 noProof="0" dirty="0"/>
              <a:t>Seit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08A281D1-4D07-42EA-89AA-EA4C03EDB00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778321"/>
            <a:ext cx="11233150" cy="330860"/>
          </a:xfrm>
        </p:spPr>
        <p:txBody>
          <a:bodyPr/>
          <a:lstStyle>
            <a:lvl1pPr>
              <a:defRPr sz="2000" b="0" i="0">
                <a:solidFill>
                  <a:schemeClr val="accent2"/>
                </a:solidFill>
                <a:latin typeface="Myriad Pro" panose="020B0503030403020204" pitchFamily="34" charset="0"/>
              </a:defRPr>
            </a:lvl1pPr>
          </a:lstStyle>
          <a:p>
            <a:pPr lvl="0"/>
            <a:r>
              <a:rPr lang="de-DE" dirty="0" err="1"/>
              <a:t>Subline</a:t>
            </a:r>
            <a:endParaRPr lang="en-US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85573968-5EC4-45D8-B356-9D2C25D2EC6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8199" y="1703388"/>
            <a:ext cx="11233150" cy="2640595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de-DE" noProof="0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428381408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1 Spalte | große 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>
            <a:extLst>
              <a:ext uri="{FF2B5EF4-FFF2-40B4-BE49-F238E27FC236}">
                <a16:creationId xmlns:a16="http://schemas.microsoft.com/office/drawing/2014/main" id="{73EB3F1D-68CC-4D42-88C6-FD851995773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992924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1" name="Objekt 10" hidden="1">
                        <a:extLst>
                          <a:ext uri="{FF2B5EF4-FFF2-40B4-BE49-F238E27FC236}">
                            <a16:creationId xmlns:a16="http://schemas.microsoft.com/office/drawing/2014/main" id="{73EB3F1D-68CC-4D42-88C6-FD851995773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7242AEA7-0D8C-4AD8-8EEC-63FF8206F79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31443C-B870-41CA-8630-426F79C7DA41}" type="datetime1">
              <a:rPr lang="de-DE" noProof="0" smtClean="0"/>
              <a:t>15.11.22</a:t>
            </a:fld>
            <a:endParaRPr lang="de-DE" noProof="0" dirty="0"/>
          </a:p>
        </p:txBody>
      </p:sp>
      <p:sp>
        <p:nvSpPr>
          <p:cNvPr id="8" name="Copyright Fraunhofer">
            <a:extLst>
              <a:ext uri="{FF2B5EF4-FFF2-40B4-BE49-F238E27FC236}">
                <a16:creationId xmlns:a16="http://schemas.microsoft.com/office/drawing/2014/main" id="{3BFD0A8D-1DCE-43F0-A5E3-4221FF17E80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 dirty="0"/>
              <a:t>© Universität zu Lübeck</a:t>
            </a: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C680CF9D-E06C-44A3-9743-D9D200F41CB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 noProof="0" dirty="0"/>
              <a:t>Seit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08A281D1-4D07-42EA-89AA-EA4C03EDB00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778321"/>
            <a:ext cx="11233150" cy="330860"/>
          </a:xfrm>
        </p:spPr>
        <p:txBody>
          <a:bodyPr/>
          <a:lstStyle>
            <a:lvl1pPr>
              <a:defRPr sz="2000" b="0" i="0">
                <a:solidFill>
                  <a:schemeClr val="accent2"/>
                </a:solidFill>
                <a:latin typeface="Myriad Pro" panose="020B0503030403020204" pitchFamily="34" charset="0"/>
              </a:defRPr>
            </a:lvl1pPr>
          </a:lstStyle>
          <a:p>
            <a:pPr lvl="0"/>
            <a:r>
              <a:rPr lang="de-DE" dirty="0" err="1"/>
              <a:t>Subline</a:t>
            </a:r>
            <a:endParaRPr lang="en-US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85573968-5EC4-45D8-B356-9D2C25D2EC6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8199" y="1703388"/>
            <a:ext cx="11233150" cy="3020314"/>
          </a:xfrm>
        </p:spPr>
        <p:txBody>
          <a:bodyPr/>
          <a:lstStyle>
            <a:lvl1pPr>
              <a:spcAft>
                <a:spcPts val="2200"/>
              </a:spcAft>
              <a:defRPr sz="1800"/>
            </a:lvl1pPr>
            <a:lvl2pPr>
              <a:spcAft>
                <a:spcPts val="2200"/>
              </a:spcAft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411601367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2 Spalten | kleine 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3DC8D38B-C18B-45D1-977E-43D6AADFE7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918883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728811"/>
            <a:ext cx="11233150" cy="382733"/>
          </a:xfrm>
        </p:spPr>
        <p:txBody>
          <a:bodyPr vert="horz"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B6B3DBCD-172B-459C-8C97-521B9602874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9425" y="1700213"/>
            <a:ext cx="5437188" cy="2640595"/>
          </a:xfrm>
        </p:spPr>
        <p:txBody>
          <a:bodyPr numCol="1" spcCol="360000"/>
          <a:lstStyle>
            <a:lvl5pPr>
              <a:defRPr/>
            </a:lvl5pPr>
            <a:lvl8pPr>
              <a:buAutoNum type="arabicPeriod"/>
              <a:defRPr/>
            </a:lvl8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7A80A6E1-2019-439E-8E86-0046D913F8DE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D9D36A6-A034-4164-BBE1-F8AE84912B9F}" type="datetime1">
              <a:rPr lang="de-DE" noProof="0" smtClean="0"/>
              <a:t>15.11.22</a:t>
            </a:fld>
            <a:endParaRPr lang="de-DE" noProof="0" dirty="0"/>
          </a:p>
        </p:txBody>
      </p:sp>
      <p:sp>
        <p:nvSpPr>
          <p:cNvPr id="10" name="Copyright Fraunhofer">
            <a:extLst>
              <a:ext uri="{FF2B5EF4-FFF2-40B4-BE49-F238E27FC236}">
                <a16:creationId xmlns:a16="http://schemas.microsoft.com/office/drawing/2014/main" id="{F3CF5D9C-18A9-4FD1-BF61-90B1DF40DAE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 noProof="0" dirty="0"/>
              <a:t>© Universität zu Lübeck</a:t>
            </a:r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2C7C1689-11E8-41AB-9458-DE44740E236D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de-DE" noProof="0" dirty="0"/>
              <a:t>Seit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039AB49C-1F4E-4EF1-AAF8-5D9B08CE018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79425" y="417600"/>
            <a:ext cx="11233150" cy="330860"/>
          </a:xfrm>
        </p:spPr>
        <p:txBody>
          <a:bodyPr/>
          <a:lstStyle>
            <a:lvl1pPr>
              <a:defRPr sz="2000" b="0" i="0">
                <a:solidFill>
                  <a:schemeClr val="accent2"/>
                </a:solidFill>
                <a:latin typeface="Myriad Pro" panose="020B0503030403020204" pitchFamily="34" charset="0"/>
              </a:defRPr>
            </a:lvl1pPr>
          </a:lstStyle>
          <a:p>
            <a:pPr lvl="0"/>
            <a:r>
              <a:rPr lang="de-DE" dirty="0" err="1"/>
              <a:t>Subline</a:t>
            </a:r>
            <a:endParaRPr lang="en-US" dirty="0"/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02979DCD-35B3-46F6-8E1A-F75179508D3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275388" y="1700213"/>
            <a:ext cx="5437187" cy="2640595"/>
          </a:xfrm>
        </p:spPr>
        <p:txBody>
          <a:bodyPr numCol="1"/>
          <a:lstStyle/>
          <a:p>
            <a:pPr lvl="0"/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35033391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53" userDrawn="1">
          <p15:clr>
            <a:srgbClr val="FBAE40"/>
          </p15:clr>
        </p15:guide>
        <p15:guide id="2" pos="3727" userDrawn="1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2 Spalten | große 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2174C6A4-3B89-4478-A08C-B54D082B384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874438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728811"/>
            <a:ext cx="11233150" cy="382733"/>
          </a:xfrm>
        </p:spPr>
        <p:txBody>
          <a:bodyPr vert="horz"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B6B3DBCD-172B-459C-8C97-521B9602874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9425" y="1700213"/>
            <a:ext cx="5437188" cy="3085204"/>
          </a:xfrm>
        </p:spPr>
        <p:txBody>
          <a:bodyPr numCol="1" spcCol="360000"/>
          <a:lstStyle>
            <a:lvl1pPr>
              <a:lnSpc>
                <a:spcPct val="110000"/>
              </a:lnSpc>
              <a:spcAft>
                <a:spcPts val="2200"/>
              </a:spcAft>
              <a:defRPr sz="1800"/>
            </a:lvl1pPr>
            <a:lvl2pPr>
              <a:lnSpc>
                <a:spcPct val="110000"/>
              </a:lnSpc>
              <a:spcAft>
                <a:spcPts val="2200"/>
              </a:spcAft>
              <a:defRPr sz="1600"/>
            </a:lvl2pPr>
            <a:lvl3pPr>
              <a:lnSpc>
                <a:spcPct val="110000"/>
              </a:lnSpc>
              <a:defRPr sz="1600"/>
            </a:lvl3pPr>
            <a:lvl4pPr>
              <a:lnSpc>
                <a:spcPct val="110000"/>
              </a:lnSpc>
              <a:defRPr sz="1600"/>
            </a:lvl4pPr>
            <a:lvl5pPr>
              <a:lnSpc>
                <a:spcPct val="110000"/>
              </a:lnSpc>
              <a:defRPr sz="1600"/>
            </a:lvl5pPr>
            <a:lvl6pPr>
              <a:lnSpc>
                <a:spcPct val="110000"/>
              </a:lnSpc>
              <a:defRPr sz="1600"/>
            </a:lvl6pPr>
            <a:lvl7pPr>
              <a:lnSpc>
                <a:spcPct val="110000"/>
              </a:lnSpc>
              <a:defRPr sz="1600"/>
            </a:lvl7pPr>
            <a:lvl8pPr>
              <a:lnSpc>
                <a:spcPct val="110000"/>
              </a:lnSpc>
              <a:buAutoNum type="arabicPeriod"/>
              <a:defRPr sz="1600"/>
            </a:lvl8pPr>
            <a:lvl9pPr>
              <a:lnSpc>
                <a:spcPct val="110000"/>
              </a:lnSpc>
              <a:defRPr sz="16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9" name="Datumsplatzhalter 8">
            <a:extLst>
              <a:ext uri="{FF2B5EF4-FFF2-40B4-BE49-F238E27FC236}">
                <a16:creationId xmlns:a16="http://schemas.microsoft.com/office/drawing/2014/main" id="{A318EBD9-F5F5-405C-9B19-55E93DB7BE18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6BBE7333-2DF4-417D-84A6-4C1EC6024486}" type="datetime1">
              <a:rPr lang="de-DE" noProof="0" smtClean="0"/>
              <a:t>15.11.22</a:t>
            </a:fld>
            <a:endParaRPr lang="de-DE" noProof="0" dirty="0"/>
          </a:p>
        </p:txBody>
      </p:sp>
      <p:sp>
        <p:nvSpPr>
          <p:cNvPr id="10" name="Copyright Fraunhofer">
            <a:extLst>
              <a:ext uri="{FF2B5EF4-FFF2-40B4-BE49-F238E27FC236}">
                <a16:creationId xmlns:a16="http://schemas.microsoft.com/office/drawing/2014/main" id="{A65BD112-D0DA-4A2E-BD97-424BCF96C46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 noProof="0" dirty="0"/>
              <a:t>© Universität zu Lübeck</a:t>
            </a:r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138D657B-7546-4822-9986-D7784748709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de-DE" noProof="0" dirty="0"/>
              <a:t>Seit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89B913C0-DAEC-4E03-BE28-C93BE7F200C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79425" y="417600"/>
            <a:ext cx="11233150" cy="330860"/>
          </a:xfrm>
        </p:spPr>
        <p:txBody>
          <a:bodyPr/>
          <a:lstStyle>
            <a:lvl1pPr>
              <a:defRPr sz="2000" b="0" i="0">
                <a:solidFill>
                  <a:schemeClr val="accent2"/>
                </a:solidFill>
                <a:latin typeface="Myriad Pro" panose="020B0503030403020204" pitchFamily="34" charset="0"/>
              </a:defRPr>
            </a:lvl1pPr>
          </a:lstStyle>
          <a:p>
            <a:pPr lvl="0"/>
            <a:r>
              <a:rPr lang="de-DE" dirty="0" err="1"/>
              <a:t>Subline</a:t>
            </a:r>
            <a:endParaRPr lang="en-US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ADDDE3BD-D7C5-4F7F-8E5F-2F194BD44F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275388" y="1700213"/>
            <a:ext cx="5516562" cy="3020314"/>
          </a:xfrm>
        </p:spPr>
        <p:txBody>
          <a:bodyPr numCol="1"/>
          <a:lstStyle>
            <a:lvl1pPr>
              <a:lnSpc>
                <a:spcPct val="110000"/>
              </a:lnSpc>
              <a:spcAft>
                <a:spcPts val="2200"/>
              </a:spcAft>
              <a:defRPr sz="1800"/>
            </a:lvl1pPr>
            <a:lvl2pPr>
              <a:lnSpc>
                <a:spcPct val="110000"/>
              </a:lnSpc>
              <a:spcAft>
                <a:spcPts val="2200"/>
              </a:spcAft>
              <a:defRPr sz="1600"/>
            </a:lvl2pPr>
            <a:lvl3pPr>
              <a:lnSpc>
                <a:spcPct val="110000"/>
              </a:lnSpc>
              <a:defRPr sz="1600"/>
            </a:lvl3pPr>
            <a:lvl4pPr>
              <a:lnSpc>
                <a:spcPct val="110000"/>
              </a:lnSpc>
              <a:defRPr sz="1600"/>
            </a:lvl4pPr>
            <a:lvl5pPr>
              <a:lnSpc>
                <a:spcPct val="110000"/>
              </a:lnSpc>
              <a:defRPr sz="1600"/>
            </a:lvl5pPr>
            <a:lvl6pPr>
              <a:lnSpc>
                <a:spcPct val="110000"/>
              </a:lnSpc>
              <a:defRPr sz="1600"/>
            </a:lvl6pPr>
            <a:lvl7pPr>
              <a:lnSpc>
                <a:spcPct val="110000"/>
              </a:lnSpc>
              <a:defRPr sz="1600"/>
            </a:lvl7pPr>
            <a:lvl8pPr>
              <a:lnSpc>
                <a:spcPct val="110000"/>
              </a:lnSpc>
              <a:defRPr sz="1600"/>
            </a:lvl8pPr>
            <a:lvl9pPr>
              <a:lnSpc>
                <a:spcPct val="110000"/>
              </a:lnSpc>
              <a:defRPr sz="16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3395275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53" userDrawn="1">
          <p15:clr>
            <a:srgbClr val="FBAE40"/>
          </p15:clr>
        </p15:guide>
        <p15:guide id="2" pos="3727" userDrawn="1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2 Spalten mit Infokas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3DC8D38B-C18B-45D1-977E-43D6AADFE7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72209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3DC8D38B-C18B-45D1-977E-43D6AADFE7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B6B3DBCD-172B-459C-8C97-521B9602874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0" y="1700213"/>
            <a:ext cx="5916613" cy="4284662"/>
          </a:xfrm>
          <a:gradFill flip="none" rotWithShape="1">
            <a:gsLst>
              <a:gs pos="46000">
                <a:srgbClr val="3F6672"/>
              </a:gs>
              <a:gs pos="0">
                <a:srgbClr val="023D4A"/>
              </a:gs>
              <a:gs pos="88000">
                <a:srgbClr val="8DA0A8"/>
              </a:gs>
              <a:gs pos="100000">
                <a:srgbClr val="5B7583"/>
              </a:gs>
            </a:gsLst>
            <a:lin ang="18000000" scaled="0"/>
            <a:tileRect/>
          </a:gradFill>
        </p:spPr>
        <p:txBody>
          <a:bodyPr lIns="486000" tIns="288000" rIns="288000" bIns="288000" numCol="1" spcCol="360000">
            <a:noAutofit/>
          </a:bodyPr>
          <a:lstStyle>
            <a:lvl1pPr>
              <a:spcAft>
                <a:spcPts val="0"/>
              </a:spcAft>
              <a:defRPr>
                <a:solidFill>
                  <a:schemeClr val="bg1"/>
                </a:solidFill>
              </a:defRPr>
            </a:lvl1pPr>
            <a:lvl2pPr>
              <a:lnSpc>
                <a:spcPts val="1800"/>
              </a:lnSpc>
              <a:spcAft>
                <a:spcPts val="600"/>
              </a:spcAft>
              <a:defRPr sz="2080" b="0">
                <a:solidFill>
                  <a:schemeClr val="bg1"/>
                </a:solidFill>
                <a:latin typeface="Frutiger LT Com 55 Roman" panose="020B0A03040504030204" pitchFamily="34" charset="0"/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  <a:lvl6pPr>
              <a:buClr>
                <a:schemeClr val="bg1"/>
              </a:buClr>
              <a:defRPr>
                <a:solidFill>
                  <a:schemeClr val="bg1"/>
                </a:solidFill>
              </a:defRPr>
            </a:lvl6pPr>
            <a:lvl7pPr>
              <a:buClr>
                <a:schemeClr val="bg1"/>
              </a:buClr>
              <a:defRPr>
                <a:solidFill>
                  <a:schemeClr val="bg1"/>
                </a:solidFill>
              </a:defRPr>
            </a:lvl7pPr>
            <a:lvl8pPr>
              <a:buClr>
                <a:schemeClr val="bg1"/>
              </a:buClr>
              <a:buAutoNum type="arabicPeriod"/>
              <a:defRPr>
                <a:solidFill>
                  <a:schemeClr val="bg1"/>
                </a:solidFill>
              </a:defRPr>
            </a:lvl8pPr>
            <a:lvl9pPr>
              <a:buClr>
                <a:schemeClr val="bg1"/>
              </a:buCl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74F9B75C-F431-4271-A789-357B552F17E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275388" y="1700213"/>
            <a:ext cx="5437187" cy="2777299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C7C33152-44C8-4D5F-8A14-F5A77C4509AD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D4E2D0BE-C1C0-4F7D-8CA3-1AB441DBDBE6}" type="datetime1">
              <a:rPr lang="de-DE" noProof="0" smtClean="0"/>
              <a:t>15.11.22</a:t>
            </a:fld>
            <a:endParaRPr lang="de-DE" noProof="0" dirty="0"/>
          </a:p>
        </p:txBody>
      </p:sp>
      <p:sp>
        <p:nvSpPr>
          <p:cNvPr id="10" name="Copyright Fraunhofer">
            <a:extLst>
              <a:ext uri="{FF2B5EF4-FFF2-40B4-BE49-F238E27FC236}">
                <a16:creationId xmlns:a16="http://schemas.microsoft.com/office/drawing/2014/main" id="{E4293628-7C4E-4B40-9C44-4455388844A5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 noProof="0" dirty="0"/>
              <a:t>© Universität zu Lübeck</a:t>
            </a:r>
          </a:p>
        </p:txBody>
      </p:sp>
      <p:sp>
        <p:nvSpPr>
          <p:cNvPr id="12" name="Foliennummernplatzhalter 11">
            <a:extLst>
              <a:ext uri="{FF2B5EF4-FFF2-40B4-BE49-F238E27FC236}">
                <a16:creationId xmlns:a16="http://schemas.microsoft.com/office/drawing/2014/main" id="{82CBCEFF-ED55-43F4-840E-11635FF54F1D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r>
              <a:rPr lang="de-DE" noProof="0" dirty="0"/>
              <a:t>Seit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870EAC44-6B23-48D7-9382-254ECE95C3B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79425" y="778321"/>
            <a:ext cx="11233150" cy="330860"/>
          </a:xfrm>
        </p:spPr>
        <p:txBody>
          <a:bodyPr/>
          <a:lstStyle>
            <a:lvl1pPr>
              <a:defRPr sz="2000" b="0" i="0">
                <a:solidFill>
                  <a:schemeClr val="accent2"/>
                </a:solidFill>
                <a:latin typeface="Myriad Pro" panose="020B0503030403020204" pitchFamily="34" charset="0"/>
              </a:defRPr>
            </a:lvl1pPr>
          </a:lstStyle>
          <a:p>
            <a:pPr lvl="0"/>
            <a:r>
              <a:rPr lang="de-DE" dirty="0" err="1"/>
              <a:t>Sublin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02865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53" userDrawn="1">
          <p15:clr>
            <a:srgbClr val="FBAE40"/>
          </p15:clr>
        </p15:guide>
        <p15:guide id="2" pos="3727" userDrawn="1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 he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5BAB6549-3007-4962-B8D4-52ECE482311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518240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Rechteck 21">
            <a:extLst>
              <a:ext uri="{FF2B5EF4-FFF2-40B4-BE49-F238E27FC236}">
                <a16:creationId xmlns:a16="http://schemas.microsoft.com/office/drawing/2014/main" id="{30FDEE22-4D74-4924-86C5-CF41B7A9F583}"/>
              </a:ext>
            </a:extLst>
          </p:cNvPr>
          <p:cNvSpPr/>
          <p:nvPr userDrawn="1"/>
        </p:nvSpPr>
        <p:spPr bwMode="gray">
          <a:xfrm>
            <a:off x="479425" y="1206230"/>
            <a:ext cx="473886" cy="87549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5" name="Gerader Verbinder 14">
            <a:extLst>
              <a:ext uri="{FF2B5EF4-FFF2-40B4-BE49-F238E27FC236}">
                <a16:creationId xmlns:a16="http://schemas.microsoft.com/office/drawing/2014/main" id="{CABC3893-E6D0-4680-9CDB-B7D76C158179}"/>
              </a:ext>
            </a:extLst>
          </p:cNvPr>
          <p:cNvCxnSpPr/>
          <p:nvPr userDrawn="1"/>
        </p:nvCxnSpPr>
        <p:spPr>
          <a:xfrm>
            <a:off x="0" y="6143625"/>
            <a:ext cx="12192000" cy="0"/>
          </a:xfrm>
          <a:prstGeom prst="line">
            <a:avLst/>
          </a:prstGeom>
          <a:ln w="190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Textplatzhalter 31">
            <a:extLst>
              <a:ext uri="{FF2B5EF4-FFF2-40B4-BE49-F238E27FC236}">
                <a16:creationId xmlns:a16="http://schemas.microsoft.com/office/drawing/2014/main" id="{19260903-BB55-4E18-8A26-9490D566EEA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1826785"/>
            <a:ext cx="11233150" cy="1205330"/>
          </a:xfrm>
        </p:spPr>
        <p:txBody>
          <a:bodyPr/>
          <a:lstStyle>
            <a:lvl1pPr>
              <a:lnSpc>
                <a:spcPct val="110000"/>
              </a:lnSpc>
              <a:spcAft>
                <a:spcPts val="0"/>
              </a:spcAft>
              <a:defRPr sz="4400" b="1" i="0">
                <a:solidFill>
                  <a:schemeClr val="accent2"/>
                </a:solidFill>
                <a:latin typeface="Myriad Pro" panose="020B0503030403020204" pitchFamily="34" charset="0"/>
              </a:defRPr>
            </a:lvl1pPr>
            <a:lvl2pPr algn="r">
              <a:lnSpc>
                <a:spcPct val="110000"/>
              </a:lnSpc>
              <a:spcAft>
                <a:spcPts val="0"/>
              </a:spcAft>
              <a:defRPr sz="1400" b="1" i="0">
                <a:solidFill>
                  <a:schemeClr val="accent2"/>
                </a:solidFill>
                <a:latin typeface="Myriad Pro" panose="020B0503030403020204" pitchFamily="34" charset="0"/>
              </a:defRPr>
            </a:lvl2pPr>
            <a:lvl3pPr algn="r">
              <a:lnSpc>
                <a:spcPct val="110000"/>
              </a:lnSpc>
              <a:spcAft>
                <a:spcPts val="0"/>
              </a:spcAft>
              <a:defRPr b="0" i="0">
                <a:solidFill>
                  <a:schemeClr val="accent2"/>
                </a:solidFill>
                <a:latin typeface="Myriad Pro" panose="020B0503030403020204" pitchFamily="34" charset="0"/>
              </a:defRPr>
            </a:lvl3pPr>
            <a:lvl4pPr marL="0" indent="0" algn="r">
              <a:lnSpc>
                <a:spcPct val="110000"/>
              </a:lnSpc>
              <a:buNone/>
              <a:defRPr>
                <a:solidFill>
                  <a:schemeClr val="accent2"/>
                </a:solidFill>
              </a:defRPr>
            </a:lvl4pPr>
          </a:lstStyle>
          <a:p>
            <a:pPr lvl="0"/>
            <a:r>
              <a:rPr lang="de-DE" dirty="0"/>
              <a:t>Zitat</a:t>
            </a:r>
          </a:p>
          <a:p>
            <a:pPr lvl="1"/>
            <a:r>
              <a:rPr lang="de-DE" dirty="0"/>
              <a:t>Name des Autors</a:t>
            </a:r>
          </a:p>
          <a:p>
            <a:pPr lvl="2"/>
            <a:r>
              <a:rPr lang="de-DE" dirty="0"/>
              <a:t>Position</a:t>
            </a:r>
          </a:p>
        </p:txBody>
      </p:sp>
      <p:grpSp>
        <p:nvGrpSpPr>
          <p:cNvPr id="20" name="Gruppieren 19">
            <a:extLst>
              <a:ext uri="{FF2B5EF4-FFF2-40B4-BE49-F238E27FC236}">
                <a16:creationId xmlns:a16="http://schemas.microsoft.com/office/drawing/2014/main" id="{B30F5BB5-7863-4504-94A4-F39A72E20BF2}"/>
              </a:ext>
            </a:extLst>
          </p:cNvPr>
          <p:cNvGrpSpPr/>
          <p:nvPr userDrawn="1"/>
        </p:nvGrpSpPr>
        <p:grpSpPr>
          <a:xfrm>
            <a:off x="621507" y="476249"/>
            <a:ext cx="1266824" cy="1028701"/>
            <a:chOff x="621507" y="476249"/>
            <a:chExt cx="1266824" cy="1028701"/>
          </a:xfrm>
        </p:grpSpPr>
        <p:sp>
          <p:nvSpPr>
            <p:cNvPr id="3" name="Pfeil: Chevron 2">
              <a:extLst>
                <a:ext uri="{FF2B5EF4-FFF2-40B4-BE49-F238E27FC236}">
                  <a16:creationId xmlns:a16="http://schemas.microsoft.com/office/drawing/2014/main" id="{80955E3B-8357-4836-8592-3039D01F1391}"/>
                </a:ext>
              </a:extLst>
            </p:cNvPr>
            <p:cNvSpPr/>
            <p:nvPr userDrawn="1"/>
          </p:nvSpPr>
          <p:spPr>
            <a:xfrm>
              <a:off x="621507" y="476249"/>
              <a:ext cx="671512" cy="1028701"/>
            </a:xfrm>
            <a:prstGeom prst="chevron">
              <a:avLst>
                <a:gd name="adj" fmla="val 42908"/>
              </a:avLst>
            </a:prstGeom>
            <a:solidFill>
              <a:schemeClr val="accent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pPr marL="180000" indent="-180000" algn="l">
                <a:lnSpc>
                  <a:spcPts val="1960"/>
                </a:lnSpc>
                <a:buClr>
                  <a:schemeClr val="accent1"/>
                </a:buClr>
                <a:buFont typeface="Wingdings" panose="05000000000000000000" pitchFamily="2" charset="2"/>
                <a:buChar char="§"/>
              </a:pPr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19" name="Pfeil: Chevron 18">
              <a:extLst>
                <a:ext uri="{FF2B5EF4-FFF2-40B4-BE49-F238E27FC236}">
                  <a16:creationId xmlns:a16="http://schemas.microsoft.com/office/drawing/2014/main" id="{8245CA0A-C731-43B3-A4D1-99935FA2DE2F}"/>
                </a:ext>
              </a:extLst>
            </p:cNvPr>
            <p:cNvSpPr/>
            <p:nvPr userDrawn="1"/>
          </p:nvSpPr>
          <p:spPr>
            <a:xfrm>
              <a:off x="1216819" y="476249"/>
              <a:ext cx="671512" cy="1028701"/>
            </a:xfrm>
            <a:prstGeom prst="chevron">
              <a:avLst>
                <a:gd name="adj" fmla="val 42908"/>
              </a:avLst>
            </a:prstGeom>
            <a:solidFill>
              <a:schemeClr val="accent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pPr marL="180000" indent="-180000" algn="l">
                <a:lnSpc>
                  <a:spcPts val="1960"/>
                </a:lnSpc>
                <a:buClr>
                  <a:schemeClr val="accent1"/>
                </a:buClr>
                <a:buFont typeface="Wingdings" panose="05000000000000000000" pitchFamily="2" charset="2"/>
                <a:buChar char="§"/>
              </a:pPr>
              <a:endParaRPr lang="en-US" sz="1400" dirty="0">
                <a:solidFill>
                  <a:schemeClr val="tx1"/>
                </a:solidFill>
              </a:endParaRPr>
            </a:p>
          </p:txBody>
        </p:sp>
      </p:grp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B2285A88-12D6-4461-A4C7-1D177C10FE4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18404E2F-0DC3-491D-BBFF-E567024868D0}" type="datetime1">
              <a:rPr lang="de-DE" noProof="0" smtClean="0"/>
              <a:t>15.11.22</a:t>
            </a:fld>
            <a:endParaRPr lang="de-DE" noProof="0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498C3B39-287A-4DC2-86D1-47762D2F8296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 noProof="0" dirty="0"/>
              <a:t>© Universität zu Lübeck</a:t>
            </a:r>
          </a:p>
        </p:txBody>
      </p:sp>
      <p:sp>
        <p:nvSpPr>
          <p:cNvPr id="21" name="Foliennummernplatzhalter 20">
            <a:extLst>
              <a:ext uri="{FF2B5EF4-FFF2-40B4-BE49-F238E27FC236}">
                <a16:creationId xmlns:a16="http://schemas.microsoft.com/office/drawing/2014/main" id="{A36F7860-0DEC-4D26-A4CA-9345FD18967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de-DE" noProof="0" dirty="0"/>
              <a:t>Seit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93722189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 dunk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5BAB6549-3007-4962-B8D4-52ECE482311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055748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5BAB6549-3007-4962-B8D4-52ECE482311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5" name="Gerader Verbinder 14">
            <a:extLst>
              <a:ext uri="{FF2B5EF4-FFF2-40B4-BE49-F238E27FC236}">
                <a16:creationId xmlns:a16="http://schemas.microsoft.com/office/drawing/2014/main" id="{CABC3893-E6D0-4680-9CDB-B7D76C158179}"/>
              </a:ext>
            </a:extLst>
          </p:cNvPr>
          <p:cNvCxnSpPr/>
          <p:nvPr userDrawn="1"/>
        </p:nvCxnSpPr>
        <p:spPr>
          <a:xfrm>
            <a:off x="0" y="6143625"/>
            <a:ext cx="12192000" cy="0"/>
          </a:xfrm>
          <a:prstGeom prst="line">
            <a:avLst/>
          </a:prstGeom>
          <a:ln w="190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" name="Grafik 2">
            <a:extLst>
              <a:ext uri="{FF2B5EF4-FFF2-40B4-BE49-F238E27FC236}">
                <a16:creationId xmlns:a16="http://schemas.microsoft.com/office/drawing/2014/main" id="{53F8FA31-3276-0631-7222-AA01AB32E065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146747"/>
          </a:xfrm>
          <a:prstGeom prst="rect">
            <a:avLst/>
          </a:prstGeom>
        </p:spPr>
      </p:pic>
      <p:sp>
        <p:nvSpPr>
          <p:cNvPr id="32" name="Textplatzhalter 31">
            <a:extLst>
              <a:ext uri="{FF2B5EF4-FFF2-40B4-BE49-F238E27FC236}">
                <a16:creationId xmlns:a16="http://schemas.microsoft.com/office/drawing/2014/main" id="{19260903-BB55-4E18-8A26-9490D566EEA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1826785"/>
            <a:ext cx="11233150" cy="1205330"/>
          </a:xfrm>
        </p:spPr>
        <p:txBody>
          <a:bodyPr/>
          <a:lstStyle>
            <a:lvl1pPr>
              <a:lnSpc>
                <a:spcPct val="110000"/>
              </a:lnSpc>
              <a:spcAft>
                <a:spcPts val="0"/>
              </a:spcAft>
              <a:defRPr sz="4400" b="1" i="0">
                <a:solidFill>
                  <a:schemeClr val="bg1"/>
                </a:solidFill>
                <a:latin typeface="Myriad Pro" panose="020B0503030403020204" pitchFamily="34" charset="0"/>
              </a:defRPr>
            </a:lvl1pPr>
            <a:lvl2pPr algn="r">
              <a:lnSpc>
                <a:spcPct val="110000"/>
              </a:lnSpc>
              <a:spcAft>
                <a:spcPts val="0"/>
              </a:spcAft>
              <a:defRPr sz="1400" b="1" i="0">
                <a:solidFill>
                  <a:schemeClr val="bg1"/>
                </a:solidFill>
                <a:latin typeface="Myriad Pro" panose="020B0503030403020204" pitchFamily="34" charset="0"/>
              </a:defRPr>
            </a:lvl2pPr>
            <a:lvl3pPr algn="r">
              <a:lnSpc>
                <a:spcPct val="110000"/>
              </a:lnSpc>
              <a:spcAft>
                <a:spcPts val="0"/>
              </a:spcAft>
              <a:defRPr b="0" i="0">
                <a:solidFill>
                  <a:schemeClr val="bg1"/>
                </a:solidFill>
                <a:latin typeface="Myriad Pro" panose="020B0503030403020204" pitchFamily="34" charset="0"/>
              </a:defRPr>
            </a:lvl3pPr>
            <a:lvl4pPr marL="0" indent="0" algn="r">
              <a:lnSpc>
                <a:spcPct val="110000"/>
              </a:lnSpc>
              <a:buNone/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de-DE" dirty="0"/>
              <a:t>Zitat</a:t>
            </a:r>
          </a:p>
          <a:p>
            <a:pPr lvl="1"/>
            <a:r>
              <a:rPr lang="de-DE" dirty="0"/>
              <a:t>Name des Autors</a:t>
            </a:r>
          </a:p>
          <a:p>
            <a:pPr lvl="2"/>
            <a:r>
              <a:rPr lang="de-DE" dirty="0"/>
              <a:t>Position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EFE2E23E-A04B-4A3C-9731-269F09B3618B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9DE324B6-D7C2-429F-9563-54E4F47990AC}" type="datetime1">
              <a:rPr lang="de-DE" noProof="0" smtClean="0"/>
              <a:t>15.11.22</a:t>
            </a:fld>
            <a:endParaRPr lang="de-DE" noProof="0" dirty="0"/>
          </a:p>
        </p:txBody>
      </p:sp>
      <p:sp>
        <p:nvSpPr>
          <p:cNvPr id="17" name="Copyright Fraunhofer">
            <a:extLst>
              <a:ext uri="{FF2B5EF4-FFF2-40B4-BE49-F238E27FC236}">
                <a16:creationId xmlns:a16="http://schemas.microsoft.com/office/drawing/2014/main" id="{7BF1A88B-92B6-448D-B293-70A607B26511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 noProof="0" dirty="0"/>
              <a:t>© Universität zu Lübeck</a:t>
            </a:r>
          </a:p>
        </p:txBody>
      </p:sp>
      <p:sp>
        <p:nvSpPr>
          <p:cNvPr id="18" name="Foliennummernplatzhalter 17">
            <a:extLst>
              <a:ext uri="{FF2B5EF4-FFF2-40B4-BE49-F238E27FC236}">
                <a16:creationId xmlns:a16="http://schemas.microsoft.com/office/drawing/2014/main" id="{9320B56D-3BA0-4D7D-91B3-67F9A11E4A7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de-DE" noProof="0" dirty="0"/>
              <a:t>Seit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#›</a:t>
            </a:fld>
            <a:endParaRPr lang="en-US" dirty="0"/>
          </a:p>
        </p:txBody>
      </p:sp>
      <p:grpSp>
        <p:nvGrpSpPr>
          <p:cNvPr id="20" name="Gruppieren 19">
            <a:extLst>
              <a:ext uri="{FF2B5EF4-FFF2-40B4-BE49-F238E27FC236}">
                <a16:creationId xmlns:a16="http://schemas.microsoft.com/office/drawing/2014/main" id="{942B2AF3-B72B-4E51-98E8-276E33E081FB}"/>
              </a:ext>
            </a:extLst>
          </p:cNvPr>
          <p:cNvGrpSpPr/>
          <p:nvPr userDrawn="1"/>
        </p:nvGrpSpPr>
        <p:grpSpPr>
          <a:xfrm>
            <a:off x="621507" y="476249"/>
            <a:ext cx="1266824" cy="1028701"/>
            <a:chOff x="621507" y="476249"/>
            <a:chExt cx="1266824" cy="1028701"/>
          </a:xfrm>
          <a:solidFill>
            <a:schemeClr val="bg1"/>
          </a:solidFill>
        </p:grpSpPr>
        <p:sp>
          <p:nvSpPr>
            <p:cNvPr id="21" name="Pfeil: Chevron 20">
              <a:extLst>
                <a:ext uri="{FF2B5EF4-FFF2-40B4-BE49-F238E27FC236}">
                  <a16:creationId xmlns:a16="http://schemas.microsoft.com/office/drawing/2014/main" id="{A9E48764-AC81-446C-B62C-88A8F03B3803}"/>
                </a:ext>
              </a:extLst>
            </p:cNvPr>
            <p:cNvSpPr/>
            <p:nvPr userDrawn="1"/>
          </p:nvSpPr>
          <p:spPr>
            <a:xfrm>
              <a:off x="621507" y="476249"/>
              <a:ext cx="671512" cy="1028701"/>
            </a:xfrm>
            <a:prstGeom prst="chevron">
              <a:avLst>
                <a:gd name="adj" fmla="val 42908"/>
              </a:avLst>
            </a:pr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pPr marL="180000" indent="-180000" algn="l">
                <a:lnSpc>
                  <a:spcPts val="1960"/>
                </a:lnSpc>
                <a:buClr>
                  <a:schemeClr val="accent1"/>
                </a:buClr>
                <a:buFont typeface="Wingdings" panose="05000000000000000000" pitchFamily="2" charset="2"/>
                <a:buChar char="§"/>
              </a:pPr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2" name="Pfeil: Chevron 21">
              <a:extLst>
                <a:ext uri="{FF2B5EF4-FFF2-40B4-BE49-F238E27FC236}">
                  <a16:creationId xmlns:a16="http://schemas.microsoft.com/office/drawing/2014/main" id="{14C3BCAC-351B-4AFA-8D18-F61D609E40E4}"/>
                </a:ext>
              </a:extLst>
            </p:cNvPr>
            <p:cNvSpPr/>
            <p:nvPr userDrawn="1"/>
          </p:nvSpPr>
          <p:spPr>
            <a:xfrm>
              <a:off x="1216819" y="476249"/>
              <a:ext cx="671512" cy="1028701"/>
            </a:xfrm>
            <a:prstGeom prst="chevron">
              <a:avLst>
                <a:gd name="adj" fmla="val 42908"/>
              </a:avLst>
            </a:pr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pPr marL="180000" indent="-180000" algn="l">
                <a:lnSpc>
                  <a:spcPts val="1960"/>
                </a:lnSpc>
                <a:buClr>
                  <a:schemeClr val="accent1"/>
                </a:buClr>
                <a:buFont typeface="Wingdings" panose="05000000000000000000" pitchFamily="2" charset="2"/>
                <a:buChar char="§"/>
              </a:pPr>
              <a:endParaRPr lang="en-US" sz="1400" dirty="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586162455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Zitat dunk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5BAB6549-3007-4962-B8D4-52ECE482311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055748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5BAB6549-3007-4962-B8D4-52ECE482311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5" name="Gerader Verbinder 14">
            <a:extLst>
              <a:ext uri="{FF2B5EF4-FFF2-40B4-BE49-F238E27FC236}">
                <a16:creationId xmlns:a16="http://schemas.microsoft.com/office/drawing/2014/main" id="{CABC3893-E6D0-4680-9CDB-B7D76C158179}"/>
              </a:ext>
            </a:extLst>
          </p:cNvPr>
          <p:cNvCxnSpPr/>
          <p:nvPr userDrawn="1"/>
        </p:nvCxnSpPr>
        <p:spPr>
          <a:xfrm>
            <a:off x="0" y="6143625"/>
            <a:ext cx="12192000" cy="0"/>
          </a:xfrm>
          <a:prstGeom prst="line">
            <a:avLst/>
          </a:prstGeom>
          <a:ln w="190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Grafik 3">
            <a:extLst>
              <a:ext uri="{FF2B5EF4-FFF2-40B4-BE49-F238E27FC236}">
                <a16:creationId xmlns:a16="http://schemas.microsoft.com/office/drawing/2014/main" id="{B05A7056-AB27-7565-33BC-692938996897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1"/>
            <a:ext cx="12192000" cy="6146746"/>
          </a:xfrm>
          <a:prstGeom prst="rect">
            <a:avLst/>
          </a:prstGeom>
        </p:spPr>
      </p:pic>
      <p:sp>
        <p:nvSpPr>
          <p:cNvPr id="32" name="Textplatzhalter 31">
            <a:extLst>
              <a:ext uri="{FF2B5EF4-FFF2-40B4-BE49-F238E27FC236}">
                <a16:creationId xmlns:a16="http://schemas.microsoft.com/office/drawing/2014/main" id="{19260903-BB55-4E18-8A26-9490D566EEA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1826785"/>
            <a:ext cx="11233150" cy="1205330"/>
          </a:xfrm>
        </p:spPr>
        <p:txBody>
          <a:bodyPr/>
          <a:lstStyle>
            <a:lvl1pPr>
              <a:lnSpc>
                <a:spcPct val="110000"/>
              </a:lnSpc>
              <a:spcAft>
                <a:spcPts val="0"/>
              </a:spcAft>
              <a:defRPr sz="4400" b="1" i="0">
                <a:solidFill>
                  <a:schemeClr val="bg1"/>
                </a:solidFill>
                <a:latin typeface="Myriad Pro" panose="020B0503030403020204" pitchFamily="34" charset="0"/>
              </a:defRPr>
            </a:lvl1pPr>
            <a:lvl2pPr algn="r">
              <a:lnSpc>
                <a:spcPct val="110000"/>
              </a:lnSpc>
              <a:spcAft>
                <a:spcPts val="0"/>
              </a:spcAft>
              <a:defRPr sz="1400" b="1" i="0">
                <a:solidFill>
                  <a:schemeClr val="bg1"/>
                </a:solidFill>
                <a:latin typeface="Myriad Pro" panose="020B0503030403020204" pitchFamily="34" charset="0"/>
              </a:defRPr>
            </a:lvl2pPr>
            <a:lvl3pPr algn="r">
              <a:lnSpc>
                <a:spcPct val="110000"/>
              </a:lnSpc>
              <a:spcAft>
                <a:spcPts val="0"/>
              </a:spcAft>
              <a:defRPr b="0" i="0">
                <a:solidFill>
                  <a:schemeClr val="bg1"/>
                </a:solidFill>
                <a:latin typeface="Myriad Pro" panose="020B0503030403020204" pitchFamily="34" charset="0"/>
              </a:defRPr>
            </a:lvl3pPr>
            <a:lvl4pPr marL="0" indent="0" algn="r">
              <a:lnSpc>
                <a:spcPct val="110000"/>
              </a:lnSpc>
              <a:buNone/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de-DE" dirty="0"/>
              <a:t>Zitat</a:t>
            </a:r>
          </a:p>
          <a:p>
            <a:pPr lvl="1"/>
            <a:r>
              <a:rPr lang="de-DE" dirty="0"/>
              <a:t>Name des Autors</a:t>
            </a:r>
          </a:p>
          <a:p>
            <a:pPr lvl="2"/>
            <a:r>
              <a:rPr lang="de-DE" dirty="0"/>
              <a:t>Position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EFE2E23E-A04B-4A3C-9731-269F09B3618B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9DE324B6-D7C2-429F-9563-54E4F47990AC}" type="datetime1">
              <a:rPr lang="de-DE" noProof="0" smtClean="0"/>
              <a:t>15.11.22</a:t>
            </a:fld>
            <a:endParaRPr lang="de-DE" noProof="0" dirty="0"/>
          </a:p>
        </p:txBody>
      </p:sp>
      <p:sp>
        <p:nvSpPr>
          <p:cNvPr id="17" name="Copyright Fraunhofer">
            <a:extLst>
              <a:ext uri="{FF2B5EF4-FFF2-40B4-BE49-F238E27FC236}">
                <a16:creationId xmlns:a16="http://schemas.microsoft.com/office/drawing/2014/main" id="{7BF1A88B-92B6-448D-B293-70A607B26511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 noProof="0" dirty="0"/>
              <a:t>© Universität zu Lübeck</a:t>
            </a:r>
          </a:p>
        </p:txBody>
      </p:sp>
      <p:sp>
        <p:nvSpPr>
          <p:cNvPr id="18" name="Foliennummernplatzhalter 17">
            <a:extLst>
              <a:ext uri="{FF2B5EF4-FFF2-40B4-BE49-F238E27FC236}">
                <a16:creationId xmlns:a16="http://schemas.microsoft.com/office/drawing/2014/main" id="{9320B56D-3BA0-4D7D-91B3-67F9A11E4A7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de-DE" noProof="0" dirty="0"/>
              <a:t>Seit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#›</a:t>
            </a:fld>
            <a:endParaRPr lang="en-US" dirty="0"/>
          </a:p>
        </p:txBody>
      </p:sp>
      <p:grpSp>
        <p:nvGrpSpPr>
          <p:cNvPr id="20" name="Gruppieren 19">
            <a:extLst>
              <a:ext uri="{FF2B5EF4-FFF2-40B4-BE49-F238E27FC236}">
                <a16:creationId xmlns:a16="http://schemas.microsoft.com/office/drawing/2014/main" id="{942B2AF3-B72B-4E51-98E8-276E33E081FB}"/>
              </a:ext>
            </a:extLst>
          </p:cNvPr>
          <p:cNvGrpSpPr/>
          <p:nvPr userDrawn="1"/>
        </p:nvGrpSpPr>
        <p:grpSpPr>
          <a:xfrm>
            <a:off x="621507" y="476249"/>
            <a:ext cx="1266824" cy="1028701"/>
            <a:chOff x="621507" y="476249"/>
            <a:chExt cx="1266824" cy="1028701"/>
          </a:xfrm>
          <a:solidFill>
            <a:schemeClr val="bg1"/>
          </a:solidFill>
        </p:grpSpPr>
        <p:sp>
          <p:nvSpPr>
            <p:cNvPr id="21" name="Pfeil: Chevron 20">
              <a:extLst>
                <a:ext uri="{FF2B5EF4-FFF2-40B4-BE49-F238E27FC236}">
                  <a16:creationId xmlns:a16="http://schemas.microsoft.com/office/drawing/2014/main" id="{A9E48764-AC81-446C-B62C-88A8F03B3803}"/>
                </a:ext>
              </a:extLst>
            </p:cNvPr>
            <p:cNvSpPr/>
            <p:nvPr userDrawn="1"/>
          </p:nvSpPr>
          <p:spPr>
            <a:xfrm>
              <a:off x="621507" y="476249"/>
              <a:ext cx="671512" cy="1028701"/>
            </a:xfrm>
            <a:prstGeom prst="chevron">
              <a:avLst>
                <a:gd name="adj" fmla="val 42908"/>
              </a:avLst>
            </a:pr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pPr marL="180000" indent="-180000" algn="l">
                <a:lnSpc>
                  <a:spcPts val="1960"/>
                </a:lnSpc>
                <a:buClr>
                  <a:schemeClr val="accent1"/>
                </a:buClr>
                <a:buFont typeface="Wingdings" panose="05000000000000000000" pitchFamily="2" charset="2"/>
                <a:buChar char="§"/>
              </a:pPr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2" name="Pfeil: Chevron 21">
              <a:extLst>
                <a:ext uri="{FF2B5EF4-FFF2-40B4-BE49-F238E27FC236}">
                  <a16:creationId xmlns:a16="http://schemas.microsoft.com/office/drawing/2014/main" id="{14C3BCAC-351B-4AFA-8D18-F61D609E40E4}"/>
                </a:ext>
              </a:extLst>
            </p:cNvPr>
            <p:cNvSpPr/>
            <p:nvPr userDrawn="1"/>
          </p:nvSpPr>
          <p:spPr>
            <a:xfrm>
              <a:off x="1216819" y="476249"/>
              <a:ext cx="671512" cy="1028701"/>
            </a:xfrm>
            <a:prstGeom prst="chevron">
              <a:avLst>
                <a:gd name="adj" fmla="val 42908"/>
              </a:avLst>
            </a:pr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pPr marL="180000" indent="-180000" algn="l">
                <a:lnSpc>
                  <a:spcPts val="1960"/>
                </a:lnSpc>
                <a:buClr>
                  <a:schemeClr val="accent1"/>
                </a:buClr>
                <a:buFont typeface="Wingdings" panose="05000000000000000000" pitchFamily="2" charset="2"/>
                <a:buChar char="§"/>
              </a:pPr>
              <a:endParaRPr lang="en-US" sz="1400" dirty="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174446722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ontaktfolie – Bild vollfläch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086670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6B002FD9-AF19-4ED6-84E1-C634A79B2BA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solidFill>
            <a:schemeClr val="bg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Bild durch Klicken auf Symbol hinzufügen</a:t>
            </a:r>
            <a:endParaRPr lang="en-US" dirty="0"/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" y="2952020"/>
            <a:ext cx="5916612" cy="3388337"/>
          </a:xfrm>
          <a:gradFill flip="none" rotWithShape="1">
            <a:gsLst>
              <a:gs pos="46000">
                <a:srgbClr val="3F6672"/>
              </a:gs>
              <a:gs pos="0">
                <a:srgbClr val="023D4A"/>
              </a:gs>
              <a:gs pos="88000">
                <a:srgbClr val="8DA0A8"/>
              </a:gs>
              <a:gs pos="100000">
                <a:srgbClr val="5B7583"/>
              </a:gs>
            </a:gsLst>
            <a:lin ang="18000000" scaled="0"/>
            <a:tileRect/>
          </a:gradFill>
        </p:spPr>
        <p:txBody>
          <a:bodyPr lIns="486000" tIns="360000" rIns="360000" bIns="360000" anchor="t">
            <a:sp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3200" b="0" i="0">
                <a:solidFill>
                  <a:schemeClr val="bg1"/>
                </a:solidFill>
                <a:latin typeface="Myriad Pro" panose="020B0503030403020204" pitchFamily="34" charset="0"/>
              </a:defRPr>
            </a:lvl1pPr>
            <a:lvl2pPr>
              <a:lnSpc>
                <a:spcPts val="3500"/>
              </a:lnSpc>
              <a:spcAft>
                <a:spcPts val="1600"/>
              </a:spcAft>
              <a:defRPr sz="4160" b="0" i="0">
                <a:solidFill>
                  <a:schemeClr val="bg1"/>
                </a:solidFill>
                <a:latin typeface="Myriad Pro" panose="020B0503030403020204" pitchFamily="34" charset="0"/>
              </a:defRPr>
            </a:lvl2pPr>
            <a:lvl3pPr>
              <a:lnSpc>
                <a:spcPct val="110000"/>
              </a:lnSpc>
              <a:spcAft>
                <a:spcPts val="0"/>
              </a:spcAft>
              <a:defRPr sz="1600" b="1" i="0">
                <a:solidFill>
                  <a:schemeClr val="bg1"/>
                </a:solidFill>
                <a:latin typeface="Myriad Pro" panose="020B0503030403020204" pitchFamily="34" charset="0"/>
              </a:defRPr>
            </a:lvl3pPr>
            <a:lvl4pPr marL="0" indent="0">
              <a:lnSpc>
                <a:spcPts val="2080"/>
              </a:lnSpc>
              <a:spcBef>
                <a:spcPts val="2080"/>
              </a:spcBef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 dirty="0"/>
              <a:t>Kontakt</a:t>
            </a:r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/>
              <a:t>Titel Vorname Name</a:t>
            </a:r>
          </a:p>
          <a:p>
            <a:pPr lvl="2"/>
            <a:r>
              <a:rPr lang="de-DE" dirty="0"/>
              <a:t>Geschäftsbereich XXX</a:t>
            </a:r>
          </a:p>
          <a:p>
            <a:pPr lvl="2"/>
            <a:r>
              <a:rPr lang="de-DE" dirty="0"/>
              <a:t>Tel. +49 12 3456-XXXX</a:t>
            </a:r>
          </a:p>
          <a:p>
            <a:pPr lvl="2"/>
            <a:r>
              <a:rPr lang="de-DE" dirty="0"/>
              <a:t>Fax +49 12 3456-XXXX</a:t>
            </a:r>
          </a:p>
          <a:p>
            <a:pPr lvl="2"/>
            <a:r>
              <a:rPr lang="de-DE" dirty="0" err="1"/>
              <a:t>vorname.name@imt.uni-luebeck.de</a:t>
            </a:r>
            <a:endParaRPr lang="de-DE" dirty="0"/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0809F1F2-5AE7-4500-87D3-FAD916B3136D}"/>
              </a:ext>
            </a:extLst>
          </p:cNvPr>
          <p:cNvSpPr>
            <a:spLocks noGrp="1"/>
          </p:cNvSpPr>
          <p:nvPr>
            <p:ph type="dt" sz="half" idx="12"/>
          </p:nvPr>
        </p:nvSpPr>
        <p:spPr>
          <a:xfrm>
            <a:off x="1388048" y="7027336"/>
            <a:ext cx="720000" cy="123111"/>
          </a:xfrm>
        </p:spPr>
        <p:txBody>
          <a:bodyPr/>
          <a:lstStyle/>
          <a:p>
            <a:fld id="{18404E2F-0DC3-491D-BBFF-E567024868D0}" type="datetime1">
              <a:rPr lang="de-DE" noProof="0" smtClean="0"/>
              <a:t>15.11.22</a:t>
            </a:fld>
            <a:endParaRPr lang="de-DE" noProof="0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459D760A-5328-4251-ACFF-CB470EE34716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2297897" y="7027336"/>
            <a:ext cx="2952000" cy="123111"/>
          </a:xfrm>
        </p:spPr>
        <p:txBody>
          <a:bodyPr/>
          <a:lstStyle/>
          <a:p>
            <a:r>
              <a:rPr lang="de-DE" noProof="0" dirty="0"/>
              <a:t>© Universität zu Lübeck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3FC189F-C42A-4071-BC47-28A29172D13F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479425" y="7027336"/>
            <a:ext cx="720000" cy="123111"/>
          </a:xfrm>
        </p:spPr>
        <p:txBody>
          <a:bodyPr/>
          <a:lstStyle/>
          <a:p>
            <a:r>
              <a:rPr lang="de-DE" noProof="0" dirty="0"/>
              <a:t>Seit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1090233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– kleine Headline ob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43910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6B002FD9-AF19-4ED6-84E1-C634A79B2BA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solidFill>
            <a:schemeClr val="bg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Bild durch Klicken auf Symbol hinzufügen</a:t>
            </a:r>
            <a:endParaRPr lang="en-US" dirty="0"/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275388" y="3332445"/>
            <a:ext cx="5916612" cy="2652430"/>
          </a:xfrm>
          <a:gradFill flip="none" rotWithShape="1">
            <a:gsLst>
              <a:gs pos="46000">
                <a:srgbClr val="3F6672"/>
              </a:gs>
              <a:gs pos="0">
                <a:srgbClr val="023D4A"/>
              </a:gs>
              <a:gs pos="88000">
                <a:srgbClr val="8DA0A8"/>
              </a:gs>
              <a:gs pos="100000">
                <a:srgbClr val="5B7583"/>
              </a:gs>
            </a:gsLst>
            <a:lin ang="18000000" scaled="0"/>
            <a:tileRect/>
          </a:gradFill>
        </p:spPr>
        <p:txBody>
          <a:bodyPr lIns="360000" tIns="360000" rIns="360000" bIns="360000" anchor="b">
            <a:sp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2400" b="0" i="0">
                <a:solidFill>
                  <a:schemeClr val="bg1"/>
                </a:solidFill>
                <a:latin typeface="Myriad Pro" panose="020B0503030403020204" pitchFamily="34" charset="0"/>
              </a:defRPr>
            </a:lvl1pPr>
            <a:lvl2pPr>
              <a:lnSpc>
                <a:spcPts val="2640"/>
              </a:lnSpc>
              <a:spcAft>
                <a:spcPts val="1200"/>
              </a:spcAft>
              <a:defRPr sz="3120" b="0" i="0">
                <a:solidFill>
                  <a:schemeClr val="bg1"/>
                </a:solidFill>
                <a:latin typeface="Myriad Pro" panose="020B0503030403020204" pitchFamily="34" charset="0"/>
              </a:defRPr>
            </a:lvl2pPr>
            <a:lvl3pPr>
              <a:lnSpc>
                <a:spcPct val="110000"/>
              </a:lnSpc>
              <a:spcAft>
                <a:spcPts val="0"/>
              </a:spcAft>
              <a:defRPr sz="1400" b="1" i="0">
                <a:solidFill>
                  <a:schemeClr val="bg1"/>
                </a:solidFill>
                <a:latin typeface="Myriad Pro" panose="020B0503030403020204" pitchFamily="34" charset="0"/>
              </a:defRPr>
            </a:lvl3pPr>
            <a:lvl4pPr marL="0" indent="0">
              <a:lnSpc>
                <a:spcPct val="110000"/>
              </a:lnSpc>
              <a:spcBef>
                <a:spcPts val="1840"/>
              </a:spcBef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 dirty="0"/>
              <a:t>Headline klein, Myriad Pro Regular , 24 </a:t>
            </a:r>
            <a:r>
              <a:rPr lang="de-DE" dirty="0" err="1"/>
              <a:t>pt</a:t>
            </a:r>
            <a:br>
              <a:rPr lang="de-DE" dirty="0"/>
            </a:br>
            <a:r>
              <a:rPr lang="de-DE" dirty="0"/>
              <a:t>max. 3 Zeilen</a:t>
            </a:r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 err="1"/>
              <a:t>Subline</a:t>
            </a:r>
            <a:r>
              <a:rPr lang="de-DE" dirty="0"/>
              <a:t>/Referent/Datum</a:t>
            </a:r>
          </a:p>
          <a:p>
            <a:pPr lvl="3"/>
            <a:r>
              <a:rPr lang="de-DE" dirty="0"/>
              <a:t>Referenten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464FAF97-8E98-4493-977E-6FEDC5291BDE}"/>
              </a:ext>
            </a:extLst>
          </p:cNvPr>
          <p:cNvSpPr>
            <a:spLocks noGrp="1"/>
          </p:cNvSpPr>
          <p:nvPr>
            <p:ph type="dt" sz="half" idx="12"/>
          </p:nvPr>
        </p:nvSpPr>
        <p:spPr>
          <a:xfrm>
            <a:off x="1388048" y="7027336"/>
            <a:ext cx="720000" cy="123111"/>
          </a:xfrm>
        </p:spPr>
        <p:txBody>
          <a:bodyPr/>
          <a:lstStyle/>
          <a:p>
            <a:fld id="{18404E2F-0DC3-491D-BBFF-E567024868D0}" type="datetime1">
              <a:rPr lang="de-DE" noProof="0" smtClean="0"/>
              <a:t>15.11.22</a:t>
            </a:fld>
            <a:endParaRPr lang="de-DE" noProof="0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590CB561-9F99-4288-90CE-88D602D52C2C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2297897" y="7027336"/>
            <a:ext cx="2952000" cy="123111"/>
          </a:xfrm>
        </p:spPr>
        <p:txBody>
          <a:bodyPr/>
          <a:lstStyle/>
          <a:p>
            <a:r>
              <a:rPr lang="de-DE" dirty="0"/>
              <a:t>© © Universität zu Lübeck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14596121-908B-4B59-963A-E95F7A86847F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479425" y="7027336"/>
            <a:ext cx="720000" cy="123111"/>
          </a:xfrm>
        </p:spPr>
        <p:txBody>
          <a:bodyPr/>
          <a:lstStyle/>
          <a:p>
            <a:r>
              <a:rPr lang="de-DE" noProof="0" dirty="0"/>
              <a:t>Seit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8199813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ontaktfolie – Bild hal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843079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6B002FD9-AF19-4ED6-84E1-C634A79B2BA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4572000"/>
          </a:xfrm>
          <a:solidFill>
            <a:schemeClr val="bg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Bild durch Klicken auf Symbol hinzufügen</a:t>
            </a:r>
            <a:endParaRPr lang="en-US" dirty="0"/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" y="2952020"/>
            <a:ext cx="5916612" cy="3388337"/>
          </a:xfrm>
          <a:gradFill flip="none" rotWithShape="1">
            <a:gsLst>
              <a:gs pos="46000">
                <a:srgbClr val="3F6672"/>
              </a:gs>
              <a:gs pos="0">
                <a:srgbClr val="023D4A"/>
              </a:gs>
              <a:gs pos="88000">
                <a:srgbClr val="8DA0A8"/>
              </a:gs>
              <a:gs pos="100000">
                <a:srgbClr val="5B7583"/>
              </a:gs>
            </a:gsLst>
            <a:lin ang="18000000" scaled="0"/>
            <a:tileRect/>
          </a:gradFill>
        </p:spPr>
        <p:txBody>
          <a:bodyPr lIns="486000" tIns="360000" rIns="360000" bIns="360000" anchor="t">
            <a:sp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3200" b="0" i="0">
                <a:solidFill>
                  <a:schemeClr val="bg1"/>
                </a:solidFill>
                <a:latin typeface="Myriad Pro" panose="020B0503030403020204" pitchFamily="34" charset="0"/>
              </a:defRPr>
            </a:lvl1pPr>
            <a:lvl2pPr>
              <a:lnSpc>
                <a:spcPts val="3500"/>
              </a:lnSpc>
              <a:spcAft>
                <a:spcPts val="1600"/>
              </a:spcAft>
              <a:defRPr sz="4160" b="0" i="0">
                <a:solidFill>
                  <a:schemeClr val="bg1"/>
                </a:solidFill>
                <a:latin typeface="Myriad Pro" panose="020B0503030403020204" pitchFamily="34" charset="0"/>
              </a:defRPr>
            </a:lvl2pPr>
            <a:lvl3pPr>
              <a:lnSpc>
                <a:spcPct val="110000"/>
              </a:lnSpc>
              <a:spcAft>
                <a:spcPts val="0"/>
              </a:spcAft>
              <a:defRPr sz="1600" b="1" i="0">
                <a:solidFill>
                  <a:schemeClr val="bg1"/>
                </a:solidFill>
                <a:latin typeface="Myriad Pro" panose="020B0503030403020204" pitchFamily="34" charset="0"/>
              </a:defRPr>
            </a:lvl3pPr>
            <a:lvl4pPr marL="0" indent="0">
              <a:lnSpc>
                <a:spcPts val="2080"/>
              </a:lnSpc>
              <a:spcBef>
                <a:spcPts val="2080"/>
              </a:spcBef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 dirty="0"/>
              <a:t>Kontakt</a:t>
            </a:r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/>
              <a:t>Titel Vorname Name</a:t>
            </a:r>
          </a:p>
          <a:p>
            <a:pPr lvl="2"/>
            <a:r>
              <a:rPr lang="de-DE" dirty="0"/>
              <a:t>Geschäftsbereich XXX</a:t>
            </a:r>
          </a:p>
          <a:p>
            <a:pPr lvl="2"/>
            <a:r>
              <a:rPr lang="de-DE" dirty="0"/>
              <a:t>Tel. +49 12 3456-XXXX</a:t>
            </a:r>
          </a:p>
          <a:p>
            <a:pPr lvl="2"/>
            <a:r>
              <a:rPr lang="de-DE" dirty="0"/>
              <a:t>Fax +49 12 3456-XXXX</a:t>
            </a:r>
          </a:p>
          <a:p>
            <a:pPr lvl="2"/>
            <a:r>
              <a:rPr lang="de-DE" dirty="0" err="1"/>
              <a:t>vorname.name@imt.uni-luebeck.de</a:t>
            </a:r>
            <a:endParaRPr lang="de-DE" dirty="0"/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8D3F48CE-72D6-4312-9E4E-63E50B50038E}"/>
              </a:ext>
            </a:extLst>
          </p:cNvPr>
          <p:cNvSpPr>
            <a:spLocks noGrp="1"/>
          </p:cNvSpPr>
          <p:nvPr>
            <p:ph type="dt" sz="half" idx="12"/>
          </p:nvPr>
        </p:nvSpPr>
        <p:spPr>
          <a:xfrm>
            <a:off x="1388048" y="7027336"/>
            <a:ext cx="720000" cy="123111"/>
          </a:xfrm>
        </p:spPr>
        <p:txBody>
          <a:bodyPr/>
          <a:lstStyle/>
          <a:p>
            <a:fld id="{18404E2F-0DC3-491D-BBFF-E567024868D0}" type="datetime1">
              <a:rPr lang="de-DE" noProof="0" smtClean="0"/>
              <a:t>15.11.22</a:t>
            </a:fld>
            <a:endParaRPr lang="de-DE" noProof="0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4A83046E-333C-49E5-BC21-4B96362580AF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2297897" y="7027336"/>
            <a:ext cx="2952000" cy="123111"/>
          </a:xfrm>
        </p:spPr>
        <p:txBody>
          <a:bodyPr/>
          <a:lstStyle/>
          <a:p>
            <a:r>
              <a:rPr lang="de-DE" noProof="0" dirty="0"/>
              <a:t>© Universität zu Lübeck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1D6BEE77-0380-4FD0-A81C-71B6A50C6519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479425" y="7027336"/>
            <a:ext cx="720000" cy="123111"/>
          </a:xfrm>
        </p:spPr>
        <p:txBody>
          <a:bodyPr/>
          <a:lstStyle/>
          <a:p>
            <a:r>
              <a:rPr lang="de-DE" noProof="0" dirty="0"/>
              <a:t>Seit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75301313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ontaktfolie –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631679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afik 4">
            <a:extLst>
              <a:ext uri="{FF2B5EF4-FFF2-40B4-BE49-F238E27FC236}">
                <a16:creationId xmlns:a16="http://schemas.microsoft.com/office/drawing/2014/main" id="{4DAF6C11-8133-43F4-C3F5-423992A6AA36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794"/>
            <a:ext cx="12192000" cy="6857206"/>
          </a:xfrm>
          <a:prstGeom prst="rect">
            <a:avLst/>
          </a:prstGeom>
        </p:spPr>
      </p:pic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79425" y="1700213"/>
            <a:ext cx="5916612" cy="3848489"/>
          </a:xfrm>
          <a:noFill/>
        </p:spPr>
        <p:txBody>
          <a:bodyPr lIns="0" tIns="0" rIns="0" bIns="0" anchor="t">
            <a:sp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3200" b="0" i="0">
                <a:solidFill>
                  <a:schemeClr val="bg1"/>
                </a:solidFill>
                <a:latin typeface="Myriad Pro" panose="020B0503030403020204" pitchFamily="34" charset="0"/>
              </a:defRPr>
            </a:lvl1pPr>
            <a:lvl2pPr>
              <a:lnSpc>
                <a:spcPts val="3500"/>
              </a:lnSpc>
              <a:spcAft>
                <a:spcPts val="1600"/>
              </a:spcAft>
              <a:defRPr sz="4160" b="0" i="0">
                <a:solidFill>
                  <a:schemeClr val="bg1"/>
                </a:solidFill>
                <a:latin typeface="Myriad Pro" panose="020B0503030403020204" pitchFamily="34" charset="0"/>
              </a:defRPr>
            </a:lvl2pPr>
            <a:lvl3pPr>
              <a:lnSpc>
                <a:spcPct val="110000"/>
              </a:lnSpc>
              <a:spcAft>
                <a:spcPts val="0"/>
              </a:spcAft>
              <a:defRPr sz="1600" b="1" i="0">
                <a:solidFill>
                  <a:schemeClr val="bg1"/>
                </a:solidFill>
                <a:latin typeface="Myriad Pro" panose="020B0503030403020204" pitchFamily="34" charset="0"/>
              </a:defRPr>
            </a:lvl3pPr>
            <a:lvl4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 dirty="0"/>
              <a:t>Kontakt</a:t>
            </a:r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/>
              <a:t>Titel Vorname Name</a:t>
            </a:r>
          </a:p>
          <a:p>
            <a:pPr lvl="2"/>
            <a:r>
              <a:rPr lang="de-DE" dirty="0"/>
              <a:t>Geschäftsbereich XXX</a:t>
            </a:r>
          </a:p>
          <a:p>
            <a:pPr lvl="2"/>
            <a:r>
              <a:rPr lang="de-DE" dirty="0"/>
              <a:t>Tel. +49 12 3456-XXXX</a:t>
            </a:r>
          </a:p>
          <a:p>
            <a:pPr lvl="2"/>
            <a:r>
              <a:rPr lang="de-DE" dirty="0"/>
              <a:t>Fax +49 12 3456-XXXX</a:t>
            </a:r>
          </a:p>
          <a:p>
            <a:pPr lvl="2"/>
            <a:r>
              <a:rPr lang="de-DE" dirty="0" err="1"/>
              <a:t>vorname.name@imt.uni-luebeck.de</a:t>
            </a:r>
            <a:endParaRPr lang="de-DE" dirty="0"/>
          </a:p>
          <a:p>
            <a:pPr lvl="3"/>
            <a:endParaRPr lang="pt-BR" dirty="0"/>
          </a:p>
          <a:p>
            <a:pPr lvl="3"/>
            <a:r>
              <a:rPr lang="pt-BR" dirty="0" err="1"/>
              <a:t>Universität</a:t>
            </a:r>
            <a:r>
              <a:rPr lang="pt-BR" dirty="0"/>
              <a:t> </a:t>
            </a:r>
            <a:r>
              <a:rPr lang="pt-BR" dirty="0" err="1"/>
              <a:t>zu</a:t>
            </a:r>
            <a:r>
              <a:rPr lang="pt-BR" dirty="0"/>
              <a:t> Lübeck</a:t>
            </a:r>
          </a:p>
          <a:p>
            <a:pPr lvl="3"/>
            <a:r>
              <a:rPr lang="pt-BR" dirty="0" err="1"/>
              <a:t>Ratzeburger</a:t>
            </a:r>
            <a:r>
              <a:rPr lang="pt-BR" dirty="0"/>
              <a:t> </a:t>
            </a:r>
            <a:r>
              <a:rPr lang="pt-BR" dirty="0" err="1"/>
              <a:t>Allee</a:t>
            </a:r>
            <a:r>
              <a:rPr lang="pt-BR" dirty="0"/>
              <a:t> 160</a:t>
            </a:r>
          </a:p>
          <a:p>
            <a:pPr lvl="3"/>
            <a:r>
              <a:rPr lang="pt-BR" dirty="0"/>
              <a:t>23562 Lübeck</a:t>
            </a:r>
          </a:p>
          <a:p>
            <a:pPr lvl="3"/>
            <a:r>
              <a:rPr lang="pt-BR" dirty="0" err="1"/>
              <a:t>www.uni-luebeck.de</a:t>
            </a:r>
            <a:endParaRPr lang="pt-BR" dirty="0"/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CA313C52-2525-4A5D-916B-98841273CADF}"/>
              </a:ext>
            </a:extLst>
          </p:cNvPr>
          <p:cNvSpPr>
            <a:spLocks noGrp="1"/>
          </p:cNvSpPr>
          <p:nvPr>
            <p:ph type="dt" sz="half" idx="12"/>
          </p:nvPr>
        </p:nvSpPr>
        <p:spPr>
          <a:xfrm>
            <a:off x="1388048" y="7027336"/>
            <a:ext cx="720000" cy="123111"/>
          </a:xfrm>
        </p:spPr>
        <p:txBody>
          <a:bodyPr/>
          <a:lstStyle/>
          <a:p>
            <a:fld id="{18404E2F-0DC3-491D-BBFF-E567024868D0}" type="datetime1">
              <a:rPr lang="de-DE" noProof="0" smtClean="0"/>
              <a:t>15.11.22</a:t>
            </a:fld>
            <a:endParaRPr lang="de-DE" noProof="0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2219F9CA-C990-4FAF-BBA2-C37D042E4FF8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2297897" y="7027336"/>
            <a:ext cx="2952000" cy="123111"/>
          </a:xfrm>
        </p:spPr>
        <p:txBody>
          <a:bodyPr/>
          <a:lstStyle/>
          <a:p>
            <a:r>
              <a:rPr lang="de-DE" noProof="0" dirty="0"/>
              <a:t>© Universität zu Lübeck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1B3BB0E-EF1D-44E5-9391-ED9E79F83DB4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479425" y="7027336"/>
            <a:ext cx="720000" cy="123111"/>
          </a:xfrm>
        </p:spPr>
        <p:txBody>
          <a:bodyPr/>
          <a:lstStyle/>
          <a:p>
            <a:r>
              <a:rPr lang="de-DE" noProof="0" dirty="0"/>
              <a:t>Seit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65343117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Kontaktfolie –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631679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Grafik 5">
            <a:extLst>
              <a:ext uri="{FF2B5EF4-FFF2-40B4-BE49-F238E27FC236}">
                <a16:creationId xmlns:a16="http://schemas.microsoft.com/office/drawing/2014/main" id="{BC1998FF-A8D6-D75A-2B69-5154DBCBC31C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1295" cy="6856810"/>
          </a:xfrm>
          <a:prstGeom prst="rect">
            <a:avLst/>
          </a:prstGeom>
        </p:spPr>
      </p:pic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79425" y="1700213"/>
            <a:ext cx="5916612" cy="3848489"/>
          </a:xfrm>
          <a:noFill/>
        </p:spPr>
        <p:txBody>
          <a:bodyPr lIns="0" tIns="0" rIns="0" bIns="0" anchor="t">
            <a:sp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3200" b="0" i="0">
                <a:solidFill>
                  <a:schemeClr val="bg1"/>
                </a:solidFill>
                <a:latin typeface="Myriad Pro" panose="020B0503030403020204" pitchFamily="34" charset="0"/>
              </a:defRPr>
            </a:lvl1pPr>
            <a:lvl2pPr>
              <a:lnSpc>
                <a:spcPts val="3500"/>
              </a:lnSpc>
              <a:spcAft>
                <a:spcPts val="1600"/>
              </a:spcAft>
              <a:defRPr sz="4160" b="0" i="0">
                <a:solidFill>
                  <a:schemeClr val="bg1"/>
                </a:solidFill>
                <a:latin typeface="Myriad Pro" panose="020B0503030403020204" pitchFamily="34" charset="0"/>
              </a:defRPr>
            </a:lvl2pPr>
            <a:lvl3pPr>
              <a:lnSpc>
                <a:spcPct val="110000"/>
              </a:lnSpc>
              <a:spcAft>
                <a:spcPts val="0"/>
              </a:spcAft>
              <a:defRPr sz="1600" b="1" i="0">
                <a:solidFill>
                  <a:schemeClr val="bg1"/>
                </a:solidFill>
                <a:latin typeface="Myriad Pro" panose="020B0503030403020204" pitchFamily="34" charset="0"/>
              </a:defRPr>
            </a:lvl3pPr>
            <a:lvl4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 dirty="0"/>
              <a:t>Kontakt</a:t>
            </a:r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/>
              <a:t>Titel Vorname Name</a:t>
            </a:r>
          </a:p>
          <a:p>
            <a:pPr lvl="2"/>
            <a:r>
              <a:rPr lang="de-DE" dirty="0"/>
              <a:t>Geschäftsbereich XXX</a:t>
            </a:r>
          </a:p>
          <a:p>
            <a:pPr lvl="2"/>
            <a:r>
              <a:rPr lang="de-DE" dirty="0"/>
              <a:t>Tel. +49 12 3456-XXXX</a:t>
            </a:r>
          </a:p>
          <a:p>
            <a:pPr lvl="2"/>
            <a:r>
              <a:rPr lang="de-DE" dirty="0"/>
              <a:t>Fax +49 12 3456-XXXX</a:t>
            </a:r>
          </a:p>
          <a:p>
            <a:pPr lvl="2"/>
            <a:r>
              <a:rPr lang="de-DE" dirty="0" err="1"/>
              <a:t>vorname.name@imt.uni-luebeck.de</a:t>
            </a:r>
            <a:endParaRPr lang="de-DE" dirty="0"/>
          </a:p>
          <a:p>
            <a:pPr lvl="3"/>
            <a:endParaRPr lang="pt-BR" dirty="0"/>
          </a:p>
          <a:p>
            <a:pPr lvl="3"/>
            <a:r>
              <a:rPr lang="pt-BR" dirty="0" err="1"/>
              <a:t>Universität</a:t>
            </a:r>
            <a:r>
              <a:rPr lang="pt-BR" dirty="0"/>
              <a:t> </a:t>
            </a:r>
            <a:r>
              <a:rPr lang="pt-BR" dirty="0" err="1"/>
              <a:t>zu</a:t>
            </a:r>
            <a:r>
              <a:rPr lang="pt-BR" dirty="0"/>
              <a:t> Lübeck</a:t>
            </a:r>
          </a:p>
          <a:p>
            <a:pPr lvl="3"/>
            <a:r>
              <a:rPr lang="pt-BR" dirty="0" err="1"/>
              <a:t>Ratzeburger</a:t>
            </a:r>
            <a:r>
              <a:rPr lang="pt-BR" dirty="0"/>
              <a:t> </a:t>
            </a:r>
            <a:r>
              <a:rPr lang="pt-BR" dirty="0" err="1"/>
              <a:t>Allee</a:t>
            </a:r>
            <a:r>
              <a:rPr lang="pt-BR" dirty="0"/>
              <a:t> 160</a:t>
            </a:r>
          </a:p>
          <a:p>
            <a:pPr lvl="3"/>
            <a:r>
              <a:rPr lang="pt-BR" dirty="0"/>
              <a:t>23562 Lübeck</a:t>
            </a:r>
          </a:p>
          <a:p>
            <a:pPr lvl="3"/>
            <a:r>
              <a:rPr lang="pt-BR" dirty="0" err="1"/>
              <a:t>www.uni-luebeck.de</a:t>
            </a:r>
            <a:endParaRPr lang="pt-BR" dirty="0"/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CA313C52-2525-4A5D-916B-98841273CADF}"/>
              </a:ext>
            </a:extLst>
          </p:cNvPr>
          <p:cNvSpPr>
            <a:spLocks noGrp="1"/>
          </p:cNvSpPr>
          <p:nvPr>
            <p:ph type="dt" sz="half" idx="12"/>
          </p:nvPr>
        </p:nvSpPr>
        <p:spPr>
          <a:xfrm>
            <a:off x="1388048" y="7027336"/>
            <a:ext cx="720000" cy="123111"/>
          </a:xfrm>
        </p:spPr>
        <p:txBody>
          <a:bodyPr/>
          <a:lstStyle/>
          <a:p>
            <a:fld id="{18404E2F-0DC3-491D-BBFF-E567024868D0}" type="datetime1">
              <a:rPr lang="de-DE" noProof="0" smtClean="0"/>
              <a:t>15.11.22</a:t>
            </a:fld>
            <a:endParaRPr lang="de-DE" noProof="0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2219F9CA-C990-4FAF-BBA2-C37D042E4FF8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2297897" y="7027336"/>
            <a:ext cx="2952000" cy="123111"/>
          </a:xfrm>
        </p:spPr>
        <p:txBody>
          <a:bodyPr/>
          <a:lstStyle/>
          <a:p>
            <a:r>
              <a:rPr lang="de-DE" noProof="0" dirty="0"/>
              <a:t>© Universität zu Lübeck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1B3BB0E-EF1D-44E5-9391-ED9E79F83DB4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479425" y="7027336"/>
            <a:ext cx="720000" cy="123111"/>
          </a:xfrm>
        </p:spPr>
        <p:txBody>
          <a:bodyPr/>
          <a:lstStyle/>
          <a:p>
            <a:r>
              <a:rPr lang="de-DE" noProof="0" dirty="0"/>
              <a:t>Seit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34859105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020813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afik 4">
            <a:extLst>
              <a:ext uri="{FF2B5EF4-FFF2-40B4-BE49-F238E27FC236}">
                <a16:creationId xmlns:a16="http://schemas.microsoft.com/office/drawing/2014/main" id="{6FECA55B-0B10-81E2-DFCA-291B5E37EC80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794"/>
            <a:ext cx="12192000" cy="6857206"/>
          </a:xfrm>
          <a:prstGeom prst="rect">
            <a:avLst/>
          </a:prstGeom>
        </p:spPr>
      </p:pic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79425" y="2255355"/>
            <a:ext cx="11233149" cy="3053913"/>
          </a:xfrm>
          <a:noFill/>
        </p:spPr>
        <p:txBody>
          <a:bodyPr wrap="square" lIns="0" tIns="0" rIns="0" bIns="0" anchor="t">
            <a:sp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6600" b="0" i="0">
                <a:solidFill>
                  <a:schemeClr val="bg1"/>
                </a:solidFill>
                <a:latin typeface="Myriad Pro" panose="020B0503030403020204" pitchFamily="34" charset="0"/>
              </a:defRPr>
            </a:lvl1pPr>
            <a:lvl2pPr>
              <a:lnSpc>
                <a:spcPts val="7200"/>
              </a:lnSpc>
              <a:spcAft>
                <a:spcPts val="1600"/>
              </a:spcAft>
              <a:defRPr sz="8580" b="0" i="0">
                <a:solidFill>
                  <a:schemeClr val="bg1"/>
                </a:solidFill>
                <a:latin typeface="Myriad Pro" panose="020B0503030403020204" pitchFamily="34" charset="0"/>
              </a:defRPr>
            </a:lvl2pPr>
            <a:lvl3pPr>
              <a:lnSpc>
                <a:spcPts val="2080"/>
              </a:lnSpc>
              <a:spcAft>
                <a:spcPts val="0"/>
              </a:spcAft>
              <a:defRPr>
                <a:solidFill>
                  <a:schemeClr val="bg1"/>
                </a:solidFill>
                <a:latin typeface="+mj-lt"/>
              </a:defRPr>
            </a:lvl3pPr>
            <a:lvl4pPr marL="0" indent="0">
              <a:lnSpc>
                <a:spcPts val="2080"/>
              </a:lnSpc>
              <a:spcBef>
                <a:spcPts val="2080"/>
              </a:spcBef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 dirty="0"/>
              <a:t>Vielen Dank für Ihre Aufmerksamkeit</a:t>
            </a:r>
          </a:p>
          <a:p>
            <a:pPr lvl="1"/>
            <a:r>
              <a:rPr lang="de-DE" dirty="0"/>
              <a:t>—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D9614564-45F3-43F4-A781-81B474E1C11B}"/>
              </a:ext>
            </a:extLst>
          </p:cNvPr>
          <p:cNvSpPr>
            <a:spLocks noGrp="1"/>
          </p:cNvSpPr>
          <p:nvPr>
            <p:ph type="dt" sz="half" idx="12"/>
          </p:nvPr>
        </p:nvSpPr>
        <p:spPr>
          <a:xfrm>
            <a:off x="1388048" y="7027336"/>
            <a:ext cx="720000" cy="123111"/>
          </a:xfrm>
        </p:spPr>
        <p:txBody>
          <a:bodyPr/>
          <a:lstStyle/>
          <a:p>
            <a:fld id="{18404E2F-0DC3-491D-BBFF-E567024868D0}" type="datetime1">
              <a:rPr lang="de-DE" noProof="0" smtClean="0"/>
              <a:t>15.11.22</a:t>
            </a:fld>
            <a:endParaRPr lang="de-DE" noProof="0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15B5AC9A-7737-4C1C-B583-AD4EA4DAE9AE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2297897" y="7027336"/>
            <a:ext cx="2952000" cy="123111"/>
          </a:xfrm>
        </p:spPr>
        <p:txBody>
          <a:bodyPr/>
          <a:lstStyle/>
          <a:p>
            <a:r>
              <a:rPr lang="de-DE" noProof="0" dirty="0"/>
              <a:t>© Universität zu Lübeck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B5919D1C-ADAC-4933-80BD-01165FF9D271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479425" y="7027336"/>
            <a:ext cx="720000" cy="123111"/>
          </a:xfrm>
        </p:spPr>
        <p:txBody>
          <a:bodyPr/>
          <a:lstStyle/>
          <a:p>
            <a:r>
              <a:rPr lang="de-DE" noProof="0" dirty="0"/>
              <a:t>Seit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09741802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Schluss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020813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Grafik 6">
            <a:extLst>
              <a:ext uri="{FF2B5EF4-FFF2-40B4-BE49-F238E27FC236}">
                <a16:creationId xmlns:a16="http://schemas.microsoft.com/office/drawing/2014/main" id="{D509154F-B04B-CB77-7D15-4C65F18A84B1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1295" cy="6856810"/>
          </a:xfrm>
          <a:prstGeom prst="rect">
            <a:avLst/>
          </a:prstGeom>
        </p:spPr>
      </p:pic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79425" y="2255355"/>
            <a:ext cx="11233149" cy="3053913"/>
          </a:xfrm>
          <a:noFill/>
        </p:spPr>
        <p:txBody>
          <a:bodyPr wrap="square" lIns="0" tIns="0" rIns="0" bIns="0" anchor="t">
            <a:sp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6600" b="0" i="0">
                <a:solidFill>
                  <a:schemeClr val="bg1"/>
                </a:solidFill>
                <a:latin typeface="Myriad Pro" panose="020B0503030403020204" pitchFamily="34" charset="0"/>
              </a:defRPr>
            </a:lvl1pPr>
            <a:lvl2pPr>
              <a:lnSpc>
                <a:spcPts val="7200"/>
              </a:lnSpc>
              <a:spcAft>
                <a:spcPts val="1600"/>
              </a:spcAft>
              <a:defRPr sz="8580" b="0" i="0">
                <a:solidFill>
                  <a:schemeClr val="bg1"/>
                </a:solidFill>
                <a:latin typeface="Myriad Pro" panose="020B0503030403020204" pitchFamily="34" charset="0"/>
              </a:defRPr>
            </a:lvl2pPr>
            <a:lvl3pPr>
              <a:lnSpc>
                <a:spcPts val="2080"/>
              </a:lnSpc>
              <a:spcAft>
                <a:spcPts val="0"/>
              </a:spcAft>
              <a:defRPr>
                <a:solidFill>
                  <a:schemeClr val="bg1"/>
                </a:solidFill>
                <a:latin typeface="+mj-lt"/>
              </a:defRPr>
            </a:lvl3pPr>
            <a:lvl4pPr marL="0" indent="0">
              <a:lnSpc>
                <a:spcPts val="2080"/>
              </a:lnSpc>
              <a:spcBef>
                <a:spcPts val="2080"/>
              </a:spcBef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 dirty="0"/>
              <a:t>Vielen Dank für Ihre Aufmerksamkeit</a:t>
            </a:r>
          </a:p>
          <a:p>
            <a:pPr lvl="1"/>
            <a:r>
              <a:rPr lang="de-DE" dirty="0"/>
              <a:t>—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D9614564-45F3-43F4-A781-81B474E1C11B}"/>
              </a:ext>
            </a:extLst>
          </p:cNvPr>
          <p:cNvSpPr>
            <a:spLocks noGrp="1"/>
          </p:cNvSpPr>
          <p:nvPr>
            <p:ph type="dt" sz="half" idx="12"/>
          </p:nvPr>
        </p:nvSpPr>
        <p:spPr>
          <a:xfrm>
            <a:off x="1388048" y="7027336"/>
            <a:ext cx="720000" cy="123111"/>
          </a:xfrm>
        </p:spPr>
        <p:txBody>
          <a:bodyPr/>
          <a:lstStyle/>
          <a:p>
            <a:fld id="{18404E2F-0DC3-491D-BBFF-E567024868D0}" type="datetime1">
              <a:rPr lang="de-DE" noProof="0" smtClean="0"/>
              <a:t>15.11.22</a:t>
            </a:fld>
            <a:endParaRPr lang="de-DE" noProof="0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15B5AC9A-7737-4C1C-B583-AD4EA4DAE9AE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2297897" y="7027336"/>
            <a:ext cx="2952000" cy="123111"/>
          </a:xfrm>
        </p:spPr>
        <p:txBody>
          <a:bodyPr/>
          <a:lstStyle/>
          <a:p>
            <a:r>
              <a:rPr lang="de-DE" noProof="0" dirty="0"/>
              <a:t>© Universität zu Lübeck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B5919D1C-ADAC-4933-80BD-01165FF9D271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479425" y="7027336"/>
            <a:ext cx="720000" cy="123111"/>
          </a:xfrm>
        </p:spPr>
        <p:txBody>
          <a:bodyPr/>
          <a:lstStyle/>
          <a:p>
            <a:r>
              <a:rPr lang="de-DE" noProof="0" dirty="0"/>
              <a:t>Seit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52495918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Gerade Verbindung 3"/>
          <p:cNvCxnSpPr/>
          <p:nvPr userDrawn="1"/>
        </p:nvCxnSpPr>
        <p:spPr>
          <a:xfrm>
            <a:off x="190500" y="1214439"/>
            <a:ext cx="11811000" cy="1587"/>
          </a:xfrm>
          <a:prstGeom prst="line">
            <a:avLst/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90459" y="714356"/>
            <a:ext cx="11811083" cy="428628"/>
          </a:xfrm>
        </p:spPr>
        <p:txBody>
          <a:bodyPr/>
          <a:lstStyle>
            <a:lvl1pPr algn="l">
              <a:defRPr sz="360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r>
              <a:rPr lang="de-DE" noProof="0"/>
              <a:t>Mastertitelformat bearbeiten</a:t>
            </a:r>
            <a:endParaRPr lang="en-US" noProof="0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/>
            </a:lvl1pPr>
            <a:lvl2pPr>
              <a:defRPr baseline="0"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en-US" noProof="0" dirty="0"/>
          </a:p>
        </p:txBody>
      </p:sp>
      <p:sp>
        <p:nvSpPr>
          <p:cNvPr id="7" name="TextBox 6"/>
          <p:cNvSpPr txBox="1"/>
          <p:nvPr userDrawn="1"/>
        </p:nvSpPr>
        <p:spPr>
          <a:xfrm>
            <a:off x="11582400" y="6324601"/>
            <a:ext cx="6096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7FBF9356-8214-C745-9807-AECF7580CC61}" type="slidenum">
              <a:rPr lang="en-GB" sz="1600" smtClean="0">
                <a:latin typeface="+mn-lt"/>
              </a:rPr>
              <a:pPr/>
              <a:t>‹#›</a:t>
            </a:fld>
            <a:endParaRPr lang="en-GB" sz="1600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82803839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– kleine Headline un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515374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6B002FD9-AF19-4ED6-84E1-C634A79B2BA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solidFill>
            <a:schemeClr val="bg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Bild durch Klicken auf Symbol hinzufügen</a:t>
            </a:r>
            <a:endParaRPr lang="en-US" dirty="0"/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" y="3028003"/>
            <a:ext cx="5916612" cy="2956872"/>
          </a:xfrm>
          <a:gradFill flip="none" rotWithShape="1">
            <a:gsLst>
              <a:gs pos="46000">
                <a:srgbClr val="3F6672"/>
              </a:gs>
              <a:gs pos="0">
                <a:srgbClr val="023D4A"/>
              </a:gs>
              <a:gs pos="88000">
                <a:srgbClr val="8DA0A8"/>
              </a:gs>
              <a:gs pos="100000">
                <a:srgbClr val="5B7583"/>
              </a:gs>
            </a:gsLst>
            <a:lin ang="18000000" scaled="0"/>
            <a:tileRect/>
          </a:gradFill>
        </p:spPr>
        <p:txBody>
          <a:bodyPr lIns="486000" tIns="360000" rIns="360000" bIns="360000" anchor="b">
            <a:sp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1400" b="1" i="0">
                <a:solidFill>
                  <a:schemeClr val="bg1"/>
                </a:solidFill>
                <a:latin typeface="Myriad Pro" panose="020B0503030403020204" pitchFamily="34" charset="0"/>
              </a:defRPr>
            </a:lvl1pPr>
            <a:lvl2pPr>
              <a:lnSpc>
                <a:spcPts val="2800"/>
              </a:lnSpc>
              <a:spcAft>
                <a:spcPts val="480"/>
              </a:spcAft>
              <a:defRPr sz="3120" b="0" i="0">
                <a:solidFill>
                  <a:schemeClr val="bg1"/>
                </a:solidFill>
                <a:latin typeface="Myriad Pro" panose="020B0503030403020204" pitchFamily="34" charset="0"/>
              </a:defRPr>
            </a:lvl2pPr>
            <a:lvl3pPr>
              <a:lnSpc>
                <a:spcPct val="100000"/>
              </a:lnSpc>
              <a:spcAft>
                <a:spcPts val="0"/>
              </a:spcAft>
              <a:defRPr sz="2400" b="0" i="0">
                <a:solidFill>
                  <a:schemeClr val="bg1"/>
                </a:solidFill>
                <a:latin typeface="Myriad Pro" panose="020B0503030403020204" pitchFamily="34" charset="0"/>
              </a:defRPr>
            </a:lvl3pPr>
            <a:lvl4pPr marL="0" indent="0">
              <a:lnSpc>
                <a:spcPct val="110000"/>
              </a:lnSpc>
              <a:spcBef>
                <a:spcPts val="2080"/>
              </a:spcBef>
              <a:spcAft>
                <a:spcPts val="0"/>
              </a:spcAft>
              <a:buNone/>
              <a:defRPr lang="de-DE" sz="1600" b="0" i="0" kern="1200" dirty="0">
                <a:solidFill>
                  <a:schemeClr val="bg1"/>
                </a:solidFill>
                <a:latin typeface="Myriad Pro" panose="020B0503030403020204" pitchFamily="34" charset="0"/>
                <a:ea typeface="+mn-ea"/>
                <a:cs typeface="+mn-cs"/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 dirty="0" err="1"/>
              <a:t>Subline</a:t>
            </a:r>
            <a:r>
              <a:rPr lang="de-DE" dirty="0"/>
              <a:t>/Referent/Datum</a:t>
            </a:r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/>
              <a:t>Headline klein, Myriad Pro Regular, </a:t>
            </a:r>
          </a:p>
          <a:p>
            <a:pPr lvl="2"/>
            <a:r>
              <a:rPr lang="de-DE" dirty="0"/>
              <a:t>24 </a:t>
            </a:r>
            <a:r>
              <a:rPr lang="de-DE" dirty="0" err="1"/>
              <a:t>pt</a:t>
            </a:r>
            <a:r>
              <a:rPr lang="de-DE" dirty="0"/>
              <a:t>,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rem</a:t>
            </a:r>
            <a:r>
              <a:rPr lang="de-DE" dirty="0"/>
              <a:t> max. 3 Zeilen</a:t>
            </a:r>
          </a:p>
          <a:p>
            <a:pPr marL="0" lvl="3" indent="0" algn="l" defTabSz="914400" rtl="0" eaLnBrk="1" latinLnBrk="0" hangingPunct="1">
              <a:lnSpc>
                <a:spcPts val="1840"/>
              </a:lnSpc>
              <a:spcBef>
                <a:spcPts val="1840"/>
              </a:spcBef>
              <a:spcAft>
                <a:spcPts val="0"/>
              </a:spcAft>
              <a:buClr>
                <a:schemeClr val="accent1"/>
              </a:buClr>
              <a:buFont typeface="Wingdings" panose="05000000000000000000" pitchFamily="2" charset="2"/>
              <a:buNone/>
            </a:pPr>
            <a:r>
              <a:rPr lang="de-DE" dirty="0"/>
              <a:t>Referenten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826C9846-D78A-41C2-B9DE-AAB4647AB0BF}"/>
              </a:ext>
            </a:extLst>
          </p:cNvPr>
          <p:cNvSpPr>
            <a:spLocks noGrp="1"/>
          </p:cNvSpPr>
          <p:nvPr>
            <p:ph type="dt" sz="half" idx="12"/>
          </p:nvPr>
        </p:nvSpPr>
        <p:spPr>
          <a:xfrm>
            <a:off x="1388048" y="7027336"/>
            <a:ext cx="720000" cy="123111"/>
          </a:xfrm>
        </p:spPr>
        <p:txBody>
          <a:bodyPr/>
          <a:lstStyle/>
          <a:p>
            <a:fld id="{18404E2F-0DC3-491D-BBFF-E567024868D0}" type="datetime1">
              <a:rPr lang="de-DE" noProof="0" smtClean="0"/>
              <a:t>15.11.22</a:t>
            </a:fld>
            <a:endParaRPr lang="de-DE" noProof="0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0D8AD9C8-2824-4897-945F-4A8A1D2456E1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2297897" y="7027336"/>
            <a:ext cx="2952000" cy="123111"/>
          </a:xfrm>
        </p:spPr>
        <p:txBody>
          <a:bodyPr/>
          <a:lstStyle/>
          <a:p>
            <a:r>
              <a:rPr lang="de-DE" noProof="0" dirty="0"/>
              <a:t>© Universität zu Lübeck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C1209F8-6861-41DE-A5C0-5C8F5AB393F9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479425" y="7027336"/>
            <a:ext cx="720000" cy="123111"/>
          </a:xfrm>
        </p:spPr>
        <p:txBody>
          <a:bodyPr/>
          <a:lstStyle/>
          <a:p>
            <a:r>
              <a:rPr lang="de-DE" noProof="0" dirty="0"/>
              <a:t>Seit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317918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– Co-Bran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954403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6B002FD9-AF19-4ED6-84E1-C634A79B2BA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4572000"/>
          </a:xfrm>
          <a:solidFill>
            <a:schemeClr val="bg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Bild durch Klicken auf Symbol hinzufügen</a:t>
            </a:r>
            <a:endParaRPr lang="en-US" dirty="0"/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0" y="2501839"/>
            <a:ext cx="7824783" cy="3004065"/>
          </a:xfrm>
          <a:gradFill flip="none" rotWithShape="1">
            <a:gsLst>
              <a:gs pos="46000">
                <a:srgbClr val="3F6672"/>
              </a:gs>
              <a:gs pos="0">
                <a:srgbClr val="023D4A"/>
              </a:gs>
              <a:gs pos="88000">
                <a:srgbClr val="8DA0A8"/>
              </a:gs>
              <a:gs pos="100000">
                <a:srgbClr val="5B7583"/>
              </a:gs>
            </a:gsLst>
            <a:lin ang="18000000" scaled="0"/>
            <a:tileRect/>
          </a:gradFill>
        </p:spPr>
        <p:txBody>
          <a:bodyPr wrap="square" lIns="486000" tIns="360000" rIns="360000" bIns="360000" anchor="b">
            <a:sp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1600" b="1" i="0">
                <a:solidFill>
                  <a:schemeClr val="bg1"/>
                </a:solidFill>
                <a:latin typeface="Myriad Pro" panose="020B0503030403020204" pitchFamily="34" charset="0"/>
              </a:defRPr>
            </a:lvl1pPr>
            <a:lvl2pPr>
              <a:lnSpc>
                <a:spcPts val="3200"/>
              </a:lnSpc>
              <a:spcAft>
                <a:spcPts val="640"/>
              </a:spcAft>
              <a:defRPr sz="4160" b="0" i="0">
                <a:solidFill>
                  <a:schemeClr val="bg1"/>
                </a:solidFill>
                <a:latin typeface="Myriad Pro" panose="020B0503030403020204" pitchFamily="34" charset="0"/>
              </a:defRPr>
            </a:lvl2pPr>
            <a:lvl3pPr>
              <a:lnSpc>
                <a:spcPct val="100000"/>
              </a:lnSpc>
              <a:spcAft>
                <a:spcPts val="0"/>
              </a:spcAft>
              <a:defRPr sz="3200" b="0" i="0">
                <a:solidFill>
                  <a:schemeClr val="bg1"/>
                </a:solidFill>
                <a:latin typeface="Myriad Pro" panose="020B0503030403020204" pitchFamily="34" charset="0"/>
              </a:defRPr>
            </a:lvl3pPr>
            <a:lvl4pPr marL="0" indent="0">
              <a:lnSpc>
                <a:spcPct val="110000"/>
              </a:lnSpc>
              <a:spcBef>
                <a:spcPts val="208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 dirty="0" err="1"/>
              <a:t>Subline</a:t>
            </a:r>
            <a:r>
              <a:rPr lang="de-DE" dirty="0"/>
              <a:t>/Referent/Datum</a:t>
            </a:r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/>
              <a:t>Headline groß, Myriad Pro Regular, </a:t>
            </a:r>
          </a:p>
          <a:p>
            <a:pPr lvl="2"/>
            <a:r>
              <a:rPr lang="de-DE" dirty="0"/>
              <a:t>32 </a:t>
            </a:r>
            <a:r>
              <a:rPr lang="de-DE" dirty="0" err="1"/>
              <a:t>pt</a:t>
            </a:r>
            <a:endParaRPr lang="de-DE" dirty="0"/>
          </a:p>
          <a:p>
            <a:pPr lvl="3"/>
            <a:r>
              <a:rPr lang="de-DE" dirty="0"/>
              <a:t>Referenten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1B5719AE-30B8-45EA-B80C-409CF4F2B2F0}"/>
              </a:ext>
            </a:extLst>
          </p:cNvPr>
          <p:cNvSpPr>
            <a:spLocks noGrp="1"/>
          </p:cNvSpPr>
          <p:nvPr>
            <p:ph type="dt" sz="half" idx="12"/>
          </p:nvPr>
        </p:nvSpPr>
        <p:spPr>
          <a:xfrm>
            <a:off x="1388048" y="7027336"/>
            <a:ext cx="720000" cy="123111"/>
          </a:xfrm>
        </p:spPr>
        <p:txBody>
          <a:bodyPr/>
          <a:lstStyle/>
          <a:p>
            <a:fld id="{18404E2F-0DC3-491D-BBFF-E567024868D0}" type="datetime1">
              <a:rPr lang="de-DE" noProof="0" smtClean="0"/>
              <a:t>15.11.22</a:t>
            </a:fld>
            <a:endParaRPr lang="de-DE" noProof="0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E3BC588A-DC32-4D84-AD10-E7DF3D9A9CD8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2297897" y="7027336"/>
            <a:ext cx="2952000" cy="123111"/>
          </a:xfrm>
        </p:spPr>
        <p:txBody>
          <a:bodyPr/>
          <a:lstStyle/>
          <a:p>
            <a:r>
              <a:rPr lang="de-DE" noProof="0" dirty="0"/>
              <a:t>© Universität zu Lübeck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82CB5C3E-E47D-427A-AA11-CB39E0BAF281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479425" y="7027336"/>
            <a:ext cx="720000" cy="123111"/>
          </a:xfrm>
        </p:spPr>
        <p:txBody>
          <a:bodyPr/>
          <a:lstStyle/>
          <a:p>
            <a:r>
              <a:rPr lang="de-DE" noProof="0" dirty="0"/>
              <a:t>Seit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8965241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– Co-Branding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595872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6B002FD9-AF19-4ED6-84E1-C634A79B2BA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3429000"/>
          </a:xfrm>
          <a:solidFill>
            <a:schemeClr val="bg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Bild durch Klicken auf Symbol hinzufügen</a:t>
            </a:r>
            <a:endParaRPr lang="en-US" dirty="0"/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-1" y="2357312"/>
            <a:ext cx="7824787" cy="2678335"/>
          </a:xfrm>
          <a:gradFill flip="none" rotWithShape="1">
            <a:gsLst>
              <a:gs pos="46000">
                <a:srgbClr val="3F6672"/>
              </a:gs>
              <a:gs pos="0">
                <a:srgbClr val="023D4A"/>
              </a:gs>
              <a:gs pos="88000">
                <a:srgbClr val="8DA0A8"/>
              </a:gs>
              <a:gs pos="100000">
                <a:srgbClr val="5B7583"/>
              </a:gs>
            </a:gsLst>
            <a:lin ang="18000000" scaled="0"/>
            <a:tileRect/>
          </a:gradFill>
        </p:spPr>
        <p:txBody>
          <a:bodyPr wrap="square" lIns="486000" tIns="360000" rIns="360000" bIns="360000" anchor="t">
            <a:sp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3200" b="0" i="0">
                <a:solidFill>
                  <a:schemeClr val="bg1"/>
                </a:solidFill>
                <a:latin typeface="Myriad Pro" panose="020B0503030403020204" pitchFamily="34" charset="0"/>
              </a:defRPr>
            </a:lvl1pPr>
            <a:lvl2pPr>
              <a:lnSpc>
                <a:spcPts val="3520"/>
              </a:lnSpc>
              <a:spcAft>
                <a:spcPts val="1600"/>
              </a:spcAft>
              <a:defRPr sz="4160" b="0" i="0">
                <a:solidFill>
                  <a:schemeClr val="bg1"/>
                </a:solidFill>
                <a:latin typeface="Myriad Pro" panose="020B0503030403020204" pitchFamily="34" charset="0"/>
              </a:defRPr>
            </a:lvl2pPr>
            <a:lvl3pPr>
              <a:lnSpc>
                <a:spcPct val="110000"/>
              </a:lnSpc>
              <a:spcAft>
                <a:spcPts val="0"/>
              </a:spcAft>
              <a:defRPr sz="1600" b="1" i="0">
                <a:solidFill>
                  <a:schemeClr val="bg1"/>
                </a:solidFill>
                <a:latin typeface="Myriad Pro" panose="020B0503030403020204" pitchFamily="34" charset="0"/>
              </a:defRPr>
            </a:lvl3pPr>
            <a:lvl4pPr marL="0" indent="0">
              <a:lnSpc>
                <a:spcPct val="110000"/>
              </a:lnSpc>
              <a:spcBef>
                <a:spcPts val="208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 dirty="0"/>
              <a:t>Headline groß, Myriad Pro Regular, 32 </a:t>
            </a:r>
            <a:r>
              <a:rPr lang="de-DE" dirty="0" err="1"/>
              <a:t>pt</a:t>
            </a:r>
            <a:endParaRPr lang="de-DE" dirty="0"/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 err="1"/>
              <a:t>Subline</a:t>
            </a:r>
            <a:r>
              <a:rPr lang="de-DE" dirty="0"/>
              <a:t>/Referent/Datum</a:t>
            </a:r>
          </a:p>
          <a:p>
            <a:pPr lvl="3"/>
            <a:r>
              <a:rPr lang="de-DE" dirty="0"/>
              <a:t>Referenten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0A4204C2-4248-49B0-B888-AEDE5C87E88D}"/>
              </a:ext>
            </a:extLst>
          </p:cNvPr>
          <p:cNvSpPr>
            <a:spLocks noGrp="1"/>
          </p:cNvSpPr>
          <p:nvPr>
            <p:ph type="dt" sz="half" idx="12"/>
          </p:nvPr>
        </p:nvSpPr>
        <p:spPr>
          <a:xfrm>
            <a:off x="1388048" y="7027336"/>
            <a:ext cx="720000" cy="123111"/>
          </a:xfrm>
        </p:spPr>
        <p:txBody>
          <a:bodyPr/>
          <a:lstStyle/>
          <a:p>
            <a:fld id="{18404E2F-0DC3-491D-BBFF-E567024868D0}" type="datetime1">
              <a:rPr lang="de-DE" noProof="0" smtClean="0"/>
              <a:t>15.11.22</a:t>
            </a:fld>
            <a:endParaRPr lang="de-DE" noProof="0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00296C33-84D5-4891-A511-A73F2EF90EDB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2297897" y="7027336"/>
            <a:ext cx="2952000" cy="123111"/>
          </a:xfrm>
        </p:spPr>
        <p:txBody>
          <a:bodyPr/>
          <a:lstStyle/>
          <a:p>
            <a:r>
              <a:rPr lang="de-DE" noProof="0" dirty="0"/>
              <a:t>© Universität zu Lübeck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AEDE090B-8EDC-46F6-A07B-49E25523BDDC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479425" y="7027336"/>
            <a:ext cx="720000" cy="123111"/>
          </a:xfrm>
        </p:spPr>
        <p:txBody>
          <a:bodyPr/>
          <a:lstStyle/>
          <a:p>
            <a:r>
              <a:rPr lang="de-DE" noProof="0" dirty="0"/>
              <a:t>Seit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7995085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– große Headline unten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502745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afik 4">
            <a:extLst>
              <a:ext uri="{FF2B5EF4-FFF2-40B4-BE49-F238E27FC236}">
                <a16:creationId xmlns:a16="http://schemas.microsoft.com/office/drawing/2014/main" id="{D6F859B1-B8F5-1719-1344-07ED9A36C8BE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794"/>
            <a:ext cx="12192000" cy="6857206"/>
          </a:xfrm>
          <a:prstGeom prst="rect">
            <a:avLst/>
          </a:prstGeom>
        </p:spPr>
      </p:pic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" y="2980810"/>
            <a:ext cx="11712574" cy="3004065"/>
          </a:xfrm>
          <a:noFill/>
        </p:spPr>
        <p:txBody>
          <a:bodyPr wrap="square" lIns="486000" tIns="360000" rIns="360000" bIns="360000" anchor="b">
            <a:sp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1600" b="1" i="0">
                <a:solidFill>
                  <a:schemeClr val="bg1"/>
                </a:solidFill>
                <a:latin typeface="Myriad Pro" panose="020B0503030403020204" pitchFamily="34" charset="0"/>
              </a:defRPr>
            </a:lvl1pPr>
            <a:lvl2pPr>
              <a:lnSpc>
                <a:spcPts val="3200"/>
              </a:lnSpc>
              <a:spcAft>
                <a:spcPts val="640"/>
              </a:spcAft>
              <a:defRPr sz="4160" b="0" i="0">
                <a:solidFill>
                  <a:schemeClr val="bg1"/>
                </a:solidFill>
                <a:latin typeface="Myriad Pro" panose="020B0503030403020204" pitchFamily="34" charset="0"/>
              </a:defRPr>
            </a:lvl2pPr>
            <a:lvl3pPr>
              <a:lnSpc>
                <a:spcPct val="100000"/>
              </a:lnSpc>
              <a:spcAft>
                <a:spcPts val="0"/>
              </a:spcAft>
              <a:defRPr sz="3200" b="0" i="0">
                <a:solidFill>
                  <a:schemeClr val="bg1"/>
                </a:solidFill>
                <a:latin typeface="Myriad Pro" panose="020B0503030403020204" pitchFamily="34" charset="0"/>
              </a:defRPr>
            </a:lvl3pPr>
            <a:lvl4pPr marL="0" indent="0">
              <a:lnSpc>
                <a:spcPct val="110000"/>
              </a:lnSpc>
              <a:spcBef>
                <a:spcPts val="208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 dirty="0" err="1"/>
              <a:t>Subline</a:t>
            </a:r>
            <a:r>
              <a:rPr lang="de-DE" dirty="0"/>
              <a:t>/Referent/Datum</a:t>
            </a:r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/>
              <a:t>Headline groß, Myriad Pro Regular, </a:t>
            </a:r>
          </a:p>
          <a:p>
            <a:pPr lvl="2"/>
            <a:r>
              <a:rPr lang="de-DE" dirty="0"/>
              <a:t>32 </a:t>
            </a:r>
            <a:r>
              <a:rPr lang="de-DE" dirty="0" err="1"/>
              <a:t>pt</a:t>
            </a:r>
            <a:endParaRPr lang="de-DE" dirty="0"/>
          </a:p>
          <a:p>
            <a:pPr lvl="3"/>
            <a:r>
              <a:rPr lang="de-DE" dirty="0"/>
              <a:t>Referenten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2B71DDCE-8584-473E-89A6-4E1C8FE4FEFE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18404E2F-0DC3-491D-BBFF-E567024868D0}" type="datetime1">
              <a:rPr lang="de-DE" noProof="0" smtClean="0"/>
              <a:t>15.11.22</a:t>
            </a:fld>
            <a:endParaRPr lang="de-DE" noProof="0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44F76422-6FC9-4F77-8DC2-9370AFAFE86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de-DE" noProof="0" dirty="0"/>
              <a:t>© Universität zu Lübeck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A8BBD116-D531-4394-B940-E1E0CD4B016C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de-DE" noProof="0" dirty="0"/>
              <a:t>Seit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2349245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elfolie – große Headline unten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502745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2B71DDCE-8584-473E-89A6-4E1C8FE4FEFE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18404E2F-0DC3-491D-BBFF-E567024868D0}" type="datetime1">
              <a:rPr lang="de-DE" noProof="0" smtClean="0"/>
              <a:t>15.11.22</a:t>
            </a:fld>
            <a:endParaRPr lang="de-DE" noProof="0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44F76422-6FC9-4F77-8DC2-9370AFAFE86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de-DE" noProof="0" dirty="0"/>
              <a:t>© Universität zu Lübeck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A8BBD116-D531-4394-B940-E1E0CD4B016C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de-DE" noProof="0" dirty="0"/>
              <a:t>Seit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22ED91AC-E485-D3FC-AAFF-702A8BEF85F4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" y="1190"/>
            <a:ext cx="12191295" cy="6856810"/>
          </a:xfrm>
          <a:prstGeom prst="rect">
            <a:avLst/>
          </a:prstGeom>
        </p:spPr>
      </p:pic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" y="2980810"/>
            <a:ext cx="11712574" cy="3004065"/>
          </a:xfrm>
          <a:noFill/>
        </p:spPr>
        <p:txBody>
          <a:bodyPr wrap="square" lIns="486000" tIns="360000" rIns="360000" bIns="360000" anchor="b">
            <a:sp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1600" b="1" i="0">
                <a:solidFill>
                  <a:schemeClr val="bg1"/>
                </a:solidFill>
                <a:latin typeface="Myriad Pro" panose="020B0503030403020204" pitchFamily="34" charset="0"/>
              </a:defRPr>
            </a:lvl1pPr>
            <a:lvl2pPr>
              <a:lnSpc>
                <a:spcPts val="3200"/>
              </a:lnSpc>
              <a:spcAft>
                <a:spcPts val="640"/>
              </a:spcAft>
              <a:defRPr sz="4160" b="0" i="0">
                <a:solidFill>
                  <a:schemeClr val="bg1"/>
                </a:solidFill>
                <a:latin typeface="Myriad Pro" panose="020B0503030403020204" pitchFamily="34" charset="0"/>
              </a:defRPr>
            </a:lvl2pPr>
            <a:lvl3pPr>
              <a:lnSpc>
                <a:spcPct val="100000"/>
              </a:lnSpc>
              <a:spcAft>
                <a:spcPts val="0"/>
              </a:spcAft>
              <a:defRPr sz="3200" b="0" i="0">
                <a:solidFill>
                  <a:schemeClr val="bg1"/>
                </a:solidFill>
                <a:latin typeface="Myriad Pro" panose="020B0503030403020204" pitchFamily="34" charset="0"/>
              </a:defRPr>
            </a:lvl3pPr>
            <a:lvl4pPr marL="0" indent="0">
              <a:lnSpc>
                <a:spcPct val="110000"/>
              </a:lnSpc>
              <a:spcBef>
                <a:spcPts val="208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 dirty="0" err="1"/>
              <a:t>Subline</a:t>
            </a:r>
            <a:r>
              <a:rPr lang="de-DE" dirty="0"/>
              <a:t>/Referent/Datum</a:t>
            </a:r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/>
              <a:t>Headline groß, Myriad Pro Regular, </a:t>
            </a:r>
          </a:p>
          <a:p>
            <a:pPr lvl="2"/>
            <a:r>
              <a:rPr lang="de-DE" dirty="0"/>
              <a:t>32 </a:t>
            </a:r>
            <a:r>
              <a:rPr lang="de-DE" dirty="0" err="1"/>
              <a:t>pt</a:t>
            </a:r>
            <a:endParaRPr lang="de-DE" dirty="0"/>
          </a:p>
          <a:p>
            <a:pPr lvl="3"/>
            <a:r>
              <a:rPr lang="de-DE" dirty="0"/>
              <a:t>Referenten</a:t>
            </a:r>
          </a:p>
        </p:txBody>
      </p:sp>
    </p:spTree>
    <p:extLst>
      <p:ext uri="{BB962C8B-B14F-4D97-AF65-F5344CB8AC3E}">
        <p14:creationId xmlns:p14="http://schemas.microsoft.com/office/powerpoint/2010/main" val="196662742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– große Headline oben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465993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Grafik 5">
            <a:extLst>
              <a:ext uri="{FF2B5EF4-FFF2-40B4-BE49-F238E27FC236}">
                <a16:creationId xmlns:a16="http://schemas.microsoft.com/office/drawing/2014/main" id="{CB140537-144F-1823-E0AC-B4603B8C9CFD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794"/>
            <a:ext cx="12192000" cy="6857206"/>
          </a:xfrm>
          <a:prstGeom prst="rect">
            <a:avLst/>
          </a:prstGeom>
        </p:spPr>
      </p:pic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-1" y="2814098"/>
            <a:ext cx="11712575" cy="3170777"/>
          </a:xfrm>
          <a:noFill/>
        </p:spPr>
        <p:txBody>
          <a:bodyPr wrap="square" lIns="486000" tIns="360000" rIns="360000" bIns="360000" anchor="b">
            <a:sp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3200" b="0" i="0">
                <a:solidFill>
                  <a:schemeClr val="bg1"/>
                </a:solidFill>
                <a:latin typeface="Myriad Pro" panose="020B0503030403020204" pitchFamily="34" charset="0"/>
              </a:defRPr>
            </a:lvl1pPr>
            <a:lvl2pPr>
              <a:lnSpc>
                <a:spcPts val="3520"/>
              </a:lnSpc>
              <a:spcAft>
                <a:spcPts val="1600"/>
              </a:spcAft>
              <a:defRPr sz="4160" b="0" i="0">
                <a:solidFill>
                  <a:schemeClr val="bg1"/>
                </a:solidFill>
                <a:latin typeface="Myriad Pro" panose="020B0503030403020204" pitchFamily="34" charset="0"/>
              </a:defRPr>
            </a:lvl2pPr>
            <a:lvl3pPr>
              <a:lnSpc>
                <a:spcPct val="110000"/>
              </a:lnSpc>
              <a:spcAft>
                <a:spcPts val="0"/>
              </a:spcAft>
              <a:defRPr sz="1600" b="1" i="0">
                <a:solidFill>
                  <a:schemeClr val="bg1"/>
                </a:solidFill>
                <a:latin typeface="Myriad Pro" panose="020B0503030403020204" pitchFamily="34" charset="0"/>
              </a:defRPr>
            </a:lvl3pPr>
            <a:lvl4pPr marL="0" indent="0">
              <a:lnSpc>
                <a:spcPct val="110000"/>
              </a:lnSpc>
              <a:spcBef>
                <a:spcPts val="208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 dirty="0"/>
              <a:t>Headline groß, Myriad Pro Regular, </a:t>
            </a:r>
          </a:p>
          <a:p>
            <a:pPr lvl="0"/>
            <a:r>
              <a:rPr lang="de-DE" dirty="0"/>
              <a:t>32 </a:t>
            </a:r>
            <a:r>
              <a:rPr lang="de-DE" dirty="0" err="1"/>
              <a:t>pt</a:t>
            </a:r>
            <a:endParaRPr lang="de-DE" dirty="0"/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 err="1"/>
              <a:t>Subline</a:t>
            </a:r>
            <a:r>
              <a:rPr lang="de-DE" dirty="0"/>
              <a:t>/Referent/Datum</a:t>
            </a:r>
          </a:p>
          <a:p>
            <a:pPr lvl="3"/>
            <a:r>
              <a:rPr lang="de-DE" dirty="0"/>
              <a:t>Referenten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25C68886-21F8-4FFB-8201-7F0BA6565D68}"/>
              </a:ext>
            </a:extLst>
          </p:cNvPr>
          <p:cNvSpPr>
            <a:spLocks noGrp="1"/>
          </p:cNvSpPr>
          <p:nvPr>
            <p:ph type="dt" sz="half" idx="12"/>
          </p:nvPr>
        </p:nvSpPr>
        <p:spPr>
          <a:xfrm>
            <a:off x="1388048" y="7027336"/>
            <a:ext cx="720000" cy="123111"/>
          </a:xfrm>
        </p:spPr>
        <p:txBody>
          <a:bodyPr/>
          <a:lstStyle/>
          <a:p>
            <a:fld id="{18404E2F-0DC3-491D-BBFF-E567024868D0}" type="datetime1">
              <a:rPr lang="de-DE" noProof="0" smtClean="0"/>
              <a:t>15.11.22</a:t>
            </a:fld>
            <a:endParaRPr lang="de-DE" noProof="0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44BD0276-DAC0-4256-A958-3D3DD10E633D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2297897" y="7027336"/>
            <a:ext cx="2952000" cy="123111"/>
          </a:xfrm>
        </p:spPr>
        <p:txBody>
          <a:bodyPr/>
          <a:lstStyle/>
          <a:p>
            <a:r>
              <a:rPr lang="de-DE" noProof="0" dirty="0"/>
              <a:t>© Universität zu Lübeck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5696E82-453E-4196-8BCD-BF982D26413F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479425" y="7027336"/>
            <a:ext cx="720000" cy="123111"/>
          </a:xfrm>
        </p:spPr>
        <p:txBody>
          <a:bodyPr/>
          <a:lstStyle/>
          <a:p>
            <a:r>
              <a:rPr lang="de-DE" noProof="0" dirty="0"/>
              <a:t>Seit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2440116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image" Target="../media/image1.emf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F507918F-B2AA-4A76-81D6-4E27E906E31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7"/>
            </p:custDataLst>
            <p:extLst>
              <p:ext uri="{D42A27DB-BD31-4B8C-83A1-F6EECF244321}">
                <p14:modId xmlns:p14="http://schemas.microsoft.com/office/powerpoint/2010/main" val="25652144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8" imgW="344" imgH="345" progId="TCLayout.ActiveDocument.1">
                  <p:embed/>
                </p:oleObj>
              </mc:Choice>
              <mc:Fallback>
                <p:oleObj name="think-cell Folie" r:id="rId38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EA78C480-B66C-43DB-AAEB-3790EF5A7664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79425" y="395588"/>
            <a:ext cx="11233150" cy="397032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/>
          <a:p>
            <a:r>
              <a:rPr lang="de-DE" noProof="0" dirty="0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3ED48EE-75FC-48CE-8886-5B06675925EC}"/>
              </a:ext>
            </a:extLst>
          </p:cNvPr>
          <p:cNvSpPr>
            <a:spLocks noGrp="1"/>
          </p:cNvSpPr>
          <p:nvPr>
            <p:ph type="body" idx="1"/>
          </p:nvPr>
        </p:nvSpPr>
        <p:spPr bwMode="gray">
          <a:xfrm>
            <a:off x="478199" y="1703388"/>
            <a:ext cx="11234376" cy="2640595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de-DE" noProof="0" dirty="0"/>
              <a:t>Mastertextformat bearbeit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  <a:p>
            <a:pPr lvl="4"/>
            <a:r>
              <a:rPr lang="de-DE" noProof="0" dirty="0"/>
              <a:t>Fünfte Ebene</a:t>
            </a:r>
          </a:p>
          <a:p>
            <a:pPr lvl="5"/>
            <a:r>
              <a:rPr lang="de-DE" noProof="0" dirty="0"/>
              <a:t>Sechste Ebene</a:t>
            </a:r>
          </a:p>
          <a:p>
            <a:pPr lvl="6"/>
            <a:r>
              <a:rPr lang="de-DE" noProof="0" dirty="0"/>
              <a:t>Siebte Ebene</a:t>
            </a:r>
          </a:p>
          <a:p>
            <a:pPr lvl="7"/>
            <a:r>
              <a:rPr lang="de-DE" noProof="0" dirty="0"/>
              <a:t>Achte Ebene</a:t>
            </a:r>
          </a:p>
          <a:p>
            <a:pPr lvl="8"/>
            <a:r>
              <a:rPr lang="de-DE" noProof="0" dirty="0"/>
              <a:t>Neunte Ebene</a:t>
            </a:r>
          </a:p>
        </p:txBody>
      </p:sp>
      <p:sp>
        <p:nvSpPr>
          <p:cNvPr id="4" name="Datumsplatzhalter">
            <a:extLst>
              <a:ext uri="{FF2B5EF4-FFF2-40B4-BE49-F238E27FC236}">
                <a16:creationId xmlns:a16="http://schemas.microsoft.com/office/drawing/2014/main" id="{F9CDF1F4-2065-4A60-8377-ED9014CA8CBB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1388048" y="6455836"/>
            <a:ext cx="720000" cy="123111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1000" b="0" i="0">
                <a:solidFill>
                  <a:schemeClr val="tx1"/>
                </a:solidFill>
                <a:latin typeface="Myriad Pro" panose="020B0503030403020204" pitchFamily="34" charset="0"/>
              </a:defRPr>
            </a:lvl1pPr>
          </a:lstStyle>
          <a:p>
            <a:fld id="{18404E2F-0DC3-491D-BBFF-E567024868D0}" type="datetime1">
              <a:rPr lang="de-DE" smtClean="0"/>
              <a:pPr/>
              <a:t>15.11.22</a:t>
            </a:fld>
            <a:endParaRPr lang="de-DE" dirty="0"/>
          </a:p>
        </p:txBody>
      </p:sp>
      <p:sp>
        <p:nvSpPr>
          <p:cNvPr id="5" name="Copyright Fraunhofer">
            <a:extLst>
              <a:ext uri="{FF2B5EF4-FFF2-40B4-BE49-F238E27FC236}">
                <a16:creationId xmlns:a16="http://schemas.microsoft.com/office/drawing/2014/main" id="{5FF3544A-E0F0-4101-A728-3DFB567F776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2297897" y="6455836"/>
            <a:ext cx="2952000" cy="123111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1000" b="0" i="0">
                <a:solidFill>
                  <a:schemeClr val="tx1"/>
                </a:solidFill>
                <a:latin typeface="Myriad Pro" panose="020B0503030403020204" pitchFamily="34" charset="0"/>
              </a:defRPr>
            </a:lvl1pPr>
          </a:lstStyle>
          <a:p>
            <a:r>
              <a:rPr lang="de-DE" dirty="0"/>
              <a:t>© Universität zu Lübeck</a:t>
            </a:r>
          </a:p>
        </p:txBody>
      </p:sp>
      <p:cxnSp>
        <p:nvCxnSpPr>
          <p:cNvPr id="34" name="Gerader Verbinder 33">
            <a:extLst>
              <a:ext uri="{FF2B5EF4-FFF2-40B4-BE49-F238E27FC236}">
                <a16:creationId xmlns:a16="http://schemas.microsoft.com/office/drawing/2014/main" id="{ED49F1F8-4B89-4B18-B579-CD843138501E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479425" y="1245411"/>
            <a:ext cx="360000" cy="0"/>
          </a:xfrm>
          <a:prstGeom prst="line">
            <a:avLst/>
          </a:prstGeom>
          <a:noFill/>
          <a:ln w="5080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42" name="Gerader Verbinder 41">
            <a:extLst>
              <a:ext uri="{FF2B5EF4-FFF2-40B4-BE49-F238E27FC236}">
                <a16:creationId xmlns:a16="http://schemas.microsoft.com/office/drawing/2014/main" id="{86070D71-EE9E-4293-96A3-C2A0A07F7A62}"/>
              </a:ext>
            </a:extLst>
          </p:cNvPr>
          <p:cNvCxnSpPr/>
          <p:nvPr userDrawn="1"/>
        </p:nvCxnSpPr>
        <p:spPr bwMode="gray">
          <a:xfrm>
            <a:off x="0" y="6143625"/>
            <a:ext cx="12192000" cy="0"/>
          </a:xfrm>
          <a:prstGeom prst="line">
            <a:avLst/>
          </a:prstGeom>
          <a:ln w="190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93FFAE78-FC0D-4DC3-A58F-888E658BE28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79425" y="6440448"/>
            <a:ext cx="720000" cy="153888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1000" b="0" i="0">
                <a:solidFill>
                  <a:schemeClr val="tx1"/>
                </a:solidFill>
                <a:latin typeface="Myriad Pro" panose="020B0503030403020204" pitchFamily="34" charset="0"/>
              </a:defRPr>
            </a:lvl1pPr>
          </a:lstStyle>
          <a:p>
            <a:r>
              <a:rPr lang="de-DE" dirty="0"/>
              <a:t>Seit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76233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81" r:id="rId8"/>
    <p:sldLayoutId id="2147483656" r:id="rId9"/>
    <p:sldLayoutId id="2147483682" r:id="rId10"/>
    <p:sldLayoutId id="2147483657" r:id="rId11"/>
    <p:sldLayoutId id="2147483658" r:id="rId12"/>
    <p:sldLayoutId id="2147483660" r:id="rId13"/>
    <p:sldLayoutId id="2147483663" r:id="rId14"/>
    <p:sldLayoutId id="2147483683" r:id="rId15"/>
    <p:sldLayoutId id="2147483668" r:id="rId16"/>
    <p:sldLayoutId id="2147483665" r:id="rId17"/>
    <p:sldLayoutId id="2147483671" r:id="rId18"/>
    <p:sldLayoutId id="2147483664" r:id="rId19"/>
    <p:sldLayoutId id="2147483667" r:id="rId20"/>
    <p:sldLayoutId id="2147483659" r:id="rId21"/>
    <p:sldLayoutId id="2147483678" r:id="rId22"/>
    <p:sldLayoutId id="2147483666" r:id="rId23"/>
    <p:sldLayoutId id="2147483669" r:id="rId24"/>
    <p:sldLayoutId id="2147483670" r:id="rId25"/>
    <p:sldLayoutId id="2147483672" r:id="rId26"/>
    <p:sldLayoutId id="2147483673" r:id="rId27"/>
    <p:sldLayoutId id="2147483684" r:id="rId28"/>
    <p:sldLayoutId id="2147483674" r:id="rId29"/>
    <p:sldLayoutId id="2147483675" r:id="rId30"/>
    <p:sldLayoutId id="2147483676" r:id="rId31"/>
    <p:sldLayoutId id="2147483679" r:id="rId32"/>
    <p:sldLayoutId id="2147483677" r:id="rId33"/>
    <p:sldLayoutId id="2147483680" r:id="rId34"/>
    <p:sldLayoutId id="2147483685" r:id="rId35"/>
  </p:sldLayoutIdLst>
  <p:hf hdr="0"/>
  <p:txStyles>
    <p:titleStyle>
      <a:lvl1pPr algn="l" defTabSz="914400" rtl="0" eaLnBrk="1" latinLnBrk="0" hangingPunct="1">
        <a:lnSpc>
          <a:spcPct val="110000"/>
        </a:lnSpc>
        <a:spcBef>
          <a:spcPct val="0"/>
        </a:spcBef>
        <a:buNone/>
        <a:defRPr sz="2400" b="1" i="0" kern="1200">
          <a:solidFill>
            <a:schemeClr val="accent2"/>
          </a:solidFill>
          <a:latin typeface="Myriad Pro" panose="020B0503030403020204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0"/>
        </a:spcBef>
        <a:spcAft>
          <a:spcPts val="1900"/>
        </a:spcAft>
        <a:buFont typeface="Arial" panose="020B0604020202020204" pitchFamily="34" charset="0"/>
        <a:buNone/>
        <a:defRPr sz="1600" b="1" i="0" kern="1200">
          <a:solidFill>
            <a:schemeClr val="accent1"/>
          </a:solidFill>
          <a:latin typeface="Myriad Pro" panose="020B0503030403020204" pitchFamily="34" charset="0"/>
          <a:ea typeface="+mn-ea"/>
          <a:cs typeface="+mn-cs"/>
        </a:defRPr>
      </a:lvl1pPr>
      <a:lvl2pPr marL="0" indent="0" algn="l" defTabSz="914400" rtl="0" eaLnBrk="1" latinLnBrk="0" hangingPunct="1">
        <a:lnSpc>
          <a:spcPct val="110000"/>
        </a:lnSpc>
        <a:spcBef>
          <a:spcPts val="0"/>
        </a:spcBef>
        <a:spcAft>
          <a:spcPts val="1900"/>
        </a:spcAft>
        <a:buFont typeface="Arial" panose="020B0604020202020204" pitchFamily="34" charset="0"/>
        <a:buNone/>
        <a:defRPr sz="1400" b="0" i="0" kern="1200">
          <a:solidFill>
            <a:schemeClr val="tx1"/>
          </a:solidFill>
          <a:latin typeface="Myriad Pro" panose="020B0503030403020204" pitchFamily="34" charset="0"/>
          <a:ea typeface="+mn-ea"/>
          <a:cs typeface="+mn-cs"/>
        </a:defRPr>
      </a:lvl2pPr>
      <a:lvl3pPr marL="0" indent="0" algn="l" defTabSz="914400" rtl="0" eaLnBrk="1" latinLnBrk="0" hangingPunct="1">
        <a:lnSpc>
          <a:spcPct val="110000"/>
        </a:lnSpc>
        <a:spcBef>
          <a:spcPts val="0"/>
        </a:spcBef>
        <a:buFont typeface="Arial" panose="020B0604020202020204" pitchFamily="34" charset="0"/>
        <a:buNone/>
        <a:defRPr sz="1400" b="1" i="0" kern="1200">
          <a:solidFill>
            <a:schemeClr val="tx1"/>
          </a:solidFill>
          <a:latin typeface="Myriad Pro" panose="020B0503030403020204" pitchFamily="34" charset="0"/>
          <a:ea typeface="+mn-ea"/>
          <a:cs typeface="+mn-cs"/>
        </a:defRPr>
      </a:lvl3pPr>
      <a:lvl4pPr marL="180000" indent="-180000" algn="l" defTabSz="914400" rtl="0" eaLnBrk="1" latinLnBrk="0" hangingPunct="1">
        <a:lnSpc>
          <a:spcPct val="110000"/>
        </a:lnSpc>
        <a:spcBef>
          <a:spcPts val="0"/>
        </a:spcBef>
        <a:buClr>
          <a:schemeClr val="accent1"/>
        </a:buClr>
        <a:buFont typeface="Wingdings" panose="05000000000000000000" pitchFamily="2" charset="2"/>
        <a:buChar char="§"/>
        <a:defRPr sz="1400" b="0" i="0" kern="1200">
          <a:solidFill>
            <a:schemeClr val="tx1"/>
          </a:solidFill>
          <a:latin typeface="Myriad Pro" panose="020B0503030403020204" pitchFamily="34" charset="0"/>
          <a:ea typeface="+mn-ea"/>
          <a:cs typeface="+mn-cs"/>
        </a:defRPr>
      </a:lvl4pPr>
      <a:lvl5pPr marL="360000" indent="-180000" algn="l" defTabSz="914400" rtl="0" eaLnBrk="1" latinLnBrk="0" hangingPunct="1">
        <a:lnSpc>
          <a:spcPct val="110000"/>
        </a:lnSpc>
        <a:spcBef>
          <a:spcPts val="0"/>
        </a:spcBef>
        <a:buClr>
          <a:schemeClr val="bg2"/>
        </a:buClr>
        <a:buFont typeface="Wingdings" panose="05000000000000000000" pitchFamily="2" charset="2"/>
        <a:buChar char="§"/>
        <a:defRPr sz="1400" b="0" i="0" kern="1200">
          <a:solidFill>
            <a:schemeClr val="tx1"/>
          </a:solidFill>
          <a:latin typeface="Myriad Pro" panose="020B0503030403020204" pitchFamily="34" charset="0"/>
          <a:ea typeface="+mn-ea"/>
          <a:cs typeface="+mn-cs"/>
        </a:defRPr>
      </a:lvl5pPr>
      <a:lvl6pPr marL="540000" indent="-180000" algn="l" defTabSz="914400" rtl="0" eaLnBrk="1" latinLnBrk="0" hangingPunct="1">
        <a:lnSpc>
          <a:spcPct val="110000"/>
        </a:lnSpc>
        <a:spcBef>
          <a:spcPts val="0"/>
        </a:spcBef>
        <a:buClr>
          <a:schemeClr val="bg2"/>
        </a:buClr>
        <a:buFont typeface="Wingdings" panose="05000000000000000000" pitchFamily="2" charset="2"/>
        <a:buChar char="§"/>
        <a:defRPr sz="1400" b="0" i="0" kern="1200">
          <a:solidFill>
            <a:schemeClr val="tx1"/>
          </a:solidFill>
          <a:latin typeface="Myriad Pro" panose="020B0503030403020204" pitchFamily="34" charset="0"/>
          <a:ea typeface="+mn-ea"/>
          <a:cs typeface="+mn-cs"/>
        </a:defRPr>
      </a:lvl6pPr>
      <a:lvl7pPr marL="216000" indent="-216000" algn="l" defTabSz="914400" rtl="0" eaLnBrk="1" latinLnBrk="0" hangingPunct="1">
        <a:lnSpc>
          <a:spcPct val="110000"/>
        </a:lnSpc>
        <a:spcBef>
          <a:spcPts val="0"/>
        </a:spcBef>
        <a:buClr>
          <a:schemeClr val="accent1"/>
        </a:buClr>
        <a:buFont typeface="+mj-lt"/>
        <a:buAutoNum type="arabicPeriod"/>
        <a:defRPr sz="1400" b="0" i="0" kern="1200">
          <a:solidFill>
            <a:schemeClr val="tx1"/>
          </a:solidFill>
          <a:latin typeface="Myriad Pro" panose="020B0503030403020204" pitchFamily="34" charset="0"/>
          <a:ea typeface="+mn-ea"/>
          <a:cs typeface="+mn-cs"/>
        </a:defRPr>
      </a:lvl7pPr>
      <a:lvl8pPr marL="432000" indent="-216000" algn="l" defTabSz="914400" rtl="0" eaLnBrk="1" latinLnBrk="0" hangingPunct="1">
        <a:lnSpc>
          <a:spcPct val="110000"/>
        </a:lnSpc>
        <a:spcBef>
          <a:spcPts val="0"/>
        </a:spcBef>
        <a:buClr>
          <a:schemeClr val="bg2"/>
        </a:buClr>
        <a:buFont typeface="+mj-lt"/>
        <a:buAutoNum type="alphaLcParenR"/>
        <a:defRPr sz="1400" b="0" i="0" kern="1200">
          <a:solidFill>
            <a:schemeClr val="tx1"/>
          </a:solidFill>
          <a:latin typeface="Myriad Pro" panose="020B0503030403020204" pitchFamily="34" charset="0"/>
          <a:ea typeface="+mn-ea"/>
          <a:cs typeface="+mn-cs"/>
        </a:defRPr>
      </a:lvl8pPr>
      <a:lvl9pPr marL="648000" indent="-216000" algn="l" defTabSz="914400" rtl="0" eaLnBrk="1" latinLnBrk="0" hangingPunct="1">
        <a:lnSpc>
          <a:spcPct val="110000"/>
        </a:lnSpc>
        <a:spcBef>
          <a:spcPts val="0"/>
        </a:spcBef>
        <a:buClr>
          <a:schemeClr val="bg2"/>
        </a:buClr>
        <a:buFont typeface="+mj-lt"/>
        <a:buAutoNum type="romanLcPeriod"/>
        <a:defRPr sz="1400" b="0" i="0" kern="1200">
          <a:solidFill>
            <a:schemeClr val="tx1"/>
          </a:solidFill>
          <a:latin typeface="Myriad Pro" panose="020B0503030403020204" pitchFamily="34" charset="0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02" userDrawn="1">
          <p15:clr>
            <a:srgbClr val="F26B43"/>
          </p15:clr>
        </p15:guide>
        <p15:guide id="2" pos="7378" userDrawn="1">
          <p15:clr>
            <a:srgbClr val="F26B43"/>
          </p15:clr>
        </p15:guide>
        <p15:guide id="3" orient="horz" pos="300" userDrawn="1">
          <p15:clr>
            <a:srgbClr val="F26B43"/>
          </p15:clr>
        </p15:guide>
        <p15:guide id="4" orient="horz" pos="4133" userDrawn="1">
          <p15:clr>
            <a:srgbClr val="F26B43"/>
          </p15:clr>
        </p15:guide>
        <p15:guide id="5" orient="horz" pos="3770" userDrawn="1">
          <p15:clr>
            <a:srgbClr val="F26B43"/>
          </p15:clr>
        </p15:guide>
        <p15:guide id="8" orient="horz" pos="1071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9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7.jpeg"/><Relationship Id="rId13" Type="http://schemas.openxmlformats.org/officeDocument/2006/relationships/image" Target="../media/image42.jpeg"/><Relationship Id="rId3" Type="http://schemas.openxmlformats.org/officeDocument/2006/relationships/image" Target="../media/image32.png"/><Relationship Id="rId7" Type="http://schemas.openxmlformats.org/officeDocument/2006/relationships/image" Target="../media/image36.png"/><Relationship Id="rId12" Type="http://schemas.openxmlformats.org/officeDocument/2006/relationships/image" Target="../media/image41.png"/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17.xml"/><Relationship Id="rId6" Type="http://schemas.openxmlformats.org/officeDocument/2006/relationships/image" Target="../media/image35.png"/><Relationship Id="rId11" Type="http://schemas.openxmlformats.org/officeDocument/2006/relationships/image" Target="../media/image40.png"/><Relationship Id="rId5" Type="http://schemas.openxmlformats.org/officeDocument/2006/relationships/image" Target="../media/image34.png"/><Relationship Id="rId10" Type="http://schemas.openxmlformats.org/officeDocument/2006/relationships/image" Target="../media/image39.png"/><Relationship Id="rId4" Type="http://schemas.openxmlformats.org/officeDocument/2006/relationships/image" Target="../media/image33.jpeg"/><Relationship Id="rId9" Type="http://schemas.openxmlformats.org/officeDocument/2006/relationships/image" Target="../media/image38.png"/><Relationship Id="rId14" Type="http://schemas.openxmlformats.org/officeDocument/2006/relationships/image" Target="../media/image6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diagramData" Target="../diagrams/data4.xml"/><Relationship Id="rId13" Type="http://schemas.openxmlformats.org/officeDocument/2006/relationships/image" Target="../media/image18.jpeg"/><Relationship Id="rId18" Type="http://schemas.openxmlformats.org/officeDocument/2006/relationships/image" Target="../media/image22.png"/><Relationship Id="rId3" Type="http://schemas.openxmlformats.org/officeDocument/2006/relationships/diagramData" Target="../diagrams/data3.xml"/><Relationship Id="rId7" Type="http://schemas.microsoft.com/office/2007/relationships/diagramDrawing" Target="../diagrams/drawing3.xml"/><Relationship Id="rId12" Type="http://schemas.microsoft.com/office/2007/relationships/diagramDrawing" Target="../diagrams/drawing4.xml"/><Relationship Id="rId17" Type="http://schemas.openxmlformats.org/officeDocument/2006/relationships/image" Target="../media/image21.png"/><Relationship Id="rId2" Type="http://schemas.openxmlformats.org/officeDocument/2006/relationships/notesSlide" Target="../notesSlides/notesSlide4.xml"/><Relationship Id="rId16" Type="http://schemas.openxmlformats.org/officeDocument/2006/relationships/image" Target="../media/image6.png"/><Relationship Id="rId20" Type="http://schemas.openxmlformats.org/officeDocument/2006/relationships/image" Target="../media/image24.gif"/><Relationship Id="rId1" Type="http://schemas.openxmlformats.org/officeDocument/2006/relationships/slideLayout" Target="../slideLayouts/slideLayout21.xml"/><Relationship Id="rId6" Type="http://schemas.openxmlformats.org/officeDocument/2006/relationships/diagramColors" Target="../diagrams/colors3.xml"/><Relationship Id="rId11" Type="http://schemas.openxmlformats.org/officeDocument/2006/relationships/diagramColors" Target="../diagrams/colors4.xml"/><Relationship Id="rId5" Type="http://schemas.openxmlformats.org/officeDocument/2006/relationships/diagramQuickStyle" Target="../diagrams/quickStyle3.xml"/><Relationship Id="rId15" Type="http://schemas.openxmlformats.org/officeDocument/2006/relationships/image" Target="../media/image20.tiff"/><Relationship Id="rId10" Type="http://schemas.openxmlformats.org/officeDocument/2006/relationships/diagramQuickStyle" Target="../diagrams/quickStyle4.xml"/><Relationship Id="rId19" Type="http://schemas.openxmlformats.org/officeDocument/2006/relationships/image" Target="../media/image23.png"/><Relationship Id="rId4" Type="http://schemas.openxmlformats.org/officeDocument/2006/relationships/diagramLayout" Target="../diagrams/layout3.xml"/><Relationship Id="rId9" Type="http://schemas.openxmlformats.org/officeDocument/2006/relationships/diagramLayout" Target="../diagrams/layout4.xml"/><Relationship Id="rId14" Type="http://schemas.openxmlformats.org/officeDocument/2006/relationships/image" Target="../media/image19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1.xml"/><Relationship Id="rId5" Type="http://schemas.openxmlformats.org/officeDocument/2006/relationships/image" Target="../media/image44.png"/><Relationship Id="rId4" Type="http://schemas.openxmlformats.org/officeDocument/2006/relationships/image" Target="../media/image43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1.xml"/><Relationship Id="rId5" Type="http://schemas.openxmlformats.org/officeDocument/2006/relationships/image" Target="../media/image46.png"/><Relationship Id="rId4" Type="http://schemas.openxmlformats.org/officeDocument/2006/relationships/image" Target="../media/image6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1.xml"/><Relationship Id="rId4" Type="http://schemas.openxmlformats.org/officeDocument/2006/relationships/image" Target="../media/image6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21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1.xml"/><Relationship Id="rId4" Type="http://schemas.openxmlformats.org/officeDocument/2006/relationships/image" Target="../media/image6.pn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image" Target="../media/image50.png"/><Relationship Id="rId7" Type="http://schemas.openxmlformats.org/officeDocument/2006/relationships/image" Target="../media/image54.png"/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21.xml"/><Relationship Id="rId6" Type="http://schemas.openxmlformats.org/officeDocument/2006/relationships/image" Target="../media/image53.png"/><Relationship Id="rId5" Type="http://schemas.openxmlformats.org/officeDocument/2006/relationships/image" Target="../media/image52.png"/><Relationship Id="rId4" Type="http://schemas.openxmlformats.org/officeDocument/2006/relationships/image" Target="../media/image51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5.png"/><Relationship Id="rId1" Type="http://schemas.openxmlformats.org/officeDocument/2006/relationships/slideLayout" Target="../slideLayouts/slideLayout21.xml"/><Relationship Id="rId6" Type="http://schemas.openxmlformats.org/officeDocument/2006/relationships/image" Target="../media/image58.png"/><Relationship Id="rId5" Type="http://schemas.openxmlformats.org/officeDocument/2006/relationships/image" Target="../media/image57.png"/><Relationship Id="rId4" Type="http://schemas.openxmlformats.org/officeDocument/2006/relationships/image" Target="../media/image56.png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62.svg"/><Relationship Id="rId13" Type="http://schemas.openxmlformats.org/officeDocument/2006/relationships/image" Target="../media/image67.png"/><Relationship Id="rId18" Type="http://schemas.openxmlformats.org/officeDocument/2006/relationships/image" Target="../media/image72.svg"/><Relationship Id="rId3" Type="http://schemas.openxmlformats.org/officeDocument/2006/relationships/slideLayout" Target="../slideLayouts/slideLayout21.xml"/><Relationship Id="rId7" Type="http://schemas.openxmlformats.org/officeDocument/2006/relationships/image" Target="../media/image61.png"/><Relationship Id="rId12" Type="http://schemas.openxmlformats.org/officeDocument/2006/relationships/image" Target="../media/image66.svg"/><Relationship Id="rId17" Type="http://schemas.openxmlformats.org/officeDocument/2006/relationships/image" Target="../media/image71.png"/><Relationship Id="rId2" Type="http://schemas.openxmlformats.org/officeDocument/2006/relationships/tags" Target="../tags/tag38.xml"/><Relationship Id="rId16" Type="http://schemas.openxmlformats.org/officeDocument/2006/relationships/image" Target="../media/image70.svg"/><Relationship Id="rId1" Type="http://schemas.openxmlformats.org/officeDocument/2006/relationships/tags" Target="../tags/tag37.xml"/><Relationship Id="rId6" Type="http://schemas.openxmlformats.org/officeDocument/2006/relationships/image" Target="../media/image6.png"/><Relationship Id="rId11" Type="http://schemas.openxmlformats.org/officeDocument/2006/relationships/image" Target="../media/image65.png"/><Relationship Id="rId5" Type="http://schemas.openxmlformats.org/officeDocument/2006/relationships/image" Target="../media/image60.png"/><Relationship Id="rId15" Type="http://schemas.openxmlformats.org/officeDocument/2006/relationships/image" Target="../media/image69.png"/><Relationship Id="rId10" Type="http://schemas.openxmlformats.org/officeDocument/2006/relationships/image" Target="../media/image64.svg"/><Relationship Id="rId4" Type="http://schemas.openxmlformats.org/officeDocument/2006/relationships/image" Target="../media/image59.png"/><Relationship Id="rId9" Type="http://schemas.openxmlformats.org/officeDocument/2006/relationships/image" Target="../media/image63.png"/><Relationship Id="rId14" Type="http://schemas.openxmlformats.org/officeDocument/2006/relationships/image" Target="../media/image68.sv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1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73.png"/><Relationship Id="rId1" Type="http://schemas.openxmlformats.org/officeDocument/2006/relationships/slideLayout" Target="../slideLayouts/slideLayout21.xml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diagramData" Target="../diagrams/data6.xml"/><Relationship Id="rId13" Type="http://schemas.openxmlformats.org/officeDocument/2006/relationships/image" Target="../media/image18.jpeg"/><Relationship Id="rId18" Type="http://schemas.openxmlformats.org/officeDocument/2006/relationships/image" Target="../media/image22.png"/><Relationship Id="rId3" Type="http://schemas.openxmlformats.org/officeDocument/2006/relationships/diagramData" Target="../diagrams/data5.xml"/><Relationship Id="rId7" Type="http://schemas.microsoft.com/office/2007/relationships/diagramDrawing" Target="../diagrams/drawing5.xml"/><Relationship Id="rId12" Type="http://schemas.microsoft.com/office/2007/relationships/diagramDrawing" Target="../diagrams/drawing6.xml"/><Relationship Id="rId17" Type="http://schemas.openxmlformats.org/officeDocument/2006/relationships/image" Target="../media/image21.png"/><Relationship Id="rId2" Type="http://schemas.openxmlformats.org/officeDocument/2006/relationships/notesSlide" Target="../notesSlides/notesSlide9.xml"/><Relationship Id="rId16" Type="http://schemas.openxmlformats.org/officeDocument/2006/relationships/image" Target="../media/image6.png"/><Relationship Id="rId20" Type="http://schemas.openxmlformats.org/officeDocument/2006/relationships/image" Target="../media/image24.gif"/><Relationship Id="rId1" Type="http://schemas.openxmlformats.org/officeDocument/2006/relationships/slideLayout" Target="../slideLayouts/slideLayout21.xml"/><Relationship Id="rId6" Type="http://schemas.openxmlformats.org/officeDocument/2006/relationships/diagramColors" Target="../diagrams/colors5.xml"/><Relationship Id="rId11" Type="http://schemas.openxmlformats.org/officeDocument/2006/relationships/diagramColors" Target="../diagrams/colors6.xml"/><Relationship Id="rId5" Type="http://schemas.openxmlformats.org/officeDocument/2006/relationships/diagramQuickStyle" Target="../diagrams/quickStyle5.xml"/><Relationship Id="rId15" Type="http://schemas.openxmlformats.org/officeDocument/2006/relationships/image" Target="../media/image20.tiff"/><Relationship Id="rId10" Type="http://schemas.openxmlformats.org/officeDocument/2006/relationships/diagramQuickStyle" Target="../diagrams/quickStyle6.xml"/><Relationship Id="rId19" Type="http://schemas.openxmlformats.org/officeDocument/2006/relationships/image" Target="../media/image23.png"/><Relationship Id="rId4" Type="http://schemas.openxmlformats.org/officeDocument/2006/relationships/diagramLayout" Target="../diagrams/layout5.xml"/><Relationship Id="rId9" Type="http://schemas.openxmlformats.org/officeDocument/2006/relationships/diagramLayout" Target="../diagrams/layout6.xml"/><Relationship Id="rId14" Type="http://schemas.openxmlformats.org/officeDocument/2006/relationships/image" Target="../media/image19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4.jpeg"/><Relationship Id="rId7" Type="http://schemas.openxmlformats.org/officeDocument/2006/relationships/image" Target="../media/image77.jpe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1.xml"/><Relationship Id="rId6" Type="http://schemas.openxmlformats.org/officeDocument/2006/relationships/image" Target="../media/image76.jpeg"/><Relationship Id="rId5" Type="http://schemas.openxmlformats.org/officeDocument/2006/relationships/image" Target="../media/image6.png"/><Relationship Id="rId4" Type="http://schemas.openxmlformats.org/officeDocument/2006/relationships/image" Target="../media/image75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9.png"/><Relationship Id="rId7" Type="http://schemas.openxmlformats.org/officeDocument/2006/relationships/image" Target="../media/image6.png"/><Relationship Id="rId2" Type="http://schemas.openxmlformats.org/officeDocument/2006/relationships/image" Target="../media/image78.png"/><Relationship Id="rId1" Type="http://schemas.openxmlformats.org/officeDocument/2006/relationships/slideLayout" Target="../slideLayouts/slideLayout21.xml"/><Relationship Id="rId6" Type="http://schemas.openxmlformats.org/officeDocument/2006/relationships/image" Target="../media/image82.jpeg"/><Relationship Id="rId5" Type="http://schemas.openxmlformats.org/officeDocument/2006/relationships/image" Target="../media/image81.png"/><Relationship Id="rId4" Type="http://schemas.openxmlformats.org/officeDocument/2006/relationships/image" Target="../media/image80.jpe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3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1.xml"/><Relationship Id="rId6" Type="http://schemas.openxmlformats.org/officeDocument/2006/relationships/image" Target="../media/image6.png"/><Relationship Id="rId5" Type="http://schemas.openxmlformats.org/officeDocument/2006/relationships/image" Target="../media/image85.png"/><Relationship Id="rId4" Type="http://schemas.openxmlformats.org/officeDocument/2006/relationships/image" Target="../media/image84.svg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image" Target="../media/image78.png"/><Relationship Id="rId7" Type="http://schemas.openxmlformats.org/officeDocument/2006/relationships/image" Target="../media/image86.jpeg"/><Relationship Id="rId2" Type="http://schemas.openxmlformats.org/officeDocument/2006/relationships/image" Target="../media/image79.png"/><Relationship Id="rId1" Type="http://schemas.openxmlformats.org/officeDocument/2006/relationships/slideLayout" Target="../slideLayouts/slideLayout21.xml"/><Relationship Id="rId6" Type="http://schemas.openxmlformats.org/officeDocument/2006/relationships/image" Target="../media/image82.jpeg"/><Relationship Id="rId5" Type="http://schemas.openxmlformats.org/officeDocument/2006/relationships/image" Target="../media/image81.png"/><Relationship Id="rId4" Type="http://schemas.openxmlformats.org/officeDocument/2006/relationships/image" Target="../media/image80.jpeg"/><Relationship Id="rId9" Type="http://schemas.openxmlformats.org/officeDocument/2006/relationships/image" Target="../media/image87.png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90.png"/><Relationship Id="rId13" Type="http://schemas.openxmlformats.org/officeDocument/2006/relationships/image" Target="../media/image6.png"/><Relationship Id="rId3" Type="http://schemas.openxmlformats.org/officeDocument/2006/relationships/tags" Target="../tags/tag41.xml"/><Relationship Id="rId7" Type="http://schemas.openxmlformats.org/officeDocument/2006/relationships/image" Target="../media/image89.jpeg"/><Relationship Id="rId12" Type="http://schemas.openxmlformats.org/officeDocument/2006/relationships/image" Target="../media/image94.jpeg"/><Relationship Id="rId2" Type="http://schemas.openxmlformats.org/officeDocument/2006/relationships/tags" Target="../tags/tag40.xml"/><Relationship Id="rId1" Type="http://schemas.openxmlformats.org/officeDocument/2006/relationships/tags" Target="../tags/tag39.xml"/><Relationship Id="rId6" Type="http://schemas.openxmlformats.org/officeDocument/2006/relationships/image" Target="../media/image88.png"/><Relationship Id="rId11" Type="http://schemas.openxmlformats.org/officeDocument/2006/relationships/image" Target="../media/image93.png"/><Relationship Id="rId5" Type="http://schemas.openxmlformats.org/officeDocument/2006/relationships/notesSlide" Target="../notesSlides/notesSlide12.xml"/><Relationship Id="rId10" Type="http://schemas.openxmlformats.org/officeDocument/2006/relationships/image" Target="../media/image92.png"/><Relationship Id="rId4" Type="http://schemas.openxmlformats.org/officeDocument/2006/relationships/slideLayout" Target="../slideLayouts/slideLayout21.xml"/><Relationship Id="rId9" Type="http://schemas.openxmlformats.org/officeDocument/2006/relationships/image" Target="../media/image91.jpe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1.xml"/><Relationship Id="rId2" Type="http://schemas.openxmlformats.org/officeDocument/2006/relationships/tags" Target="../tags/tag43.xml"/><Relationship Id="rId1" Type="http://schemas.openxmlformats.org/officeDocument/2006/relationships/tags" Target="../tags/tag42.xml"/><Relationship Id="rId5" Type="http://schemas.openxmlformats.org/officeDocument/2006/relationships/image" Target="../media/image6.png"/><Relationship Id="rId4" Type="http://schemas.openxmlformats.org/officeDocument/2006/relationships/image" Target="../media/image95.png"/></Relationships>
</file>

<file path=ppt/slides/_rels/slide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image" Target="../media/image97.jpeg"/><Relationship Id="rId7" Type="http://schemas.openxmlformats.org/officeDocument/2006/relationships/image" Target="../media/image101.jpeg"/><Relationship Id="rId2" Type="http://schemas.openxmlformats.org/officeDocument/2006/relationships/image" Target="../media/image96.jpeg"/><Relationship Id="rId1" Type="http://schemas.openxmlformats.org/officeDocument/2006/relationships/slideLayout" Target="../slideLayouts/slideLayout17.xml"/><Relationship Id="rId6" Type="http://schemas.openxmlformats.org/officeDocument/2006/relationships/image" Target="../media/image100.jpeg"/><Relationship Id="rId5" Type="http://schemas.openxmlformats.org/officeDocument/2006/relationships/image" Target="../media/image99.jpeg"/><Relationship Id="rId4" Type="http://schemas.openxmlformats.org/officeDocument/2006/relationships/image" Target="../media/image98.jpeg"/></Relationships>
</file>

<file path=ppt/slides/_rels/slide29.xml.rels><?xml version="1.0" encoding="UTF-8" standalone="yes"?>
<Relationships xmlns="http://schemas.openxmlformats.org/package/2006/relationships"><Relationship Id="rId8" Type="http://schemas.openxmlformats.org/officeDocument/2006/relationships/diagramData" Target="../diagrams/data8.xml"/><Relationship Id="rId13" Type="http://schemas.openxmlformats.org/officeDocument/2006/relationships/image" Target="../media/image18.jpeg"/><Relationship Id="rId18" Type="http://schemas.openxmlformats.org/officeDocument/2006/relationships/image" Target="../media/image22.png"/><Relationship Id="rId3" Type="http://schemas.openxmlformats.org/officeDocument/2006/relationships/diagramData" Target="../diagrams/data7.xml"/><Relationship Id="rId7" Type="http://schemas.microsoft.com/office/2007/relationships/diagramDrawing" Target="../diagrams/drawing7.xml"/><Relationship Id="rId12" Type="http://schemas.microsoft.com/office/2007/relationships/diagramDrawing" Target="../diagrams/drawing8.xml"/><Relationship Id="rId17" Type="http://schemas.openxmlformats.org/officeDocument/2006/relationships/image" Target="../media/image21.png"/><Relationship Id="rId2" Type="http://schemas.openxmlformats.org/officeDocument/2006/relationships/notesSlide" Target="../notesSlides/notesSlide13.xml"/><Relationship Id="rId16" Type="http://schemas.openxmlformats.org/officeDocument/2006/relationships/image" Target="../media/image6.png"/><Relationship Id="rId20" Type="http://schemas.openxmlformats.org/officeDocument/2006/relationships/image" Target="../media/image24.gif"/><Relationship Id="rId1" Type="http://schemas.openxmlformats.org/officeDocument/2006/relationships/slideLayout" Target="../slideLayouts/slideLayout21.xml"/><Relationship Id="rId6" Type="http://schemas.openxmlformats.org/officeDocument/2006/relationships/diagramColors" Target="../diagrams/colors7.xml"/><Relationship Id="rId11" Type="http://schemas.openxmlformats.org/officeDocument/2006/relationships/diagramColors" Target="../diagrams/colors8.xml"/><Relationship Id="rId5" Type="http://schemas.openxmlformats.org/officeDocument/2006/relationships/diagramQuickStyle" Target="../diagrams/quickStyle7.xml"/><Relationship Id="rId15" Type="http://schemas.openxmlformats.org/officeDocument/2006/relationships/image" Target="../media/image20.tiff"/><Relationship Id="rId10" Type="http://schemas.openxmlformats.org/officeDocument/2006/relationships/diagramQuickStyle" Target="../diagrams/quickStyle8.xml"/><Relationship Id="rId19" Type="http://schemas.openxmlformats.org/officeDocument/2006/relationships/image" Target="../media/image23.png"/><Relationship Id="rId4" Type="http://schemas.openxmlformats.org/officeDocument/2006/relationships/diagramLayout" Target="../diagrams/layout7.xml"/><Relationship Id="rId9" Type="http://schemas.openxmlformats.org/officeDocument/2006/relationships/diagramLayout" Target="../diagrams/layout8.xml"/><Relationship Id="rId14" Type="http://schemas.openxmlformats.org/officeDocument/2006/relationships/image" Target="../media/image19.pn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11.xml"/></Relationships>
</file>

<file path=ppt/slides/_rels/slide30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image" Target="../media/image920.png"/><Relationship Id="rId7" Type="http://schemas.openxmlformats.org/officeDocument/2006/relationships/image" Target="../media/image105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1.xml"/><Relationship Id="rId6" Type="http://schemas.openxmlformats.org/officeDocument/2006/relationships/image" Target="../media/image104.png"/><Relationship Id="rId5" Type="http://schemas.openxmlformats.org/officeDocument/2006/relationships/image" Target="../media/image103.png"/><Relationship Id="rId4" Type="http://schemas.openxmlformats.org/officeDocument/2006/relationships/image" Target="../media/image102.png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06.png"/><Relationship Id="rId1" Type="http://schemas.openxmlformats.org/officeDocument/2006/relationships/slideLayout" Target="../slideLayouts/slideLayout21.xml"/></Relationships>
</file>

<file path=ppt/slides/_rels/slide3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image" Target="../media/image108.png"/><Relationship Id="rId7" Type="http://schemas.openxmlformats.org/officeDocument/2006/relationships/image" Target="../media/image112.jpeg"/><Relationship Id="rId2" Type="http://schemas.openxmlformats.org/officeDocument/2006/relationships/image" Target="../media/image107.jpeg"/><Relationship Id="rId1" Type="http://schemas.openxmlformats.org/officeDocument/2006/relationships/slideLayout" Target="../slideLayouts/slideLayout21.xml"/><Relationship Id="rId6" Type="http://schemas.openxmlformats.org/officeDocument/2006/relationships/image" Target="../media/image111.png"/><Relationship Id="rId5" Type="http://schemas.openxmlformats.org/officeDocument/2006/relationships/image" Target="../media/image110.png"/><Relationship Id="rId4" Type="http://schemas.openxmlformats.org/officeDocument/2006/relationships/image" Target="../media/image109.png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4.png"/><Relationship Id="rId7" Type="http://schemas.openxmlformats.org/officeDocument/2006/relationships/image" Target="../media/image6.png"/><Relationship Id="rId2" Type="http://schemas.openxmlformats.org/officeDocument/2006/relationships/image" Target="../media/image113.png"/><Relationship Id="rId1" Type="http://schemas.openxmlformats.org/officeDocument/2006/relationships/slideLayout" Target="../slideLayouts/slideLayout21.xml"/><Relationship Id="rId6" Type="http://schemas.openxmlformats.org/officeDocument/2006/relationships/image" Target="../media/image117.png"/><Relationship Id="rId5" Type="http://schemas.openxmlformats.org/officeDocument/2006/relationships/image" Target="../media/image116.png"/><Relationship Id="rId4" Type="http://schemas.openxmlformats.org/officeDocument/2006/relationships/image" Target="../media/image115.png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18.png"/><Relationship Id="rId1" Type="http://schemas.openxmlformats.org/officeDocument/2006/relationships/slideLayout" Target="../slideLayouts/slideLayout21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0.svg"/><Relationship Id="rId2" Type="http://schemas.openxmlformats.org/officeDocument/2006/relationships/image" Target="../media/image119.png"/><Relationship Id="rId1" Type="http://schemas.openxmlformats.org/officeDocument/2006/relationships/slideLayout" Target="../slideLayouts/slideLayout21.xml"/><Relationship Id="rId5" Type="http://schemas.openxmlformats.org/officeDocument/2006/relationships/image" Target="../media/image6.png"/><Relationship Id="rId4" Type="http://schemas.openxmlformats.org/officeDocument/2006/relationships/image" Target="../media/image115.png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1.xml"/><Relationship Id="rId5" Type="http://schemas.openxmlformats.org/officeDocument/2006/relationships/image" Target="../media/image122.png"/><Relationship Id="rId4" Type="http://schemas.openxmlformats.org/officeDocument/2006/relationships/image" Target="../media/image121.png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3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1.xml"/><Relationship Id="rId4" Type="http://schemas.openxmlformats.org/officeDocument/2006/relationships/image" Target="../media/image6.png"/></Relationships>
</file>

<file path=ppt/slides/_rels/slide3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0.jpeg"/><Relationship Id="rId3" Type="http://schemas.openxmlformats.org/officeDocument/2006/relationships/image" Target="../media/image125.jpeg"/><Relationship Id="rId7" Type="http://schemas.openxmlformats.org/officeDocument/2006/relationships/image" Target="../media/image129.png"/><Relationship Id="rId2" Type="http://schemas.openxmlformats.org/officeDocument/2006/relationships/image" Target="../media/image124.png"/><Relationship Id="rId1" Type="http://schemas.openxmlformats.org/officeDocument/2006/relationships/slideLayout" Target="../slideLayouts/slideLayout21.xml"/><Relationship Id="rId6" Type="http://schemas.openxmlformats.org/officeDocument/2006/relationships/image" Target="../media/image128.png"/><Relationship Id="rId11" Type="http://schemas.openxmlformats.org/officeDocument/2006/relationships/image" Target="../media/image6.png"/><Relationship Id="rId5" Type="http://schemas.openxmlformats.org/officeDocument/2006/relationships/image" Target="../media/image127.png"/><Relationship Id="rId10" Type="http://schemas.openxmlformats.org/officeDocument/2006/relationships/image" Target="../media/image132.png"/><Relationship Id="rId4" Type="http://schemas.openxmlformats.org/officeDocument/2006/relationships/image" Target="../media/image126.png"/><Relationship Id="rId9" Type="http://schemas.openxmlformats.org/officeDocument/2006/relationships/image" Target="../media/image131.png"/></Relationships>
</file>

<file path=ppt/slides/_rels/slide39.xml.rels><?xml version="1.0" encoding="UTF-8" standalone="yes"?>
<Relationships xmlns="http://schemas.openxmlformats.org/package/2006/relationships"><Relationship Id="rId13" Type="http://schemas.openxmlformats.org/officeDocument/2006/relationships/image" Target="../media/image143.jpeg"/><Relationship Id="rId18" Type="http://schemas.openxmlformats.org/officeDocument/2006/relationships/image" Target="../media/image148.png"/><Relationship Id="rId26" Type="http://schemas.openxmlformats.org/officeDocument/2006/relationships/image" Target="../media/image156.png"/><Relationship Id="rId39" Type="http://schemas.openxmlformats.org/officeDocument/2006/relationships/image" Target="../media/image6.png"/><Relationship Id="rId21" Type="http://schemas.openxmlformats.org/officeDocument/2006/relationships/image" Target="../media/image151.jpeg"/><Relationship Id="rId34" Type="http://schemas.openxmlformats.org/officeDocument/2006/relationships/image" Target="../media/image164.jpeg"/><Relationship Id="rId7" Type="http://schemas.openxmlformats.org/officeDocument/2006/relationships/image" Target="../media/image137.jpeg"/><Relationship Id="rId12" Type="http://schemas.openxmlformats.org/officeDocument/2006/relationships/image" Target="../media/image142.png"/><Relationship Id="rId17" Type="http://schemas.openxmlformats.org/officeDocument/2006/relationships/image" Target="../media/image147.jpeg"/><Relationship Id="rId25" Type="http://schemas.openxmlformats.org/officeDocument/2006/relationships/image" Target="../media/image155.jpeg"/><Relationship Id="rId33" Type="http://schemas.openxmlformats.org/officeDocument/2006/relationships/image" Target="../media/image163.png"/><Relationship Id="rId38" Type="http://schemas.openxmlformats.org/officeDocument/2006/relationships/image" Target="../media/image168.jpeg"/><Relationship Id="rId2" Type="http://schemas.openxmlformats.org/officeDocument/2006/relationships/notesSlide" Target="../notesSlides/notesSlide17.xml"/><Relationship Id="rId16" Type="http://schemas.openxmlformats.org/officeDocument/2006/relationships/image" Target="../media/image146.png"/><Relationship Id="rId20" Type="http://schemas.openxmlformats.org/officeDocument/2006/relationships/image" Target="../media/image150.png"/><Relationship Id="rId29" Type="http://schemas.openxmlformats.org/officeDocument/2006/relationships/image" Target="../media/image159.png"/><Relationship Id="rId1" Type="http://schemas.openxmlformats.org/officeDocument/2006/relationships/slideLayout" Target="../slideLayouts/slideLayout21.xml"/><Relationship Id="rId6" Type="http://schemas.openxmlformats.org/officeDocument/2006/relationships/image" Target="../media/image136.png"/><Relationship Id="rId11" Type="http://schemas.openxmlformats.org/officeDocument/2006/relationships/image" Target="../media/image141.jpeg"/><Relationship Id="rId24" Type="http://schemas.openxmlformats.org/officeDocument/2006/relationships/image" Target="../media/image154.png"/><Relationship Id="rId32" Type="http://schemas.openxmlformats.org/officeDocument/2006/relationships/image" Target="../media/image162.jpeg"/><Relationship Id="rId37" Type="http://schemas.openxmlformats.org/officeDocument/2006/relationships/image" Target="../media/image167.png"/><Relationship Id="rId5" Type="http://schemas.openxmlformats.org/officeDocument/2006/relationships/image" Target="../media/image135.jpeg"/><Relationship Id="rId15" Type="http://schemas.openxmlformats.org/officeDocument/2006/relationships/image" Target="../media/image145.jpeg"/><Relationship Id="rId23" Type="http://schemas.openxmlformats.org/officeDocument/2006/relationships/image" Target="../media/image153.jpeg"/><Relationship Id="rId28" Type="http://schemas.openxmlformats.org/officeDocument/2006/relationships/image" Target="../media/image158.jpeg"/><Relationship Id="rId36" Type="http://schemas.openxmlformats.org/officeDocument/2006/relationships/image" Target="../media/image166.jpeg"/><Relationship Id="rId10" Type="http://schemas.openxmlformats.org/officeDocument/2006/relationships/image" Target="../media/image140.png"/><Relationship Id="rId19" Type="http://schemas.openxmlformats.org/officeDocument/2006/relationships/image" Target="../media/image149.jpeg"/><Relationship Id="rId31" Type="http://schemas.openxmlformats.org/officeDocument/2006/relationships/image" Target="../media/image161.png"/><Relationship Id="rId4" Type="http://schemas.openxmlformats.org/officeDocument/2006/relationships/image" Target="../media/image134.png"/><Relationship Id="rId9" Type="http://schemas.openxmlformats.org/officeDocument/2006/relationships/image" Target="../media/image139.jpeg"/><Relationship Id="rId14" Type="http://schemas.openxmlformats.org/officeDocument/2006/relationships/image" Target="../media/image144.png"/><Relationship Id="rId22" Type="http://schemas.openxmlformats.org/officeDocument/2006/relationships/image" Target="../media/image152.png"/><Relationship Id="rId27" Type="http://schemas.openxmlformats.org/officeDocument/2006/relationships/image" Target="../media/image157.png"/><Relationship Id="rId30" Type="http://schemas.openxmlformats.org/officeDocument/2006/relationships/image" Target="../media/image160.jpeg"/><Relationship Id="rId35" Type="http://schemas.openxmlformats.org/officeDocument/2006/relationships/image" Target="../media/image165.png"/><Relationship Id="rId8" Type="http://schemas.openxmlformats.org/officeDocument/2006/relationships/image" Target="../media/image138.png"/><Relationship Id="rId3" Type="http://schemas.openxmlformats.org/officeDocument/2006/relationships/image" Target="../media/image133.jpe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7" Type="http://schemas.openxmlformats.org/officeDocument/2006/relationships/image" Target="../media/image12.jpeg"/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18.xml"/><Relationship Id="rId6" Type="http://schemas.openxmlformats.org/officeDocument/2006/relationships/image" Target="../media/image6.png"/><Relationship Id="rId5" Type="http://schemas.openxmlformats.org/officeDocument/2006/relationships/image" Target="../media/image11.jpeg"/><Relationship Id="rId4" Type="http://schemas.openxmlformats.org/officeDocument/2006/relationships/image" Target="../media/image10.jpeg"/></Relationships>
</file>

<file path=ppt/slides/_rels/slide40.xml.rels><?xml version="1.0" encoding="UTF-8" standalone="yes"?>
<Relationships xmlns="http://schemas.openxmlformats.org/package/2006/relationships"><Relationship Id="rId8" Type="http://schemas.openxmlformats.org/officeDocument/2006/relationships/diagramData" Target="../diagrams/data10.xml"/><Relationship Id="rId13" Type="http://schemas.openxmlformats.org/officeDocument/2006/relationships/image" Target="../media/image18.jpeg"/><Relationship Id="rId18" Type="http://schemas.openxmlformats.org/officeDocument/2006/relationships/image" Target="../media/image23.png"/><Relationship Id="rId3" Type="http://schemas.openxmlformats.org/officeDocument/2006/relationships/diagramData" Target="../diagrams/data9.xml"/><Relationship Id="rId7" Type="http://schemas.microsoft.com/office/2007/relationships/diagramDrawing" Target="../diagrams/drawing9.xml"/><Relationship Id="rId12" Type="http://schemas.microsoft.com/office/2007/relationships/diagramDrawing" Target="../diagrams/drawing10.xml"/><Relationship Id="rId17" Type="http://schemas.openxmlformats.org/officeDocument/2006/relationships/image" Target="../media/image22.png"/><Relationship Id="rId2" Type="http://schemas.openxmlformats.org/officeDocument/2006/relationships/notesSlide" Target="../notesSlides/notesSlide18.xml"/><Relationship Id="rId16" Type="http://schemas.openxmlformats.org/officeDocument/2006/relationships/image" Target="../media/image21.png"/><Relationship Id="rId20" Type="http://schemas.openxmlformats.org/officeDocument/2006/relationships/image" Target="../media/image6.png"/><Relationship Id="rId1" Type="http://schemas.openxmlformats.org/officeDocument/2006/relationships/slideLayout" Target="../slideLayouts/slideLayout21.xml"/><Relationship Id="rId6" Type="http://schemas.openxmlformats.org/officeDocument/2006/relationships/diagramColors" Target="../diagrams/colors9.xml"/><Relationship Id="rId11" Type="http://schemas.openxmlformats.org/officeDocument/2006/relationships/diagramColors" Target="../diagrams/colors10.xml"/><Relationship Id="rId5" Type="http://schemas.openxmlformats.org/officeDocument/2006/relationships/diagramQuickStyle" Target="../diagrams/quickStyle9.xml"/><Relationship Id="rId15" Type="http://schemas.openxmlformats.org/officeDocument/2006/relationships/image" Target="../media/image20.tiff"/><Relationship Id="rId10" Type="http://schemas.openxmlformats.org/officeDocument/2006/relationships/diagramQuickStyle" Target="../diagrams/quickStyle10.xml"/><Relationship Id="rId19" Type="http://schemas.openxmlformats.org/officeDocument/2006/relationships/image" Target="../media/image24.gif"/><Relationship Id="rId4" Type="http://schemas.openxmlformats.org/officeDocument/2006/relationships/diagramLayout" Target="../diagrams/layout9.xml"/><Relationship Id="rId9" Type="http://schemas.openxmlformats.org/officeDocument/2006/relationships/diagramLayout" Target="../diagrams/layout10.xml"/><Relationship Id="rId14" Type="http://schemas.openxmlformats.org/officeDocument/2006/relationships/image" Target="../media/image19.png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9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1.xml"/><Relationship Id="rId5" Type="http://schemas.openxmlformats.org/officeDocument/2006/relationships/image" Target="../media/image171.png"/><Relationship Id="rId4" Type="http://schemas.openxmlformats.org/officeDocument/2006/relationships/image" Target="../media/image170.png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3.png"/><Relationship Id="rId7" Type="http://schemas.openxmlformats.org/officeDocument/2006/relationships/image" Target="../media/image6.png"/><Relationship Id="rId2" Type="http://schemas.openxmlformats.org/officeDocument/2006/relationships/image" Target="../media/image172.png"/><Relationship Id="rId1" Type="http://schemas.openxmlformats.org/officeDocument/2006/relationships/slideLayout" Target="../slideLayouts/slideLayout21.xml"/><Relationship Id="rId6" Type="http://schemas.openxmlformats.org/officeDocument/2006/relationships/image" Target="../media/image176.png"/><Relationship Id="rId5" Type="http://schemas.openxmlformats.org/officeDocument/2006/relationships/image" Target="../media/image175.png"/><Relationship Id="rId4" Type="http://schemas.openxmlformats.org/officeDocument/2006/relationships/image" Target="../media/image174.png"/></Relationships>
</file>

<file path=ppt/slides/_rels/slide4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50.png"/><Relationship Id="rId13" Type="http://schemas.openxmlformats.org/officeDocument/2006/relationships/image" Target="../media/image6.png"/><Relationship Id="rId3" Type="http://schemas.openxmlformats.org/officeDocument/2006/relationships/image" Target="../media/image178.png"/><Relationship Id="rId7" Type="http://schemas.openxmlformats.org/officeDocument/2006/relationships/image" Target="../media/image1340.png"/><Relationship Id="rId12" Type="http://schemas.openxmlformats.org/officeDocument/2006/relationships/image" Target="../media/image1390.png"/><Relationship Id="rId2" Type="http://schemas.openxmlformats.org/officeDocument/2006/relationships/image" Target="../media/image177.png"/><Relationship Id="rId1" Type="http://schemas.openxmlformats.org/officeDocument/2006/relationships/slideLayout" Target="../slideLayouts/slideLayout21.xml"/><Relationship Id="rId6" Type="http://schemas.openxmlformats.org/officeDocument/2006/relationships/image" Target="../media/image181.png"/><Relationship Id="rId11" Type="http://schemas.openxmlformats.org/officeDocument/2006/relationships/image" Target="../media/image1380.png"/><Relationship Id="rId5" Type="http://schemas.openxmlformats.org/officeDocument/2006/relationships/image" Target="../media/image180.png"/><Relationship Id="rId10" Type="http://schemas.openxmlformats.org/officeDocument/2006/relationships/image" Target="../media/image1370.png"/><Relationship Id="rId4" Type="http://schemas.openxmlformats.org/officeDocument/2006/relationships/image" Target="../media/image179.png"/><Relationship Id="rId9" Type="http://schemas.openxmlformats.org/officeDocument/2006/relationships/image" Target="../media/image1360.png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3.png"/><Relationship Id="rId2" Type="http://schemas.openxmlformats.org/officeDocument/2006/relationships/image" Target="../media/image182.png"/><Relationship Id="rId1" Type="http://schemas.openxmlformats.org/officeDocument/2006/relationships/slideLayout" Target="../slideLayouts/slideLayout21.xml"/><Relationship Id="rId4" Type="http://schemas.openxmlformats.org/officeDocument/2006/relationships/image" Target="../media/image6.png"/></Relationships>
</file>

<file path=ppt/slides/_rels/slide45.xml.rels><?xml version="1.0" encoding="UTF-8" standalone="yes"?>
<Relationships xmlns="http://schemas.openxmlformats.org/package/2006/relationships"><Relationship Id="rId8" Type="http://schemas.openxmlformats.org/officeDocument/2006/relationships/diagramData" Target="../diagrams/data12.xml"/><Relationship Id="rId13" Type="http://schemas.openxmlformats.org/officeDocument/2006/relationships/image" Target="../media/image18.jpeg"/><Relationship Id="rId18" Type="http://schemas.openxmlformats.org/officeDocument/2006/relationships/image" Target="../media/image22.png"/><Relationship Id="rId3" Type="http://schemas.openxmlformats.org/officeDocument/2006/relationships/diagramData" Target="../diagrams/data11.xml"/><Relationship Id="rId7" Type="http://schemas.microsoft.com/office/2007/relationships/diagramDrawing" Target="../diagrams/drawing11.xml"/><Relationship Id="rId12" Type="http://schemas.microsoft.com/office/2007/relationships/diagramDrawing" Target="../diagrams/drawing12.xml"/><Relationship Id="rId17" Type="http://schemas.openxmlformats.org/officeDocument/2006/relationships/image" Target="../media/image21.png"/><Relationship Id="rId2" Type="http://schemas.openxmlformats.org/officeDocument/2006/relationships/notesSlide" Target="../notesSlides/notesSlide19.xml"/><Relationship Id="rId16" Type="http://schemas.openxmlformats.org/officeDocument/2006/relationships/image" Target="../media/image6.png"/><Relationship Id="rId20" Type="http://schemas.openxmlformats.org/officeDocument/2006/relationships/image" Target="../media/image24.gif"/><Relationship Id="rId1" Type="http://schemas.openxmlformats.org/officeDocument/2006/relationships/slideLayout" Target="../slideLayouts/slideLayout21.xml"/><Relationship Id="rId6" Type="http://schemas.openxmlformats.org/officeDocument/2006/relationships/diagramColors" Target="../diagrams/colors11.xml"/><Relationship Id="rId11" Type="http://schemas.openxmlformats.org/officeDocument/2006/relationships/diagramColors" Target="../diagrams/colors12.xml"/><Relationship Id="rId5" Type="http://schemas.openxmlformats.org/officeDocument/2006/relationships/diagramQuickStyle" Target="../diagrams/quickStyle11.xml"/><Relationship Id="rId15" Type="http://schemas.openxmlformats.org/officeDocument/2006/relationships/image" Target="../media/image20.tiff"/><Relationship Id="rId10" Type="http://schemas.openxmlformats.org/officeDocument/2006/relationships/diagramQuickStyle" Target="../diagrams/quickStyle12.xml"/><Relationship Id="rId19" Type="http://schemas.openxmlformats.org/officeDocument/2006/relationships/image" Target="../media/image23.png"/><Relationship Id="rId4" Type="http://schemas.openxmlformats.org/officeDocument/2006/relationships/diagramLayout" Target="../diagrams/layout11.xml"/><Relationship Id="rId9" Type="http://schemas.openxmlformats.org/officeDocument/2006/relationships/diagramLayout" Target="../diagrams/layout12.xml"/><Relationship Id="rId14" Type="http://schemas.openxmlformats.org/officeDocument/2006/relationships/image" Target="../media/image19.png"/></Relationships>
</file>

<file path=ppt/slides/_rels/slide46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image" Target="../media/image185.png"/><Relationship Id="rId7" Type="http://schemas.openxmlformats.org/officeDocument/2006/relationships/image" Target="../media/image189.png"/><Relationship Id="rId2" Type="http://schemas.openxmlformats.org/officeDocument/2006/relationships/image" Target="../media/image184.png"/><Relationship Id="rId1" Type="http://schemas.openxmlformats.org/officeDocument/2006/relationships/slideLayout" Target="../slideLayouts/slideLayout21.xml"/><Relationship Id="rId6" Type="http://schemas.openxmlformats.org/officeDocument/2006/relationships/image" Target="../media/image188.png"/><Relationship Id="rId5" Type="http://schemas.openxmlformats.org/officeDocument/2006/relationships/image" Target="../media/image187.png"/><Relationship Id="rId4" Type="http://schemas.openxmlformats.org/officeDocument/2006/relationships/image" Target="../media/image186.png"/></Relationships>
</file>

<file path=ppt/slides/_rels/slide4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.xml"/><Relationship Id="rId13" Type="http://schemas.openxmlformats.org/officeDocument/2006/relationships/image" Target="../media/image193.png"/><Relationship Id="rId18" Type="http://schemas.openxmlformats.org/officeDocument/2006/relationships/image" Target="../media/image6.png"/><Relationship Id="rId3" Type="http://schemas.openxmlformats.org/officeDocument/2006/relationships/tags" Target="../tags/tag46.xml"/><Relationship Id="rId7" Type="http://schemas.openxmlformats.org/officeDocument/2006/relationships/tags" Target="../tags/tag50.xml"/><Relationship Id="rId12" Type="http://schemas.openxmlformats.org/officeDocument/2006/relationships/image" Target="../media/image192.png"/><Relationship Id="rId17" Type="http://schemas.openxmlformats.org/officeDocument/2006/relationships/image" Target="../media/image197.png"/><Relationship Id="rId2" Type="http://schemas.openxmlformats.org/officeDocument/2006/relationships/tags" Target="../tags/tag45.xml"/><Relationship Id="rId16" Type="http://schemas.openxmlformats.org/officeDocument/2006/relationships/image" Target="../media/image196.png"/><Relationship Id="rId1" Type="http://schemas.openxmlformats.org/officeDocument/2006/relationships/tags" Target="../tags/tag44.xml"/><Relationship Id="rId6" Type="http://schemas.openxmlformats.org/officeDocument/2006/relationships/tags" Target="../tags/tag49.xml"/><Relationship Id="rId11" Type="http://schemas.openxmlformats.org/officeDocument/2006/relationships/image" Target="../media/image191.png"/><Relationship Id="rId5" Type="http://schemas.openxmlformats.org/officeDocument/2006/relationships/tags" Target="../tags/tag48.xml"/><Relationship Id="rId15" Type="http://schemas.openxmlformats.org/officeDocument/2006/relationships/image" Target="../media/image195.png"/><Relationship Id="rId10" Type="http://schemas.openxmlformats.org/officeDocument/2006/relationships/image" Target="../media/image190.png"/><Relationship Id="rId4" Type="http://schemas.openxmlformats.org/officeDocument/2006/relationships/tags" Target="../tags/tag47.xml"/><Relationship Id="rId9" Type="http://schemas.openxmlformats.org/officeDocument/2006/relationships/notesSlide" Target="../notesSlides/notesSlide20.xml"/><Relationship Id="rId14" Type="http://schemas.openxmlformats.org/officeDocument/2006/relationships/image" Target="../media/image194.png"/></Relationships>
</file>

<file path=ppt/slides/_rels/slide48.xml.rels><?xml version="1.0" encoding="UTF-8" standalone="yes"?>
<Relationships xmlns="http://schemas.openxmlformats.org/package/2006/relationships"><Relationship Id="rId8" Type="http://schemas.openxmlformats.org/officeDocument/2006/relationships/tags" Target="../tags/tag58.xml"/><Relationship Id="rId13" Type="http://schemas.openxmlformats.org/officeDocument/2006/relationships/image" Target="../media/image200.png"/><Relationship Id="rId18" Type="http://schemas.openxmlformats.org/officeDocument/2006/relationships/image" Target="../media/image205.png"/><Relationship Id="rId3" Type="http://schemas.openxmlformats.org/officeDocument/2006/relationships/tags" Target="../tags/tag53.xml"/><Relationship Id="rId21" Type="http://schemas.openxmlformats.org/officeDocument/2006/relationships/image" Target="../media/image6.png"/><Relationship Id="rId7" Type="http://schemas.openxmlformats.org/officeDocument/2006/relationships/tags" Target="../tags/tag57.xml"/><Relationship Id="rId12" Type="http://schemas.openxmlformats.org/officeDocument/2006/relationships/image" Target="../media/image199.png"/><Relationship Id="rId17" Type="http://schemas.openxmlformats.org/officeDocument/2006/relationships/image" Target="../media/image204.png"/><Relationship Id="rId2" Type="http://schemas.openxmlformats.org/officeDocument/2006/relationships/tags" Target="../tags/tag52.xml"/><Relationship Id="rId16" Type="http://schemas.openxmlformats.org/officeDocument/2006/relationships/image" Target="../media/image203.png"/><Relationship Id="rId20" Type="http://schemas.openxmlformats.org/officeDocument/2006/relationships/image" Target="../media/image207.png"/><Relationship Id="rId1" Type="http://schemas.openxmlformats.org/officeDocument/2006/relationships/tags" Target="../tags/tag51.xml"/><Relationship Id="rId6" Type="http://schemas.openxmlformats.org/officeDocument/2006/relationships/tags" Target="../tags/tag56.xml"/><Relationship Id="rId11" Type="http://schemas.openxmlformats.org/officeDocument/2006/relationships/image" Target="../media/image198.png"/><Relationship Id="rId5" Type="http://schemas.openxmlformats.org/officeDocument/2006/relationships/tags" Target="../tags/tag55.xml"/><Relationship Id="rId15" Type="http://schemas.openxmlformats.org/officeDocument/2006/relationships/image" Target="../media/image202.png"/><Relationship Id="rId10" Type="http://schemas.openxmlformats.org/officeDocument/2006/relationships/slideLayout" Target="../slideLayouts/slideLayout21.xml"/><Relationship Id="rId19" Type="http://schemas.openxmlformats.org/officeDocument/2006/relationships/image" Target="../media/image206.png"/><Relationship Id="rId4" Type="http://schemas.openxmlformats.org/officeDocument/2006/relationships/tags" Target="../tags/tag54.xml"/><Relationship Id="rId9" Type="http://schemas.openxmlformats.org/officeDocument/2006/relationships/tags" Target="../tags/tag59.xml"/><Relationship Id="rId14" Type="http://schemas.openxmlformats.org/officeDocument/2006/relationships/image" Target="../media/image201.png"/></Relationships>
</file>

<file path=ppt/slides/_rels/slide4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4.png"/><Relationship Id="rId13" Type="http://schemas.openxmlformats.org/officeDocument/2006/relationships/image" Target="../media/image219.png"/><Relationship Id="rId18" Type="http://schemas.openxmlformats.org/officeDocument/2006/relationships/image" Target="../media/image223.png"/><Relationship Id="rId26" Type="http://schemas.openxmlformats.org/officeDocument/2006/relationships/image" Target="../media/image231.png"/><Relationship Id="rId3" Type="http://schemas.openxmlformats.org/officeDocument/2006/relationships/image" Target="../media/image209.png"/><Relationship Id="rId21" Type="http://schemas.openxmlformats.org/officeDocument/2006/relationships/image" Target="../media/image226.png"/><Relationship Id="rId7" Type="http://schemas.openxmlformats.org/officeDocument/2006/relationships/image" Target="../media/image213.png"/><Relationship Id="rId12" Type="http://schemas.openxmlformats.org/officeDocument/2006/relationships/image" Target="../media/image218.png"/><Relationship Id="rId17" Type="http://schemas.openxmlformats.org/officeDocument/2006/relationships/image" Target="../media/image222.png"/><Relationship Id="rId25" Type="http://schemas.openxmlformats.org/officeDocument/2006/relationships/image" Target="../media/image230.png"/><Relationship Id="rId2" Type="http://schemas.openxmlformats.org/officeDocument/2006/relationships/image" Target="../media/image208.png"/><Relationship Id="rId16" Type="http://schemas.openxmlformats.org/officeDocument/2006/relationships/image" Target="../media/image221.png"/><Relationship Id="rId20" Type="http://schemas.openxmlformats.org/officeDocument/2006/relationships/image" Target="../media/image225.png"/><Relationship Id="rId1" Type="http://schemas.openxmlformats.org/officeDocument/2006/relationships/slideLayout" Target="../slideLayouts/slideLayout21.xml"/><Relationship Id="rId6" Type="http://schemas.openxmlformats.org/officeDocument/2006/relationships/image" Target="../media/image212.png"/><Relationship Id="rId11" Type="http://schemas.openxmlformats.org/officeDocument/2006/relationships/image" Target="../media/image217.png"/><Relationship Id="rId24" Type="http://schemas.openxmlformats.org/officeDocument/2006/relationships/image" Target="../media/image229.png"/><Relationship Id="rId5" Type="http://schemas.openxmlformats.org/officeDocument/2006/relationships/image" Target="../media/image211.png"/><Relationship Id="rId15" Type="http://schemas.openxmlformats.org/officeDocument/2006/relationships/image" Target="../media/image220.png"/><Relationship Id="rId23" Type="http://schemas.openxmlformats.org/officeDocument/2006/relationships/image" Target="../media/image228.png"/><Relationship Id="rId10" Type="http://schemas.openxmlformats.org/officeDocument/2006/relationships/image" Target="../media/image216.png"/><Relationship Id="rId19" Type="http://schemas.openxmlformats.org/officeDocument/2006/relationships/image" Target="../media/image224.png"/><Relationship Id="rId4" Type="http://schemas.openxmlformats.org/officeDocument/2006/relationships/image" Target="../media/image210.png"/><Relationship Id="rId9" Type="http://schemas.openxmlformats.org/officeDocument/2006/relationships/image" Target="../media/image215.png"/><Relationship Id="rId14" Type="http://schemas.openxmlformats.org/officeDocument/2006/relationships/image" Target="../media/image6.png"/><Relationship Id="rId22" Type="http://schemas.openxmlformats.org/officeDocument/2006/relationships/image" Target="../media/image227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1.xml"/><Relationship Id="rId4" Type="http://schemas.openxmlformats.org/officeDocument/2006/relationships/image" Target="../media/image14.svg"/></Relationships>
</file>

<file path=ppt/slides/_rels/slide50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13" Type="http://schemas.openxmlformats.org/officeDocument/2006/relationships/image" Target="../media/image242.png"/><Relationship Id="rId3" Type="http://schemas.openxmlformats.org/officeDocument/2006/relationships/image" Target="../media/image233.png"/><Relationship Id="rId7" Type="http://schemas.openxmlformats.org/officeDocument/2006/relationships/image" Target="../media/image237.png"/><Relationship Id="rId12" Type="http://schemas.openxmlformats.org/officeDocument/2006/relationships/image" Target="../media/image241.png"/><Relationship Id="rId2" Type="http://schemas.openxmlformats.org/officeDocument/2006/relationships/image" Target="../media/image232.png"/><Relationship Id="rId1" Type="http://schemas.openxmlformats.org/officeDocument/2006/relationships/slideLayout" Target="../slideLayouts/slideLayout21.xml"/><Relationship Id="rId6" Type="http://schemas.openxmlformats.org/officeDocument/2006/relationships/image" Target="../media/image236.png"/><Relationship Id="rId11" Type="http://schemas.openxmlformats.org/officeDocument/2006/relationships/image" Target="../media/image240.png"/><Relationship Id="rId5" Type="http://schemas.openxmlformats.org/officeDocument/2006/relationships/image" Target="../media/image235.png"/><Relationship Id="rId10" Type="http://schemas.openxmlformats.org/officeDocument/2006/relationships/image" Target="../media/image239.png"/><Relationship Id="rId4" Type="http://schemas.openxmlformats.org/officeDocument/2006/relationships/image" Target="../media/image234.png"/><Relationship Id="rId9" Type="http://schemas.openxmlformats.org/officeDocument/2006/relationships/image" Target="../media/image238.png"/><Relationship Id="rId14" Type="http://schemas.openxmlformats.org/officeDocument/2006/relationships/image" Target="../media/image243.png"/></Relationships>
</file>

<file path=ppt/slides/_rels/slide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4.jpeg"/><Relationship Id="rId1" Type="http://schemas.openxmlformats.org/officeDocument/2006/relationships/slideLayout" Target="../slideLayouts/slideLayout11.xml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21.xml"/></Relationships>
</file>

<file path=ppt/slides/_rels/slide5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1.xml"/><Relationship Id="rId7" Type="http://schemas.openxmlformats.org/officeDocument/2006/relationships/image" Target="../media/image17.png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6" Type="http://schemas.openxmlformats.org/officeDocument/2006/relationships/image" Target="../media/image6.png"/><Relationship Id="rId5" Type="http://schemas.openxmlformats.org/officeDocument/2006/relationships/image" Target="../media/image16.svg"/><Relationship Id="rId4" Type="http://schemas.openxmlformats.org/officeDocument/2006/relationships/image" Target="../media/image15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diagramData" Target="../diagrams/data2.xml"/><Relationship Id="rId13" Type="http://schemas.openxmlformats.org/officeDocument/2006/relationships/image" Target="../media/image18.jpeg"/><Relationship Id="rId18" Type="http://schemas.openxmlformats.org/officeDocument/2006/relationships/image" Target="../media/image22.png"/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12" Type="http://schemas.microsoft.com/office/2007/relationships/diagramDrawing" Target="../diagrams/drawing2.xml"/><Relationship Id="rId17" Type="http://schemas.openxmlformats.org/officeDocument/2006/relationships/image" Target="../media/image21.png"/><Relationship Id="rId2" Type="http://schemas.openxmlformats.org/officeDocument/2006/relationships/notesSlide" Target="../notesSlides/notesSlide2.xml"/><Relationship Id="rId16" Type="http://schemas.openxmlformats.org/officeDocument/2006/relationships/image" Target="../media/image6.png"/><Relationship Id="rId20" Type="http://schemas.openxmlformats.org/officeDocument/2006/relationships/image" Target="../media/image24.gif"/><Relationship Id="rId1" Type="http://schemas.openxmlformats.org/officeDocument/2006/relationships/slideLayout" Target="../slideLayouts/slideLayout21.xml"/><Relationship Id="rId6" Type="http://schemas.openxmlformats.org/officeDocument/2006/relationships/diagramColors" Target="../diagrams/colors1.xml"/><Relationship Id="rId11" Type="http://schemas.openxmlformats.org/officeDocument/2006/relationships/diagramColors" Target="../diagrams/colors2.xml"/><Relationship Id="rId5" Type="http://schemas.openxmlformats.org/officeDocument/2006/relationships/diagramQuickStyle" Target="../diagrams/quickStyle1.xml"/><Relationship Id="rId15" Type="http://schemas.openxmlformats.org/officeDocument/2006/relationships/image" Target="../media/image20.tiff"/><Relationship Id="rId10" Type="http://schemas.openxmlformats.org/officeDocument/2006/relationships/diagramQuickStyle" Target="../diagrams/quickStyle2.xml"/><Relationship Id="rId19" Type="http://schemas.openxmlformats.org/officeDocument/2006/relationships/image" Target="../media/image23.png"/><Relationship Id="rId4" Type="http://schemas.openxmlformats.org/officeDocument/2006/relationships/diagramLayout" Target="../diagrams/layout1.xml"/><Relationship Id="rId9" Type="http://schemas.openxmlformats.org/officeDocument/2006/relationships/diagramLayout" Target="../diagrams/layout2.xml"/><Relationship Id="rId14" Type="http://schemas.openxmlformats.org/officeDocument/2006/relationships/image" Target="../media/image19.png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11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.jpeg"/><Relationship Id="rId3" Type="http://schemas.openxmlformats.org/officeDocument/2006/relationships/image" Target="../media/image6.png"/><Relationship Id="rId7" Type="http://schemas.openxmlformats.org/officeDocument/2006/relationships/image" Target="../media/image29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1.xml"/><Relationship Id="rId6" Type="http://schemas.openxmlformats.org/officeDocument/2006/relationships/image" Target="../media/image28.jpeg"/><Relationship Id="rId5" Type="http://schemas.openxmlformats.org/officeDocument/2006/relationships/image" Target="../media/image27.jpeg"/><Relationship Id="rId4" Type="http://schemas.openxmlformats.org/officeDocument/2006/relationships/image" Target="../media/image26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>
            <a:extLst>
              <a:ext uri="{FF2B5EF4-FFF2-40B4-BE49-F238E27FC236}">
                <a16:creationId xmlns:a16="http://schemas.microsoft.com/office/drawing/2014/main" id="{11CDC082-012F-4E61-858B-C0FB30EFD63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 bwMode="gray">
          <a:xfrm>
            <a:off x="479425" y="1948605"/>
            <a:ext cx="11233150" cy="4036270"/>
          </a:xfrm>
        </p:spPr>
        <p:txBody>
          <a:bodyPr lIns="0"/>
          <a:lstStyle/>
          <a:p>
            <a:pPr lvl="0">
              <a:lnSpc>
                <a:spcPct val="110000"/>
              </a:lnSpc>
            </a:pPr>
            <a:r>
              <a:rPr lang="de-DE" sz="2400" b="1" dirty="0">
                <a:solidFill>
                  <a:prstClr val="white"/>
                </a:solidFill>
                <a:latin typeface="+mj-lt"/>
              </a:rPr>
              <a:t>Detektion von Plaque in Gefäßen mit KI</a:t>
            </a:r>
          </a:p>
          <a:p>
            <a:pPr lvl="0">
              <a:lnSpc>
                <a:spcPct val="110000"/>
              </a:lnSpc>
            </a:pPr>
            <a:r>
              <a:rPr lang="de-DE" sz="6240" b="1" dirty="0">
                <a:solidFill>
                  <a:prstClr val="white"/>
                </a:solidFill>
                <a:latin typeface="+mj-lt"/>
              </a:rPr>
              <a:t>—</a:t>
            </a:r>
          </a:p>
          <a:p>
            <a:pPr lvl="2">
              <a:lnSpc>
                <a:spcPct val="100000"/>
              </a:lnSpc>
            </a:pPr>
            <a:r>
              <a:rPr lang="de-DE" sz="4800" dirty="0">
                <a:solidFill>
                  <a:srgbClr val="FFFFFF"/>
                </a:solidFill>
                <a:latin typeface="+mj-lt"/>
              </a:rPr>
              <a:t>Analyse von Arteriosklerose in histologischen Schnittbildern </a:t>
            </a:r>
          </a:p>
          <a:p>
            <a:pPr lvl="2">
              <a:lnSpc>
                <a:spcPct val="100000"/>
              </a:lnSpc>
            </a:pPr>
            <a:r>
              <a:rPr lang="de-DE" sz="2400" dirty="0">
                <a:solidFill>
                  <a:srgbClr val="FFFFFF"/>
                </a:solidFill>
                <a:latin typeface="+mj-lt"/>
              </a:rPr>
              <a:t>von Johann Christopher Engster</a:t>
            </a:r>
            <a:r>
              <a:rPr lang="de-DE" sz="2400" dirty="0">
                <a:solidFill>
                  <a:prstClr val="white"/>
                </a:solidFill>
                <a:latin typeface="+mj-lt"/>
              </a:rPr>
              <a:t> </a:t>
            </a:r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338EF478-DFAD-D4ED-2126-EA0E2CEA1752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21502" y="191192"/>
            <a:ext cx="3744886" cy="1130532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43993777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el 7">
            <a:extLst>
              <a:ext uri="{FF2B5EF4-FFF2-40B4-BE49-F238E27FC236}">
                <a16:creationId xmlns:a16="http://schemas.microsoft.com/office/drawing/2014/main" id="{B562670C-A909-D0CD-5FD2-A5290EA5A3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395588"/>
            <a:ext cx="11233150" cy="374398"/>
          </a:xfrm>
        </p:spPr>
        <p:txBody>
          <a:bodyPr/>
          <a:lstStyle/>
          <a:p>
            <a:r>
              <a:rPr lang="de-DE" dirty="0"/>
              <a:t>Methode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CFE7DA81-3ABF-510E-2ECB-7071B96DFDA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5A82B2D-840F-4167-AD44-C02BC9C87CCB}" type="datetime1">
              <a:rPr lang="de-DE" noProof="0" smtClean="0"/>
              <a:t>15.11.22</a:t>
            </a:fld>
            <a:endParaRPr lang="de-DE" noProof="0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CC6499F2-21A8-E760-09BF-939F3DC9A43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/>
              <a:t>© Universität zu Lübeck</a:t>
            </a:r>
            <a:endParaRPr lang="de-DE" noProof="0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9AEEFE17-BF13-7288-6352-96DBCF41303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 noProof="0"/>
              <a:t>Seite</a:t>
            </a:r>
            <a:r>
              <a:rPr lang="en-US"/>
              <a:t> </a:t>
            </a:r>
            <a:fld id="{401BA3E4-5E55-4F99-AF09-CC6D6B2539E2}" type="slidenum">
              <a:rPr lang="en-US" smtClean="0"/>
              <a:pPr/>
              <a:t>10</a:t>
            </a:fld>
            <a:endParaRPr lang="en-US" dirty="0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7BF5BEB0-6385-63BD-C4C5-126519D2971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9425" y="778321"/>
            <a:ext cx="11233150" cy="312008"/>
          </a:xfrm>
        </p:spPr>
        <p:txBody>
          <a:bodyPr/>
          <a:lstStyle/>
          <a:p>
            <a:r>
              <a:rPr lang="de-DE" dirty="0"/>
              <a:t>Datensatz </a:t>
            </a:r>
            <a:r>
              <a:rPr lang="de-DE" sz="2000" dirty="0"/>
              <a:t>— Fehler in den Daten</a:t>
            </a:r>
            <a:endParaRPr lang="de-DE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6A46A9C6-6FFA-00E8-F040-FACB87F3D18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8199" y="1703388"/>
            <a:ext cx="3492500" cy="218393"/>
          </a:xfrm>
        </p:spPr>
        <p:txBody>
          <a:bodyPr/>
          <a:lstStyle/>
          <a:p>
            <a:pPr lvl="2"/>
            <a:r>
              <a:rPr lang="de-DE" dirty="0"/>
              <a:t>Übersegmentierte Masken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8A28D46B-79C0-29E4-FC4C-35031BC30F68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332288" y="1703388"/>
            <a:ext cx="3492500" cy="218393"/>
          </a:xfrm>
        </p:spPr>
        <p:txBody>
          <a:bodyPr/>
          <a:lstStyle/>
          <a:p>
            <a:pPr lvl="2"/>
            <a:r>
              <a:rPr lang="de-DE" dirty="0"/>
              <a:t>Untersegmentierte Masken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6F247D18-2D37-5577-A2D3-D31151D159E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220075" y="1703388"/>
            <a:ext cx="3492500" cy="218393"/>
          </a:xfrm>
        </p:spPr>
        <p:txBody>
          <a:bodyPr/>
          <a:lstStyle/>
          <a:p>
            <a:pPr lvl="2"/>
            <a:r>
              <a:rPr lang="de-DE" dirty="0"/>
              <a:t>Inkonsistente Masken</a:t>
            </a:r>
          </a:p>
        </p:txBody>
      </p:sp>
      <p:pic>
        <p:nvPicPr>
          <p:cNvPr id="2" name="Inhaltsplatzhalter 4" descr="Ein Bild, das Karte enthält.&#10;&#10;Automatisch generierte Beschreibung">
            <a:extLst>
              <a:ext uri="{FF2B5EF4-FFF2-40B4-BE49-F238E27FC236}">
                <a16:creationId xmlns:a16="http://schemas.microsoft.com/office/drawing/2014/main" id="{9BEC5A05-578D-95DB-A427-00A9A1868C37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9959" y="2160000"/>
            <a:ext cx="1438932" cy="1080000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6" name="Grafik 5">
            <a:extLst>
              <a:ext uri="{FF2B5EF4-FFF2-40B4-BE49-F238E27FC236}">
                <a16:creationId xmlns:a16="http://schemas.microsoft.com/office/drawing/2014/main" id="{B89614D6-4518-4B6F-0D8F-69629CA40B4D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10469" y="2160000"/>
            <a:ext cx="1438932" cy="1080000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7" name="Grafik 6" descr="Ein Bild, das Porzellan enthält.&#10;&#10;Automatisch generierte Beschreibung">
            <a:extLst>
              <a:ext uri="{FF2B5EF4-FFF2-40B4-BE49-F238E27FC236}">
                <a16:creationId xmlns:a16="http://schemas.microsoft.com/office/drawing/2014/main" id="{0FA8277C-B2BD-03AA-7BE7-4C518D6EF6CD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7538" y="3420000"/>
            <a:ext cx="1441353" cy="1080000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3" name="Grafik 12" descr="Ein Bild, das Porzellan enthält.&#10;&#10;Automatisch generierte Beschreibung">
            <a:extLst>
              <a:ext uri="{FF2B5EF4-FFF2-40B4-BE49-F238E27FC236}">
                <a16:creationId xmlns:a16="http://schemas.microsoft.com/office/drawing/2014/main" id="{9561DC2D-6421-D0BB-A1C8-FCC610723F55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08048" y="3420000"/>
            <a:ext cx="1441353" cy="1080000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4" name="Grafik 13" descr="Ein Bild, das Hydrozoen enthält.&#10;&#10;Automatisch generierte Beschreibung">
            <a:extLst>
              <a:ext uri="{FF2B5EF4-FFF2-40B4-BE49-F238E27FC236}">
                <a16:creationId xmlns:a16="http://schemas.microsoft.com/office/drawing/2014/main" id="{B2D5C809-423E-92DE-F688-A2F45746AD85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30800" y="3420000"/>
            <a:ext cx="1443364" cy="1080000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5" name="Grafik 14">
            <a:extLst>
              <a:ext uri="{FF2B5EF4-FFF2-40B4-BE49-F238E27FC236}">
                <a16:creationId xmlns:a16="http://schemas.microsoft.com/office/drawing/2014/main" id="{26BAF6F9-A1F0-A89A-F5C0-0DA13E2EDE67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968800" y="3420000"/>
            <a:ext cx="1443364" cy="1080000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6" name="Grafik 15" descr="Ein Bild, das Stück, gegessen enthält.&#10;&#10;Automatisch generierte Beschreibung">
            <a:extLst>
              <a:ext uri="{FF2B5EF4-FFF2-40B4-BE49-F238E27FC236}">
                <a16:creationId xmlns:a16="http://schemas.microsoft.com/office/drawing/2014/main" id="{398AEA08-2709-F92A-9EDF-1DBB0182B052}"/>
              </a:ext>
            </a:extLst>
          </p:cNvPr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30800" y="2160000"/>
            <a:ext cx="1443364" cy="1080000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7" name="Grafik 16" descr="Ein Bild, das Stück, Scheibe enthält.&#10;&#10;Automatisch generierte Beschreibung">
            <a:extLst>
              <a:ext uri="{FF2B5EF4-FFF2-40B4-BE49-F238E27FC236}">
                <a16:creationId xmlns:a16="http://schemas.microsoft.com/office/drawing/2014/main" id="{BB352B67-1C3D-7638-E3A5-DFC9D7B789A8}"/>
              </a:ext>
            </a:extLst>
          </p:cNvPr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968053" y="2160000"/>
            <a:ext cx="1443364" cy="1080000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8" name="Grafik 17">
            <a:extLst>
              <a:ext uri="{FF2B5EF4-FFF2-40B4-BE49-F238E27FC236}">
                <a16:creationId xmlns:a16="http://schemas.microsoft.com/office/drawing/2014/main" id="{152D8CEF-DB94-2606-3306-F44A56B4DE91}"/>
              </a:ext>
            </a:extLst>
          </p:cNvPr>
          <p:cNvPicPr>
            <a:picLocks noChangeAspect="1"/>
          </p:cNvPicPr>
          <p:nvPr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844372" y="2153082"/>
            <a:ext cx="1434745" cy="1080000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9" name="Grafik 18">
            <a:extLst>
              <a:ext uri="{FF2B5EF4-FFF2-40B4-BE49-F238E27FC236}">
                <a16:creationId xmlns:a16="http://schemas.microsoft.com/office/drawing/2014/main" id="{6EFC11F2-593D-36CB-214D-C6C478060E20}"/>
              </a:ext>
            </a:extLst>
          </p:cNvPr>
          <p:cNvPicPr>
            <a:picLocks noChangeAspect="1"/>
          </p:cNvPicPr>
          <p:nvPr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20074" y="3420000"/>
            <a:ext cx="1434745" cy="1080000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0" name="Grafik 19">
            <a:extLst>
              <a:ext uri="{FF2B5EF4-FFF2-40B4-BE49-F238E27FC236}">
                <a16:creationId xmlns:a16="http://schemas.microsoft.com/office/drawing/2014/main" id="{957EECEA-8208-4B8E-4436-FC0180B420CA}"/>
              </a:ext>
            </a:extLst>
          </p:cNvPr>
          <p:cNvPicPr>
            <a:picLocks noChangeAspect="1"/>
          </p:cNvPicPr>
          <p:nvPr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844371" y="3420000"/>
            <a:ext cx="1434745" cy="1080000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1" name="Grafik 20" descr="Ein Bild, das Strichzeichnung, Porzellan enthält.&#10;&#10;Automatisch generierte Beschreibung">
            <a:extLst>
              <a:ext uri="{FF2B5EF4-FFF2-40B4-BE49-F238E27FC236}">
                <a16:creationId xmlns:a16="http://schemas.microsoft.com/office/drawing/2014/main" id="{94D56CBF-F28D-F100-2BBC-706D866205EF}"/>
              </a:ext>
            </a:extLst>
          </p:cNvPr>
          <p:cNvPicPr>
            <a:picLocks noChangeAspect="1"/>
          </p:cNvPicPr>
          <p:nvPr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20075" y="2160000"/>
            <a:ext cx="1434745" cy="1080000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2" name="Grafik 21">
            <a:extLst>
              <a:ext uri="{FF2B5EF4-FFF2-40B4-BE49-F238E27FC236}">
                <a16:creationId xmlns:a16="http://schemas.microsoft.com/office/drawing/2014/main" id="{05F3B3AD-9241-F117-276F-D016885D2032}"/>
              </a:ext>
            </a:extLst>
          </p:cNvPr>
          <p:cNvPicPr>
            <a:picLocks noChangeAspect="1"/>
          </p:cNvPicPr>
          <p:nvPr/>
        </p:nvPicPr>
        <p:blipFill>
          <a:blip r:embed="rId1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21502" y="205152"/>
            <a:ext cx="3744886" cy="1130532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20183939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build="p"/>
      <p:bldP spid="11" grpId="0" build="p"/>
      <p:bldP spid="12" grpId="0" build="p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3" name="Diagram 4">
            <a:extLst>
              <a:ext uri="{FF2B5EF4-FFF2-40B4-BE49-F238E27FC236}">
                <a16:creationId xmlns:a16="http://schemas.microsoft.com/office/drawing/2014/main" id="{B919F797-3AD1-4A8F-85AA-E4D6A65BA46E}"/>
              </a:ext>
            </a:extLst>
          </p:cNvPr>
          <p:cNvGraphicFramePr/>
          <p:nvPr/>
        </p:nvGraphicFramePr>
        <p:xfrm>
          <a:off x="8094940" y="3061452"/>
          <a:ext cx="1415346" cy="217170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graphicFrame>
        <p:nvGraphicFramePr>
          <p:cNvPr id="42" name="Diagram 4">
            <a:extLst>
              <a:ext uri="{FF2B5EF4-FFF2-40B4-BE49-F238E27FC236}">
                <a16:creationId xmlns:a16="http://schemas.microsoft.com/office/drawing/2014/main" id="{B919F797-3AD1-4A8F-85AA-E4D6A65BA46E}"/>
              </a:ext>
            </a:extLst>
          </p:cNvPr>
          <p:cNvGraphicFramePr/>
          <p:nvPr/>
        </p:nvGraphicFramePr>
        <p:xfrm>
          <a:off x="1080081" y="589964"/>
          <a:ext cx="6220459" cy="548049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8" r:lo="rId9" r:qs="rId10" r:cs="rId11"/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9DCF5550-E586-2F4D-9BFF-EA2A23A3AC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395588"/>
            <a:ext cx="11233150" cy="375487"/>
          </a:xfrm>
        </p:spPr>
        <p:txBody>
          <a:bodyPr/>
          <a:lstStyle/>
          <a:p>
            <a:r>
              <a:rPr lang="de-DE" dirty="0"/>
              <a:t>Gliederung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6F2406C-7AB3-BA48-4B8A-67E2CFC7E9B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/>
              <a:t>© Universität zu Lübeck</a:t>
            </a:r>
            <a:endParaRPr lang="de-DE" noProof="0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22CA16D0-0D58-A287-9D07-D4F19469A6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 noProof="0"/>
              <a:t>Seite</a:t>
            </a:r>
            <a:r>
              <a:rPr lang="en-US"/>
              <a:t> </a:t>
            </a:r>
            <a:fld id="{401BA3E4-5E55-4F99-AF09-CC6D6B2539E2}" type="slidenum">
              <a:rPr lang="en-US" smtClean="0"/>
              <a:pPr/>
              <a:t>11</a:t>
            </a:fld>
            <a:endParaRPr lang="en-US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607EBF9-EC8B-9F58-CF49-88CB210BFF0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5A82B2D-840F-4167-AD44-C02BC9C87CCB}" type="datetime1">
              <a:rPr lang="de-DE" noProof="0" smtClean="0"/>
              <a:t>15.11.22</a:t>
            </a:fld>
            <a:endParaRPr lang="de-DE" noProof="0" dirty="0"/>
          </a:p>
        </p:txBody>
      </p:sp>
      <p:pic>
        <p:nvPicPr>
          <p:cNvPr id="11" name="Grafik 10" descr="Ein Bild, das Karte enthält.&#10;&#10;Automatisch generierte Beschreibung">
            <a:extLst>
              <a:ext uri="{FF2B5EF4-FFF2-40B4-BE49-F238E27FC236}">
                <a16:creationId xmlns:a16="http://schemas.microsoft.com/office/drawing/2014/main" id="{8DCD45CA-3EE6-58F1-DFB2-13FFBAD61A28}"/>
              </a:ext>
            </a:extLst>
          </p:cNvPr>
          <p:cNvPicPr>
            <a:picLocks noChangeAspect="1"/>
          </p:cNvPicPr>
          <p:nvPr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66337" y="3427303"/>
            <a:ext cx="1920000" cy="1440000"/>
          </a:xfrm>
          <a:prstGeom prst="rect">
            <a:avLst/>
          </a:prstGeom>
          <a:ln>
            <a:solidFill>
              <a:schemeClr val="accent1"/>
            </a:solidFill>
          </a:ln>
        </p:spPr>
      </p:pic>
      <p:pic>
        <p:nvPicPr>
          <p:cNvPr id="13" name="Grafik 12" descr="Ein Bild, das Schuhe enthält.&#10;&#10;Automatisch generierte Beschreibung">
            <a:extLst>
              <a:ext uri="{FF2B5EF4-FFF2-40B4-BE49-F238E27FC236}">
                <a16:creationId xmlns:a16="http://schemas.microsoft.com/office/drawing/2014/main" id="{4267AC41-BE3A-A0E7-56B8-3C950FC8CCA9}"/>
              </a:ext>
            </a:extLst>
          </p:cNvPr>
          <p:cNvPicPr>
            <a:picLocks noChangeAspect="1"/>
          </p:cNvPicPr>
          <p:nvPr/>
        </p:nvPicPr>
        <p:blipFill>
          <a:blip r:embed="rId1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676616" y="3427302"/>
            <a:ext cx="1920000" cy="1440000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4" name="Grafik 13">
            <a:extLst>
              <a:ext uri="{FF2B5EF4-FFF2-40B4-BE49-F238E27FC236}">
                <a16:creationId xmlns:a16="http://schemas.microsoft.com/office/drawing/2014/main" id="{242F2DB2-2B0E-AE0B-37C3-EE40808E80AE}"/>
              </a:ext>
            </a:extLst>
          </p:cNvPr>
          <p:cNvPicPr>
            <a:picLocks noChangeAspect="1"/>
          </p:cNvPicPr>
          <p:nvPr/>
        </p:nvPicPr>
        <p:blipFill>
          <a:blip r:embed="rId1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6000" y="3427303"/>
            <a:ext cx="1920000" cy="1440000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39" name="Textfeld 38">
            <a:extLst>
              <a:ext uri="{FF2B5EF4-FFF2-40B4-BE49-F238E27FC236}">
                <a16:creationId xmlns:a16="http://schemas.microsoft.com/office/drawing/2014/main" id="{888E936E-A2EF-4C6B-BA71-DCCE49BE021D}"/>
              </a:ext>
            </a:extLst>
          </p:cNvPr>
          <p:cNvSpPr txBox="1"/>
          <p:nvPr/>
        </p:nvSpPr>
        <p:spPr bwMode="gray">
          <a:xfrm>
            <a:off x="9638307" y="2679489"/>
            <a:ext cx="1996618" cy="65598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/>
          <a:p>
            <a:pPr algn="ctr"/>
            <a:r>
              <a:rPr lang="de-DE" dirty="0"/>
              <a:t>Segmentierung</a:t>
            </a:r>
          </a:p>
          <a:p>
            <a:pPr algn="ctr"/>
            <a:r>
              <a:rPr lang="de-DE" dirty="0"/>
              <a:t>der Plaques</a:t>
            </a: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71289FB9-BA1E-7C68-0426-32E60CDD3E24}"/>
              </a:ext>
            </a:extLst>
          </p:cNvPr>
          <p:cNvPicPr>
            <a:picLocks noChangeAspect="1"/>
          </p:cNvPicPr>
          <p:nvPr/>
        </p:nvPicPr>
        <p:blipFill>
          <a:blip r:embed="rId1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21502" y="191192"/>
            <a:ext cx="3744886" cy="1130532"/>
          </a:xfrm>
          <a:prstGeom prst="rect">
            <a:avLst/>
          </a:prstGeom>
          <a:noFill/>
        </p:spPr>
      </p:pic>
      <p:sp>
        <p:nvSpPr>
          <p:cNvPr id="15" name="Textfeld 14">
            <a:extLst>
              <a:ext uri="{FF2B5EF4-FFF2-40B4-BE49-F238E27FC236}">
                <a16:creationId xmlns:a16="http://schemas.microsoft.com/office/drawing/2014/main" id="{6ED7849F-B77B-031F-232B-53F1C0071BD2}"/>
              </a:ext>
            </a:extLst>
          </p:cNvPr>
          <p:cNvSpPr txBox="1"/>
          <p:nvPr/>
        </p:nvSpPr>
        <p:spPr bwMode="gray">
          <a:xfrm>
            <a:off x="6096000" y="2668482"/>
            <a:ext cx="1996618" cy="65598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/>
          <a:p>
            <a:pPr algn="ctr"/>
            <a:r>
              <a:rPr lang="de-DE" dirty="0"/>
              <a:t>Segmentierung</a:t>
            </a:r>
          </a:p>
          <a:p>
            <a:pPr algn="ctr"/>
            <a:r>
              <a:rPr lang="de-DE" dirty="0"/>
              <a:t>der Arterien</a:t>
            </a:r>
          </a:p>
        </p:txBody>
      </p:sp>
      <p:sp>
        <p:nvSpPr>
          <p:cNvPr id="28" name="Textfeld 27">
            <a:extLst>
              <a:ext uri="{FF2B5EF4-FFF2-40B4-BE49-F238E27FC236}">
                <a16:creationId xmlns:a16="http://schemas.microsoft.com/office/drawing/2014/main" id="{1C98C6BF-F6CB-E9D9-0B20-0C09110355E8}"/>
              </a:ext>
            </a:extLst>
          </p:cNvPr>
          <p:cNvSpPr txBox="1"/>
          <p:nvPr/>
        </p:nvSpPr>
        <p:spPr bwMode="gray">
          <a:xfrm>
            <a:off x="8068430" y="2216787"/>
            <a:ext cx="1996618" cy="65598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/>
          <a:p>
            <a:pPr algn="ctr"/>
            <a:r>
              <a:rPr lang="de-DE" sz="1400" dirty="0"/>
              <a:t>Morph. K-NN</a:t>
            </a:r>
          </a:p>
        </p:txBody>
      </p:sp>
      <p:sp>
        <p:nvSpPr>
          <p:cNvPr id="30" name="Textfeld 29">
            <a:extLst>
              <a:ext uri="{FF2B5EF4-FFF2-40B4-BE49-F238E27FC236}">
                <a16:creationId xmlns:a16="http://schemas.microsoft.com/office/drawing/2014/main" id="{F587367C-BC98-E609-D58A-F95341C38081}"/>
              </a:ext>
            </a:extLst>
          </p:cNvPr>
          <p:cNvSpPr txBox="1"/>
          <p:nvPr/>
        </p:nvSpPr>
        <p:spPr bwMode="gray">
          <a:xfrm>
            <a:off x="8016000" y="4690082"/>
            <a:ext cx="1996618" cy="65598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/>
          <a:p>
            <a:pPr algn="ctr"/>
            <a:r>
              <a:rPr lang="de-DE" sz="1400" dirty="0"/>
              <a:t>W-Net</a:t>
            </a:r>
          </a:p>
        </p:txBody>
      </p:sp>
      <p:grpSp>
        <p:nvGrpSpPr>
          <p:cNvPr id="95" name="Gruppieren 94">
            <a:extLst>
              <a:ext uri="{FF2B5EF4-FFF2-40B4-BE49-F238E27FC236}">
                <a16:creationId xmlns:a16="http://schemas.microsoft.com/office/drawing/2014/main" id="{BA3F15CF-61A4-7F53-83C8-837E38521BE7}"/>
              </a:ext>
            </a:extLst>
          </p:cNvPr>
          <p:cNvGrpSpPr/>
          <p:nvPr/>
        </p:nvGrpSpPr>
        <p:grpSpPr>
          <a:xfrm>
            <a:off x="8207917" y="5231844"/>
            <a:ext cx="1717643" cy="799363"/>
            <a:chOff x="4554249" y="1721366"/>
            <a:chExt cx="7168120" cy="3335924"/>
          </a:xfrm>
        </p:grpSpPr>
        <p:pic>
          <p:nvPicPr>
            <p:cNvPr id="96" name="Grafik 95" descr="Ein Bild, das Metallwaren enthält.&#10;&#10;Automatisch generierte Beschreibung">
              <a:extLst>
                <a:ext uri="{FF2B5EF4-FFF2-40B4-BE49-F238E27FC236}">
                  <a16:creationId xmlns:a16="http://schemas.microsoft.com/office/drawing/2014/main" id="{2DB799B7-61A5-54FE-CB45-A0C2427B357B}"/>
                </a:ext>
              </a:extLst>
            </p:cNvPr>
            <p:cNvPicPr>
              <a:picLocks noChangeAspect="1"/>
            </p:cNvPicPr>
            <p:nvPr/>
          </p:nvPicPr>
          <p:blipFill>
            <a:blip r:embed="rId1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554249" y="1754999"/>
              <a:ext cx="814157" cy="610618"/>
            </a:xfrm>
            <a:prstGeom prst="rect">
              <a:avLst/>
            </a:prstGeom>
          </p:spPr>
        </p:pic>
        <p:pic>
          <p:nvPicPr>
            <p:cNvPr id="97" name="Grafik 96" descr="Ein Bild, das Metallwaren enthält.&#10;&#10;Automatisch generierte Beschreibung">
              <a:extLst>
                <a:ext uri="{FF2B5EF4-FFF2-40B4-BE49-F238E27FC236}">
                  <a16:creationId xmlns:a16="http://schemas.microsoft.com/office/drawing/2014/main" id="{8E9877AB-38C4-6C25-2B9C-0DDCF31CAC59}"/>
                </a:ext>
              </a:extLst>
            </p:cNvPr>
            <p:cNvPicPr>
              <a:picLocks noChangeAspect="1"/>
            </p:cNvPicPr>
            <p:nvPr/>
          </p:nvPicPr>
          <p:blipFill>
            <a:blip r:embed="rId1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0908212" y="1754999"/>
              <a:ext cx="814157" cy="610618"/>
            </a:xfrm>
            <a:prstGeom prst="rect">
              <a:avLst/>
            </a:prstGeom>
          </p:spPr>
        </p:pic>
        <p:pic>
          <p:nvPicPr>
            <p:cNvPr id="98" name="Grafik 97">
              <a:extLst>
                <a:ext uri="{FF2B5EF4-FFF2-40B4-BE49-F238E27FC236}">
                  <a16:creationId xmlns:a16="http://schemas.microsoft.com/office/drawing/2014/main" id="{9468951C-0962-9012-4365-99B75F364C9B}"/>
                </a:ext>
              </a:extLst>
            </p:cNvPr>
            <p:cNvPicPr>
              <a:picLocks noChangeAspect="1"/>
            </p:cNvPicPr>
            <p:nvPr/>
          </p:nvPicPr>
          <p:blipFill>
            <a:blip r:embed="rId18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323506" y="1721366"/>
              <a:ext cx="5618586" cy="2707328"/>
            </a:xfrm>
            <a:prstGeom prst="rect">
              <a:avLst/>
            </a:prstGeom>
          </p:spPr>
        </p:pic>
        <p:pic>
          <p:nvPicPr>
            <p:cNvPr id="99" name="Grafik 98">
              <a:extLst>
                <a:ext uri="{FF2B5EF4-FFF2-40B4-BE49-F238E27FC236}">
                  <a16:creationId xmlns:a16="http://schemas.microsoft.com/office/drawing/2014/main" id="{5717B2B3-E1AE-BA15-8997-281D0D5A7E26}"/>
                </a:ext>
              </a:extLst>
            </p:cNvPr>
            <p:cNvPicPr>
              <a:picLocks noChangeAspect="1"/>
            </p:cNvPicPr>
            <p:nvPr/>
          </p:nvPicPr>
          <p:blipFill>
            <a:blip r:embed="rId19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581072" y="4446672"/>
              <a:ext cx="814157" cy="610618"/>
            </a:xfrm>
            <a:prstGeom prst="rect">
              <a:avLst/>
            </a:prstGeom>
          </p:spPr>
        </p:pic>
      </p:grpSp>
      <p:pic>
        <p:nvPicPr>
          <p:cNvPr id="103" name="Grafik 102">
            <a:extLst>
              <a:ext uri="{FF2B5EF4-FFF2-40B4-BE49-F238E27FC236}">
                <a16:creationId xmlns:a16="http://schemas.microsoft.com/office/drawing/2014/main" id="{F5218157-4099-86F2-D213-52329BD2CE9E}"/>
              </a:ext>
            </a:extLst>
          </p:cNvPr>
          <p:cNvPicPr>
            <a:picLocks noChangeAspect="1"/>
          </p:cNvPicPr>
          <p:nvPr/>
        </p:nvPicPr>
        <p:blipFill>
          <a:blip r:embed="rId2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661679" y="2728562"/>
            <a:ext cx="740798" cy="547215"/>
          </a:xfrm>
          <a:prstGeom prst="rect">
            <a:avLst/>
          </a:prstGeom>
        </p:spPr>
      </p:pic>
      <p:sp>
        <p:nvSpPr>
          <p:cNvPr id="45" name="Textfeld 44">
            <a:extLst>
              <a:ext uri="{FF2B5EF4-FFF2-40B4-BE49-F238E27FC236}">
                <a16:creationId xmlns:a16="http://schemas.microsoft.com/office/drawing/2014/main" id="{6ED7849F-B77B-031F-232B-53F1C0071BD2}"/>
              </a:ext>
            </a:extLst>
          </p:cNvPr>
          <p:cNvSpPr txBox="1"/>
          <p:nvPr/>
        </p:nvSpPr>
        <p:spPr bwMode="gray">
          <a:xfrm>
            <a:off x="228028" y="2668482"/>
            <a:ext cx="1996618" cy="65598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/>
          <a:p>
            <a:pPr algn="ctr"/>
            <a:r>
              <a:rPr lang="de-DE" dirty="0"/>
              <a:t>Histologischer</a:t>
            </a:r>
          </a:p>
          <a:p>
            <a:pPr algn="ctr"/>
            <a:r>
              <a:rPr lang="de-DE" dirty="0"/>
              <a:t> Schnitt</a:t>
            </a: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40559F06-75DC-F590-ACBF-1746796DAE37}"/>
              </a:ext>
            </a:extLst>
          </p:cNvPr>
          <p:cNvSpPr/>
          <p:nvPr/>
        </p:nvSpPr>
        <p:spPr>
          <a:xfrm>
            <a:off x="2681714" y="4297679"/>
            <a:ext cx="2319970" cy="1772779"/>
          </a:xfrm>
          <a:prstGeom prst="rect">
            <a:avLst/>
          </a:prstGeom>
          <a:solidFill>
            <a:srgbClr val="FFFFFF">
              <a:alpha val="81961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de-DE" sz="1400" dirty="0">
              <a:solidFill>
                <a:schemeClr val="tx1"/>
              </a:solidFill>
            </a:endParaRP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35FD5557-B201-B2D3-1CD6-27E6DEB3DC45}"/>
              </a:ext>
            </a:extLst>
          </p:cNvPr>
          <p:cNvSpPr/>
          <p:nvPr/>
        </p:nvSpPr>
        <p:spPr>
          <a:xfrm>
            <a:off x="8077272" y="2400101"/>
            <a:ext cx="3696575" cy="3631106"/>
          </a:xfrm>
          <a:prstGeom prst="rect">
            <a:avLst/>
          </a:prstGeom>
          <a:solidFill>
            <a:srgbClr val="FFFFFF">
              <a:alpha val="81961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de-DE" sz="1400" dirty="0">
              <a:solidFill>
                <a:schemeClr val="tx1"/>
              </a:solidFill>
            </a:endParaRP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4BE02391-7D43-4624-A7B9-60362AA7E67E}"/>
              </a:ext>
            </a:extLst>
          </p:cNvPr>
          <p:cNvSpPr/>
          <p:nvPr/>
        </p:nvSpPr>
        <p:spPr>
          <a:xfrm>
            <a:off x="2672454" y="4185270"/>
            <a:ext cx="251721" cy="112410"/>
          </a:xfrm>
          <a:prstGeom prst="rect">
            <a:avLst/>
          </a:prstGeom>
          <a:solidFill>
            <a:srgbClr val="FFFFFF">
              <a:alpha val="81961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de-DE" sz="14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4780040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B9F5726-9743-559C-44B7-28BCF753CDA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ethode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0A4E1061-0C55-7450-F7F3-0ECA40053FB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225054-8F4D-4B67-8803-E473E83FD8A6}" type="datetime1">
              <a:rPr lang="de-DE" noProof="0" smtClean="0"/>
              <a:t>15.11.22</a:t>
            </a:fld>
            <a:endParaRPr lang="de-DE" noProof="0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85026CBD-C28D-1239-FF11-CB093AC93CB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/>
              <a:t>© Universität zu Lübeck</a:t>
            </a:r>
            <a:endParaRPr lang="de-DE" noProof="0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B3D8F5EA-A8A7-1DEA-C1C9-FE439AFE483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 noProof="0"/>
              <a:t>Seite</a:t>
            </a:r>
            <a:r>
              <a:rPr lang="en-US"/>
              <a:t> </a:t>
            </a:r>
            <a:fld id="{401BA3E4-5E55-4F99-AF09-CC6D6B2539E2}" type="slidenum">
              <a:rPr lang="en-US" smtClean="0"/>
              <a:pPr/>
              <a:t>12</a:t>
            </a:fld>
            <a:endParaRPr lang="en-US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0F721EB6-F2CD-FB86-1247-C4FFEE5D937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9425" y="778321"/>
            <a:ext cx="11233150" cy="312008"/>
          </a:xfrm>
        </p:spPr>
        <p:txBody>
          <a:bodyPr/>
          <a:lstStyle/>
          <a:p>
            <a:r>
              <a:rPr lang="de-DE" dirty="0"/>
              <a:t>Arterien Segmentierung — Encoder-Decoder basierte Netzwerke</a:t>
            </a: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479AEFC7-95BB-7230-D3C3-9ACA24F43228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21502" y="205152"/>
            <a:ext cx="3744886" cy="1130532"/>
          </a:xfrm>
          <a:prstGeom prst="rect">
            <a:avLst/>
          </a:prstGeom>
          <a:noFill/>
        </p:spPr>
      </p:pic>
      <p:sp>
        <p:nvSpPr>
          <p:cNvPr id="8" name="Textplatzhalter 7">
            <a:extLst>
              <a:ext uri="{FF2B5EF4-FFF2-40B4-BE49-F238E27FC236}">
                <a16:creationId xmlns:a16="http://schemas.microsoft.com/office/drawing/2014/main" id="{D4EF4688-9BF6-2483-1B4A-AFAF165C3B8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8199" y="1703388"/>
            <a:ext cx="11233150" cy="218393"/>
          </a:xfrm>
        </p:spPr>
        <p:txBody>
          <a:bodyPr/>
          <a:lstStyle/>
          <a:p>
            <a:pPr lvl="2"/>
            <a:r>
              <a:rPr lang="de-DE" dirty="0"/>
              <a:t>U-Net</a:t>
            </a:r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8567CBAC-10EA-90AA-ADFC-8C3A949F62E9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8199" y="2145644"/>
            <a:ext cx="5811615" cy="3832951"/>
          </a:xfrm>
          <a:prstGeom prst="rect">
            <a:avLst/>
          </a:prstGeom>
        </p:spPr>
      </p:pic>
      <p:pic>
        <p:nvPicPr>
          <p:cNvPr id="13" name="Grafik 12">
            <a:extLst>
              <a:ext uri="{FF2B5EF4-FFF2-40B4-BE49-F238E27FC236}">
                <a16:creationId xmlns:a16="http://schemas.microsoft.com/office/drawing/2014/main" id="{98F8AF08-F24F-B993-67E6-5B1339A40B12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9217" y="2120678"/>
            <a:ext cx="6351328" cy="3857917"/>
          </a:xfrm>
          <a:prstGeom prst="rect">
            <a:avLst/>
          </a:prstGeom>
        </p:spPr>
      </p:pic>
      <p:sp>
        <p:nvSpPr>
          <p:cNvPr id="14" name="Textplatzhalter 9">
            <a:extLst>
              <a:ext uri="{FF2B5EF4-FFF2-40B4-BE49-F238E27FC236}">
                <a16:creationId xmlns:a16="http://schemas.microsoft.com/office/drawing/2014/main" id="{2C36E564-EB5F-FDAB-2AB5-EB7A076836CA}"/>
              </a:ext>
            </a:extLst>
          </p:cNvPr>
          <p:cNvSpPr txBox="1">
            <a:spLocks/>
          </p:cNvSpPr>
          <p:nvPr/>
        </p:nvSpPr>
        <p:spPr bwMode="gray">
          <a:xfrm>
            <a:off x="4116749" y="6149879"/>
            <a:ext cx="7594600" cy="107677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1600" b="1" i="0" kern="1200">
                <a:solidFill>
                  <a:schemeClr val="accent1"/>
                </a:solidFill>
                <a:latin typeface="Myriad Pro" panose="020B0503030403020204" pitchFamily="34" charset="0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1400" b="0" i="0" kern="120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1" i="0" kern="120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+mn-cs"/>
              </a:defRPr>
            </a:lvl3pPr>
            <a:lvl4pPr marL="18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b="0" i="0" kern="120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+mn-cs"/>
              </a:defRPr>
            </a:lvl4pPr>
            <a:lvl5pPr marL="36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b="0" i="0" kern="120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b="0" i="0" kern="120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+mn-cs"/>
              </a:defRPr>
            </a:lvl6pPr>
            <a:lvl7pPr marL="216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buFont typeface="+mj-lt"/>
              <a:buAutoNum type="arabicPeriod"/>
              <a:defRPr sz="1400" b="0" i="0" kern="120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lphaLcParenR"/>
              <a:defRPr sz="1400" b="0" i="0" kern="120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+mn-cs"/>
              </a:defRPr>
            </a:lvl8pPr>
            <a:lvl9pPr marL="648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romanLcPeriod"/>
              <a:defRPr sz="1400" b="0" i="0" kern="120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+mn-cs"/>
              </a:defRPr>
            </a:lvl9pPr>
          </a:lstStyle>
          <a:p>
            <a:pPr lvl="1"/>
            <a:r>
              <a:rPr lang="en-US" sz="1000" dirty="0"/>
              <a:t>O. </a:t>
            </a:r>
            <a:r>
              <a:rPr lang="en-US" sz="1000" dirty="0" err="1"/>
              <a:t>Ronneberger</a:t>
            </a:r>
            <a:r>
              <a:rPr lang="en-US" sz="1000" dirty="0"/>
              <a:t>, P. Fischer, and T. </a:t>
            </a:r>
            <a:r>
              <a:rPr lang="en-US" sz="1000" dirty="0" err="1"/>
              <a:t>Brox</a:t>
            </a:r>
            <a:r>
              <a:rPr lang="en-US" sz="1000" dirty="0"/>
              <a:t>. U-Net: Convolutional Networks for Biomedical Image Segmentation. Medical Image Computing and </a:t>
            </a:r>
            <a:r>
              <a:rPr lang="en-US" sz="1000" dirty="0" err="1"/>
              <a:t>ComputerAssisted</a:t>
            </a:r>
            <a:r>
              <a:rPr lang="en-US" sz="1000" dirty="0"/>
              <a:t> Intervention – MICCAI 2015, :234–241, 2015. </a:t>
            </a:r>
            <a:br>
              <a:rPr lang="en-US" sz="1000" dirty="0"/>
            </a:br>
            <a:r>
              <a:rPr lang="en-US" sz="1000" dirty="0"/>
              <a:t>Z. Zhou, M. Rahman </a:t>
            </a:r>
            <a:r>
              <a:rPr lang="en-US" sz="1000" dirty="0" err="1"/>
              <a:t>Siddiquee</a:t>
            </a:r>
            <a:r>
              <a:rPr lang="en-US" sz="1000" dirty="0"/>
              <a:t>, N. </a:t>
            </a:r>
            <a:r>
              <a:rPr lang="en-US" sz="1000" dirty="0" err="1"/>
              <a:t>Tajbakhsh</a:t>
            </a:r>
            <a:r>
              <a:rPr lang="en-US" sz="1000" dirty="0"/>
              <a:t>, and J. Liang. </a:t>
            </a:r>
            <a:r>
              <a:rPr lang="en-US" sz="1000" dirty="0" err="1"/>
              <a:t>UNet</a:t>
            </a:r>
            <a:r>
              <a:rPr lang="en-US" sz="1000" dirty="0"/>
              <a:t>++: A Nested U-Net Architecture for Medical Image Segmentation. Deep Learning in Medical Image Analysis and Multimodal Learning for Clinical Decision Support, :3–11, 2018.</a:t>
            </a:r>
          </a:p>
          <a:p>
            <a:pPr lvl="1"/>
            <a:endParaRPr lang="de-DE" sz="1000" dirty="0"/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4CD95ABF-82C7-4E45-4CE8-F842615B8320}"/>
              </a:ext>
            </a:extLst>
          </p:cNvPr>
          <p:cNvSpPr/>
          <p:nvPr/>
        </p:nvSpPr>
        <p:spPr>
          <a:xfrm>
            <a:off x="2108048" y="1341604"/>
            <a:ext cx="1587516" cy="552325"/>
          </a:xfrm>
          <a:prstGeom prst="rect">
            <a:avLst/>
          </a:prstGeom>
          <a:solidFill>
            <a:srgbClr val="FFFF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de-DE" sz="1400" dirty="0">
              <a:solidFill>
                <a:schemeClr val="tx1"/>
              </a:solidFill>
            </a:endParaRPr>
          </a:p>
        </p:txBody>
      </p:sp>
      <p:sp>
        <p:nvSpPr>
          <p:cNvPr id="17" name="Textplatzhalter 7">
            <a:extLst>
              <a:ext uri="{FF2B5EF4-FFF2-40B4-BE49-F238E27FC236}">
                <a16:creationId xmlns:a16="http://schemas.microsoft.com/office/drawing/2014/main" id="{9BD09DC7-EB46-34B0-CF85-F22BB5162FF2}"/>
              </a:ext>
            </a:extLst>
          </p:cNvPr>
          <p:cNvSpPr txBox="1">
            <a:spLocks/>
          </p:cNvSpPr>
          <p:nvPr/>
        </p:nvSpPr>
        <p:spPr bwMode="gray">
          <a:xfrm>
            <a:off x="478199" y="1703818"/>
            <a:ext cx="11233150" cy="218393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1600" b="1" i="0" kern="1200">
                <a:solidFill>
                  <a:schemeClr val="accent1"/>
                </a:solidFill>
                <a:latin typeface="Myriad Pro" panose="020B0503030403020204" pitchFamily="34" charset="0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1400" b="0" i="0" kern="120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1" i="0" kern="120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+mn-cs"/>
              </a:defRPr>
            </a:lvl3pPr>
            <a:lvl4pPr marL="18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b="0" i="0" kern="120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+mn-cs"/>
              </a:defRPr>
            </a:lvl4pPr>
            <a:lvl5pPr marL="36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b="0" i="0" kern="120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b="0" i="0" kern="120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+mn-cs"/>
              </a:defRPr>
            </a:lvl6pPr>
            <a:lvl7pPr marL="216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buFont typeface="+mj-lt"/>
              <a:buAutoNum type="arabicPeriod"/>
              <a:defRPr sz="1400" b="0" i="0" kern="120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lphaLcParenR"/>
              <a:defRPr sz="1400" b="0" i="0" kern="120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+mn-cs"/>
              </a:defRPr>
            </a:lvl8pPr>
            <a:lvl9pPr marL="648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romanLcPeriod"/>
              <a:defRPr sz="1400" b="0" i="0" kern="120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+mn-cs"/>
              </a:defRPr>
            </a:lvl9pPr>
          </a:lstStyle>
          <a:p>
            <a:pPr lvl="2"/>
            <a:r>
              <a:rPr lang="de-DE" dirty="0"/>
              <a:t>U-Net++</a:t>
            </a:r>
          </a:p>
        </p:txBody>
      </p:sp>
    </p:spTree>
    <p:extLst>
      <p:ext uri="{BB962C8B-B14F-4D97-AF65-F5344CB8AC3E}">
        <p14:creationId xmlns:p14="http://schemas.microsoft.com/office/powerpoint/2010/main" val="367339656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build="p"/>
      <p:bldP spid="16" grpId="0" animBg="1"/>
      <p:bldP spid="17" grpId="0" build="p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Grafik 10">
            <a:extLst>
              <a:ext uri="{FF2B5EF4-FFF2-40B4-BE49-F238E27FC236}">
                <a16:creationId xmlns:a16="http://schemas.microsoft.com/office/drawing/2014/main" id="{440A6EEB-7F15-AEC1-47F6-BCFD3545E3F7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8214" y="2289485"/>
            <a:ext cx="6337411" cy="3245091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FB9F5726-9743-559C-44B7-28BCF753CDA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ethode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0A4E1061-0C55-7450-F7F3-0ECA40053FB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225054-8F4D-4B67-8803-E473E83FD8A6}" type="datetime1">
              <a:rPr lang="de-DE" noProof="0" smtClean="0"/>
              <a:t>15.11.22</a:t>
            </a:fld>
            <a:endParaRPr lang="de-DE" noProof="0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85026CBD-C28D-1239-FF11-CB093AC93CB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/>
              <a:t>© Universität zu Lübeck</a:t>
            </a:r>
            <a:endParaRPr lang="de-DE" noProof="0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B3D8F5EA-A8A7-1DEA-C1C9-FE439AFE483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 noProof="0"/>
              <a:t>Seite</a:t>
            </a:r>
            <a:r>
              <a:rPr lang="en-US"/>
              <a:t> </a:t>
            </a:r>
            <a:fld id="{401BA3E4-5E55-4F99-AF09-CC6D6B2539E2}" type="slidenum">
              <a:rPr lang="en-US" smtClean="0"/>
              <a:pPr/>
              <a:t>13</a:t>
            </a:fld>
            <a:endParaRPr lang="en-US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0F721EB6-F2CD-FB86-1247-C4FFEE5D937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9425" y="778321"/>
            <a:ext cx="11233150" cy="312008"/>
          </a:xfrm>
        </p:spPr>
        <p:txBody>
          <a:bodyPr/>
          <a:lstStyle/>
          <a:p>
            <a:r>
              <a:rPr lang="de-DE" dirty="0"/>
              <a:t>Arterien Segmentierung — Multi-Auflösung / Pyramiden Netzwerke</a:t>
            </a: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479AEFC7-95BB-7230-D3C3-9ACA24F43228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21502" y="205152"/>
            <a:ext cx="3744886" cy="1130532"/>
          </a:xfrm>
          <a:prstGeom prst="rect">
            <a:avLst/>
          </a:prstGeom>
          <a:noFill/>
        </p:spPr>
      </p:pic>
      <p:sp>
        <p:nvSpPr>
          <p:cNvPr id="13" name="Textplatzhalter 9">
            <a:extLst>
              <a:ext uri="{FF2B5EF4-FFF2-40B4-BE49-F238E27FC236}">
                <a16:creationId xmlns:a16="http://schemas.microsoft.com/office/drawing/2014/main" id="{407A27D7-ABBE-8F11-A74F-BDA3FB2117FD}"/>
              </a:ext>
            </a:extLst>
          </p:cNvPr>
          <p:cNvSpPr txBox="1">
            <a:spLocks/>
          </p:cNvSpPr>
          <p:nvPr/>
        </p:nvSpPr>
        <p:spPr bwMode="gray">
          <a:xfrm>
            <a:off x="4116749" y="6149879"/>
            <a:ext cx="7594600" cy="66383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1600" b="1" i="0" kern="1200">
                <a:solidFill>
                  <a:schemeClr val="accent1"/>
                </a:solidFill>
                <a:latin typeface="Myriad Pro" panose="020B0503030403020204" pitchFamily="34" charset="0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1400" b="0" i="0" kern="120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1" i="0" kern="120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+mn-cs"/>
              </a:defRPr>
            </a:lvl3pPr>
            <a:lvl4pPr marL="18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b="0" i="0" kern="120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+mn-cs"/>
              </a:defRPr>
            </a:lvl4pPr>
            <a:lvl5pPr marL="36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b="0" i="0" kern="120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b="0" i="0" kern="120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+mn-cs"/>
              </a:defRPr>
            </a:lvl6pPr>
            <a:lvl7pPr marL="216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buFont typeface="+mj-lt"/>
              <a:buAutoNum type="arabicPeriod"/>
              <a:defRPr sz="1400" b="0" i="0" kern="120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lphaLcParenR"/>
              <a:defRPr sz="1400" b="0" i="0" kern="120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+mn-cs"/>
              </a:defRPr>
            </a:lvl8pPr>
            <a:lvl9pPr marL="648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romanLcPeriod"/>
              <a:defRPr sz="1400" b="0" i="0" kern="120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+mn-cs"/>
              </a:defRPr>
            </a:lvl9pPr>
          </a:lstStyle>
          <a:p>
            <a:pPr lvl="1"/>
            <a:r>
              <a:rPr lang="en-US" sz="1000" dirty="0"/>
              <a:t>T.-Y. Lin, P. </a:t>
            </a:r>
            <a:r>
              <a:rPr lang="en-US" sz="1000" dirty="0" err="1"/>
              <a:t>Dollár</a:t>
            </a:r>
            <a:r>
              <a:rPr lang="en-US" sz="1000" dirty="0"/>
              <a:t>, R. </a:t>
            </a:r>
            <a:r>
              <a:rPr lang="en-US" sz="1000" dirty="0" err="1"/>
              <a:t>Girshick</a:t>
            </a:r>
            <a:r>
              <a:rPr lang="en-US" sz="1000" dirty="0"/>
              <a:t>, K. He, B. Hariharan, and S. </a:t>
            </a:r>
            <a:r>
              <a:rPr lang="en-US" sz="1000" dirty="0" err="1"/>
              <a:t>Belongie</a:t>
            </a:r>
            <a:r>
              <a:rPr lang="en-US" sz="1000" dirty="0"/>
              <a:t>. Feature Pyramid Networks for Object Detection. 2017 IEEE Conference on Computer Vision and Pattern Recognition (CVPR), :936–944, 2017.</a:t>
            </a:r>
            <a:br>
              <a:rPr lang="en-US" sz="1000" dirty="0"/>
            </a:br>
            <a:r>
              <a:rPr lang="en-US" sz="1000" dirty="0"/>
              <a:t>H. Zhao, J. Shi, X. Qi, X. Wang, and J. Jia. Pyramid Scene Parsing Network. 2017 IEEE Conference on Computer Vision and Pattern Recognition (CVPR), :6230–6239, 2017.</a:t>
            </a:r>
            <a:endParaRPr lang="de-DE" sz="1000" dirty="0"/>
          </a:p>
        </p:txBody>
      </p:sp>
      <p:sp>
        <p:nvSpPr>
          <p:cNvPr id="14" name="Textplatzhalter 7">
            <a:extLst>
              <a:ext uri="{FF2B5EF4-FFF2-40B4-BE49-F238E27FC236}">
                <a16:creationId xmlns:a16="http://schemas.microsoft.com/office/drawing/2014/main" id="{F74D6402-7629-10C2-D2BE-21DA9BAE4D9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8199" y="1703388"/>
            <a:ext cx="11233150" cy="218393"/>
          </a:xfrm>
        </p:spPr>
        <p:txBody>
          <a:bodyPr/>
          <a:lstStyle/>
          <a:p>
            <a:pPr lvl="2"/>
            <a:r>
              <a:rPr lang="de-DE" dirty="0"/>
              <a:t>Feature </a:t>
            </a:r>
            <a:r>
              <a:rPr lang="de-DE" dirty="0" err="1"/>
              <a:t>Pyramid</a:t>
            </a:r>
            <a:r>
              <a:rPr lang="de-DE" dirty="0"/>
              <a:t> Network (FPN)</a:t>
            </a: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A82DE5EF-5FA5-ECAE-56B8-1AB6DE5A151D}"/>
              </a:ext>
            </a:extLst>
          </p:cNvPr>
          <p:cNvSpPr/>
          <p:nvPr/>
        </p:nvSpPr>
        <p:spPr>
          <a:xfrm>
            <a:off x="433832" y="1457393"/>
            <a:ext cx="3728129" cy="552325"/>
          </a:xfrm>
          <a:prstGeom prst="rect">
            <a:avLst/>
          </a:prstGeom>
          <a:solidFill>
            <a:srgbClr val="FFFF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de-DE" sz="1400" dirty="0">
              <a:solidFill>
                <a:schemeClr val="tx1"/>
              </a:solidFill>
            </a:endParaRPr>
          </a:p>
        </p:txBody>
      </p:sp>
      <p:sp>
        <p:nvSpPr>
          <p:cNvPr id="16" name="Textplatzhalter 7">
            <a:extLst>
              <a:ext uri="{FF2B5EF4-FFF2-40B4-BE49-F238E27FC236}">
                <a16:creationId xmlns:a16="http://schemas.microsoft.com/office/drawing/2014/main" id="{04768123-7057-E50C-D47B-E875333A255D}"/>
              </a:ext>
            </a:extLst>
          </p:cNvPr>
          <p:cNvSpPr txBox="1">
            <a:spLocks/>
          </p:cNvSpPr>
          <p:nvPr/>
        </p:nvSpPr>
        <p:spPr bwMode="gray">
          <a:xfrm>
            <a:off x="478199" y="1704022"/>
            <a:ext cx="3931876" cy="21839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1600" b="1" i="0" kern="1200">
                <a:solidFill>
                  <a:schemeClr val="accent1"/>
                </a:solidFill>
                <a:latin typeface="Myriad Pro" panose="020B0503030403020204" pitchFamily="34" charset="0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1400" b="0" i="0" kern="120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1" i="0" kern="120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+mn-cs"/>
              </a:defRPr>
            </a:lvl3pPr>
            <a:lvl4pPr marL="18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b="0" i="0" kern="120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+mn-cs"/>
              </a:defRPr>
            </a:lvl4pPr>
            <a:lvl5pPr marL="36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b="0" i="0" kern="120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b="0" i="0" kern="120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+mn-cs"/>
              </a:defRPr>
            </a:lvl6pPr>
            <a:lvl7pPr marL="216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buFont typeface="+mj-lt"/>
              <a:buAutoNum type="arabicPeriod"/>
              <a:defRPr sz="1400" b="0" i="0" kern="120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lphaLcParenR"/>
              <a:defRPr sz="1400" b="0" i="0" kern="120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+mn-cs"/>
              </a:defRPr>
            </a:lvl8pPr>
            <a:lvl9pPr marL="648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romanLcPeriod"/>
              <a:defRPr sz="1400" b="0" i="0" kern="120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+mn-cs"/>
              </a:defRPr>
            </a:lvl9pPr>
          </a:lstStyle>
          <a:p>
            <a:pPr lvl="2"/>
            <a:r>
              <a:rPr lang="de-DE" dirty="0" err="1"/>
              <a:t>Pyramid</a:t>
            </a:r>
            <a:r>
              <a:rPr lang="de-DE" dirty="0"/>
              <a:t> Scene </a:t>
            </a:r>
            <a:r>
              <a:rPr lang="de-DE" dirty="0" err="1"/>
              <a:t>Parsing</a:t>
            </a:r>
            <a:r>
              <a:rPr lang="de-DE" dirty="0"/>
              <a:t> Network </a:t>
            </a: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8222E317-CE82-2619-45DF-8E3DD52ECAEC}"/>
              </a:ext>
            </a:extLst>
          </p:cNvPr>
          <p:cNvSpPr/>
          <p:nvPr/>
        </p:nvSpPr>
        <p:spPr>
          <a:xfrm>
            <a:off x="388620" y="2148068"/>
            <a:ext cx="7832882" cy="3481207"/>
          </a:xfrm>
          <a:prstGeom prst="rect">
            <a:avLst/>
          </a:prstGeom>
          <a:solidFill>
            <a:srgbClr val="FFFF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de-DE" sz="1400" dirty="0">
              <a:solidFill>
                <a:schemeClr val="tx1"/>
              </a:solidFill>
            </a:endParaRPr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38556825-82D7-997F-8A16-7C32BFAD1D07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8214" y="2081851"/>
            <a:ext cx="11264629" cy="32328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442298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 build="p"/>
      <p:bldP spid="15" grpId="0" animBg="1"/>
      <p:bldP spid="16" grpId="0"/>
      <p:bldP spid="17" grpId="0" animBg="1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Grafik 11">
            <a:extLst>
              <a:ext uri="{FF2B5EF4-FFF2-40B4-BE49-F238E27FC236}">
                <a16:creationId xmlns:a16="http://schemas.microsoft.com/office/drawing/2014/main" id="{526827AC-AFA1-8AAA-348A-CD1DB11DFD5E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8199" y="2158159"/>
            <a:ext cx="10088083" cy="3465408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FB9F5726-9743-559C-44B7-28BCF753CDA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ethode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0A4E1061-0C55-7450-F7F3-0ECA40053FB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225054-8F4D-4B67-8803-E473E83FD8A6}" type="datetime1">
              <a:rPr lang="de-DE" noProof="0" smtClean="0"/>
              <a:t>15.11.22</a:t>
            </a:fld>
            <a:endParaRPr lang="de-DE" noProof="0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85026CBD-C28D-1239-FF11-CB093AC93CB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/>
              <a:t>© Universität zu Lübeck</a:t>
            </a:r>
            <a:endParaRPr lang="de-DE" noProof="0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B3D8F5EA-A8A7-1DEA-C1C9-FE439AFE483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 noProof="0"/>
              <a:t>Seite</a:t>
            </a:r>
            <a:r>
              <a:rPr lang="en-US"/>
              <a:t> </a:t>
            </a:r>
            <a:fld id="{401BA3E4-5E55-4F99-AF09-CC6D6B2539E2}" type="slidenum">
              <a:rPr lang="en-US" smtClean="0"/>
              <a:pPr/>
              <a:t>14</a:t>
            </a:fld>
            <a:endParaRPr lang="en-US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0F721EB6-F2CD-FB86-1247-C4FFEE5D937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9425" y="778321"/>
            <a:ext cx="11233150" cy="312008"/>
          </a:xfrm>
        </p:spPr>
        <p:txBody>
          <a:bodyPr/>
          <a:lstStyle/>
          <a:p>
            <a:r>
              <a:rPr lang="de-DE" dirty="0"/>
              <a:t>Arterien Segmentierung — Attention-basierte Netzwerke</a:t>
            </a: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479AEFC7-95BB-7230-D3C3-9ACA24F43228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21502" y="205152"/>
            <a:ext cx="3744886" cy="1130532"/>
          </a:xfrm>
          <a:prstGeom prst="rect">
            <a:avLst/>
          </a:prstGeom>
          <a:noFill/>
        </p:spPr>
      </p:pic>
      <p:sp>
        <p:nvSpPr>
          <p:cNvPr id="13" name="Textplatzhalter 9">
            <a:extLst>
              <a:ext uri="{FF2B5EF4-FFF2-40B4-BE49-F238E27FC236}">
                <a16:creationId xmlns:a16="http://schemas.microsoft.com/office/drawing/2014/main" id="{A4A7BE1A-E1FD-6046-D601-C54A75B90AC4}"/>
              </a:ext>
            </a:extLst>
          </p:cNvPr>
          <p:cNvSpPr txBox="1">
            <a:spLocks/>
          </p:cNvSpPr>
          <p:nvPr/>
        </p:nvSpPr>
        <p:spPr bwMode="gray">
          <a:xfrm>
            <a:off x="4116749" y="6149879"/>
            <a:ext cx="7594600" cy="15600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1600" b="1" i="0" kern="1200">
                <a:solidFill>
                  <a:schemeClr val="accent1"/>
                </a:solidFill>
                <a:latin typeface="Myriad Pro" panose="020B0503030403020204" pitchFamily="34" charset="0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1400" b="0" i="0" kern="120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1" i="0" kern="120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+mn-cs"/>
              </a:defRPr>
            </a:lvl3pPr>
            <a:lvl4pPr marL="18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b="0" i="0" kern="120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+mn-cs"/>
              </a:defRPr>
            </a:lvl4pPr>
            <a:lvl5pPr marL="36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b="0" i="0" kern="120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b="0" i="0" kern="120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+mn-cs"/>
              </a:defRPr>
            </a:lvl6pPr>
            <a:lvl7pPr marL="216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buFont typeface="+mj-lt"/>
              <a:buAutoNum type="arabicPeriod"/>
              <a:defRPr sz="1400" b="0" i="0" kern="120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lphaLcParenR"/>
              <a:defRPr sz="1400" b="0" i="0" kern="120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+mn-cs"/>
              </a:defRPr>
            </a:lvl8pPr>
            <a:lvl9pPr marL="648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romanLcPeriod"/>
              <a:defRPr sz="1400" b="0" i="0" kern="120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+mn-cs"/>
              </a:defRPr>
            </a:lvl9pPr>
          </a:lstStyle>
          <a:p>
            <a:pPr lvl="1"/>
            <a:r>
              <a:rPr lang="en-US" sz="1000" dirty="0"/>
              <a:t>H. Li, P. </a:t>
            </a:r>
            <a:r>
              <a:rPr lang="en-US" sz="1000" dirty="0" err="1"/>
              <a:t>Xiong</a:t>
            </a:r>
            <a:r>
              <a:rPr lang="en-US" sz="1000" dirty="0"/>
              <a:t>, J. An, and L. Wang. Pyramid Attention Network for Semantic Segmentation, 2018.</a:t>
            </a:r>
            <a:endParaRPr lang="de-DE" sz="1000" dirty="0"/>
          </a:p>
        </p:txBody>
      </p:sp>
      <p:sp>
        <p:nvSpPr>
          <p:cNvPr id="14" name="Textplatzhalter 7">
            <a:extLst>
              <a:ext uri="{FF2B5EF4-FFF2-40B4-BE49-F238E27FC236}">
                <a16:creationId xmlns:a16="http://schemas.microsoft.com/office/drawing/2014/main" id="{98A7C92A-21E7-E5A7-CF7B-18DC8A0FE4B3}"/>
              </a:ext>
            </a:extLst>
          </p:cNvPr>
          <p:cNvSpPr txBox="1">
            <a:spLocks/>
          </p:cNvSpPr>
          <p:nvPr/>
        </p:nvSpPr>
        <p:spPr bwMode="gray">
          <a:xfrm>
            <a:off x="478199" y="1704022"/>
            <a:ext cx="3931876" cy="21839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1600" b="1" i="0" kern="1200">
                <a:solidFill>
                  <a:schemeClr val="accent1"/>
                </a:solidFill>
                <a:latin typeface="Myriad Pro" panose="020B0503030403020204" pitchFamily="34" charset="0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1400" b="0" i="0" kern="120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1" i="0" kern="120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+mn-cs"/>
              </a:defRPr>
            </a:lvl3pPr>
            <a:lvl4pPr marL="18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b="0" i="0" kern="120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+mn-cs"/>
              </a:defRPr>
            </a:lvl4pPr>
            <a:lvl5pPr marL="36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b="0" i="0" kern="120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b="0" i="0" kern="120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+mn-cs"/>
              </a:defRPr>
            </a:lvl6pPr>
            <a:lvl7pPr marL="216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buFont typeface="+mj-lt"/>
              <a:buAutoNum type="arabicPeriod"/>
              <a:defRPr sz="1400" b="0" i="0" kern="120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lphaLcParenR"/>
              <a:defRPr sz="1400" b="0" i="0" kern="120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+mn-cs"/>
              </a:defRPr>
            </a:lvl8pPr>
            <a:lvl9pPr marL="648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romanLcPeriod"/>
              <a:defRPr sz="1400" b="0" i="0" kern="120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+mn-cs"/>
              </a:defRPr>
            </a:lvl9pPr>
          </a:lstStyle>
          <a:p>
            <a:pPr lvl="2"/>
            <a:r>
              <a:rPr lang="en-US" dirty="0"/>
              <a:t>Pyramid Attention Network 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66485942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E0C3F02-9301-B1B5-BF23-6541B2A99BC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395588"/>
            <a:ext cx="11233150" cy="374398"/>
          </a:xfrm>
        </p:spPr>
        <p:txBody>
          <a:bodyPr/>
          <a:lstStyle/>
          <a:p>
            <a:r>
              <a:rPr lang="de-DE" dirty="0"/>
              <a:t>Methode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98B23D54-B433-8416-EBB9-2247CE1B277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5A82B2D-840F-4167-AD44-C02BC9C87CCB}" type="datetime1">
              <a:rPr lang="de-DE" noProof="0" smtClean="0"/>
              <a:t>15.11.22</a:t>
            </a:fld>
            <a:endParaRPr lang="de-DE" noProof="0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07D74B38-8548-258C-E24A-CC0064A6E9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 dirty="0"/>
              <a:t>© Universität zu Lübeck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5D0CA9A8-1676-2235-4614-F6A9FDAD2C4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 noProof="0"/>
              <a:t>Seite</a:t>
            </a:r>
            <a:r>
              <a:rPr lang="en-US"/>
              <a:t> </a:t>
            </a:r>
            <a:fld id="{401BA3E4-5E55-4F99-AF09-CC6D6B2539E2}" type="slidenum">
              <a:rPr lang="en-US" smtClean="0"/>
              <a:pPr/>
              <a:t>15</a:t>
            </a:fld>
            <a:endParaRPr lang="en-US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6D94A8A-5D89-58E6-9847-DDBBB69105D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9425" y="778321"/>
            <a:ext cx="11233150" cy="312008"/>
          </a:xfrm>
        </p:spPr>
        <p:txBody>
          <a:bodyPr/>
          <a:lstStyle/>
          <a:p>
            <a:r>
              <a:rPr lang="de-DE" dirty="0"/>
              <a:t>Arterien Segmentierung — Netzwerk Training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11B7D8A0-0ED8-25CD-E8BA-150ABFC3D2E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8199" y="1703388"/>
            <a:ext cx="11233150" cy="1166345"/>
          </a:xfrm>
        </p:spPr>
        <p:txBody>
          <a:bodyPr/>
          <a:lstStyle/>
          <a:p>
            <a:pPr lvl="2"/>
            <a:r>
              <a:rPr lang="de-DE" dirty="0">
                <a:sym typeface="Wingdings" panose="05000000000000000000" pitchFamily="2" charset="2"/>
              </a:rPr>
              <a:t>Bilder nach Maus IDs gemischt</a:t>
            </a:r>
          </a:p>
          <a:p>
            <a:pPr lvl="3"/>
            <a:r>
              <a:rPr lang="de-DE" dirty="0">
                <a:sym typeface="Wingdings" panose="05000000000000000000" pitchFamily="2" charset="2"/>
              </a:rPr>
              <a:t>keine konsekutiven Bilder in z.B. Training und Validation Data Set </a:t>
            </a:r>
          </a:p>
          <a:p>
            <a:pPr lvl="2"/>
            <a:endParaRPr lang="de-DE" dirty="0">
              <a:sym typeface="Wingdings" panose="05000000000000000000" pitchFamily="2" charset="2"/>
            </a:endParaRPr>
          </a:p>
          <a:p>
            <a:pPr lvl="2"/>
            <a:endParaRPr lang="de-DE" dirty="0"/>
          </a:p>
          <a:p>
            <a:pPr lvl="2"/>
            <a:endParaRPr lang="de-DE" dirty="0"/>
          </a:p>
        </p:txBody>
      </p:sp>
      <p:graphicFrame>
        <p:nvGraphicFramePr>
          <p:cNvPr id="8" name="Diagramm 7">
            <a:extLst>
              <a:ext uri="{FF2B5EF4-FFF2-40B4-BE49-F238E27FC236}">
                <a16:creationId xmlns:a16="http://schemas.microsoft.com/office/drawing/2014/main" id="{740FB07A-9748-459A-79D1-639649FC0969}"/>
              </a:ext>
            </a:extLst>
          </p:cNvPr>
          <p:cNvGraphicFramePr/>
          <p:nvPr/>
        </p:nvGraphicFramePr>
        <p:xfrm>
          <a:off x="478199" y="2286560"/>
          <a:ext cx="4874851" cy="369545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9" name="Textfeld 8">
            <a:extLst>
              <a:ext uri="{FF2B5EF4-FFF2-40B4-BE49-F238E27FC236}">
                <a16:creationId xmlns:a16="http://schemas.microsoft.com/office/drawing/2014/main" id="{F74ABDF3-0002-8CAD-C672-B2A48C6FDE86}"/>
              </a:ext>
            </a:extLst>
          </p:cNvPr>
          <p:cNvSpPr txBox="1"/>
          <p:nvPr/>
        </p:nvSpPr>
        <p:spPr>
          <a:xfrm>
            <a:off x="6101173" y="3618469"/>
            <a:ext cx="3641329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dirty="0">
                <a:latin typeface="+mn-lt"/>
                <a:sym typeface="Wingdings" panose="05000000000000000000" pitchFamily="2" charset="2"/>
              </a:rPr>
              <a:t>Netz lernt mit diesen Bildern</a:t>
            </a:r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051B6179-9F85-F0D1-D7EB-5A59B471CF54}"/>
              </a:ext>
            </a:extLst>
          </p:cNvPr>
          <p:cNvSpPr txBox="1"/>
          <p:nvPr/>
        </p:nvSpPr>
        <p:spPr>
          <a:xfrm>
            <a:off x="6090828" y="3995721"/>
            <a:ext cx="325755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algn="l" rtl="0" eaLnBrk="1" latinLnBrk="0" hangingPunct="1">
              <a:spcBef>
                <a:spcPts val="0"/>
              </a:spcBef>
              <a:spcAft>
                <a:spcPts val="0"/>
              </a:spcAft>
            </a:pPr>
            <a:r>
              <a:rPr lang="de-DE" sz="1800" kern="1200" dirty="0">
                <a:solidFill>
                  <a:srgbClr val="000000"/>
                </a:solidFill>
                <a:effectLst/>
                <a:latin typeface="Myriad Pro" panose="020B0503030403020204"/>
                <a:ea typeface="+mn-ea"/>
                <a:cs typeface="+mn-cs"/>
              </a:rPr>
              <a:t>Bestimmen des besten Netzes</a:t>
            </a:r>
            <a:endParaRPr lang="de-DE" dirty="0">
              <a:effectLst/>
            </a:endParaRPr>
          </a:p>
        </p:txBody>
      </p:sp>
      <p:sp>
        <p:nvSpPr>
          <p:cNvPr id="13" name="Textfeld 12">
            <a:extLst>
              <a:ext uri="{FF2B5EF4-FFF2-40B4-BE49-F238E27FC236}">
                <a16:creationId xmlns:a16="http://schemas.microsoft.com/office/drawing/2014/main" id="{733E44C9-B5E0-DF09-8FDB-C319E44B1409}"/>
              </a:ext>
            </a:extLst>
          </p:cNvPr>
          <p:cNvSpPr txBox="1"/>
          <p:nvPr/>
        </p:nvSpPr>
        <p:spPr>
          <a:xfrm>
            <a:off x="6101173" y="4328103"/>
            <a:ext cx="2597072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algn="l" rtl="0" eaLnBrk="1" latinLnBrk="0" hangingPunct="1">
              <a:spcBef>
                <a:spcPts val="0"/>
              </a:spcBef>
              <a:spcAft>
                <a:spcPts val="0"/>
              </a:spcAft>
            </a:pPr>
            <a:r>
              <a:rPr lang="de-DE" sz="1800" kern="1200" dirty="0">
                <a:solidFill>
                  <a:srgbClr val="000000"/>
                </a:solidFill>
                <a:effectLst/>
                <a:latin typeface="Myriad Pro" panose="020B0503030403020204"/>
                <a:ea typeface="+mn-ea"/>
                <a:cs typeface="+mn-cs"/>
              </a:rPr>
              <a:t>Zum Finalen Testen</a:t>
            </a:r>
            <a:endParaRPr lang="de-DE" dirty="0">
              <a:effectLst/>
            </a:endParaRPr>
          </a:p>
        </p:txBody>
      </p:sp>
      <p:cxnSp>
        <p:nvCxnSpPr>
          <p:cNvPr id="16" name="Gerade Verbindung mit Pfeil 15">
            <a:extLst>
              <a:ext uri="{FF2B5EF4-FFF2-40B4-BE49-F238E27FC236}">
                <a16:creationId xmlns:a16="http://schemas.microsoft.com/office/drawing/2014/main" id="{61AA02FD-5AC4-D843-A33C-9FD44E272154}"/>
              </a:ext>
            </a:extLst>
          </p:cNvPr>
          <p:cNvCxnSpPr>
            <a:cxnSpLocks/>
          </p:cNvCxnSpPr>
          <p:nvPr/>
        </p:nvCxnSpPr>
        <p:spPr>
          <a:xfrm>
            <a:off x="5480050" y="3803602"/>
            <a:ext cx="494127" cy="0"/>
          </a:xfrm>
          <a:prstGeom prst="straightConnector1">
            <a:avLst/>
          </a:prstGeom>
          <a:ln w="34925">
            <a:solidFill>
              <a:schemeClr val="bg2"/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Gerade Verbindung mit Pfeil 18">
            <a:extLst>
              <a:ext uri="{FF2B5EF4-FFF2-40B4-BE49-F238E27FC236}">
                <a16:creationId xmlns:a16="http://schemas.microsoft.com/office/drawing/2014/main" id="{B3806710-2133-9938-8DBD-1BD986913A8D}"/>
              </a:ext>
            </a:extLst>
          </p:cNvPr>
          <p:cNvCxnSpPr>
            <a:cxnSpLocks/>
          </p:cNvCxnSpPr>
          <p:nvPr/>
        </p:nvCxnSpPr>
        <p:spPr>
          <a:xfrm>
            <a:off x="5480049" y="4180387"/>
            <a:ext cx="494127" cy="0"/>
          </a:xfrm>
          <a:prstGeom prst="straightConnector1">
            <a:avLst/>
          </a:prstGeom>
          <a:ln w="34925">
            <a:solidFill>
              <a:schemeClr val="bg2"/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 Verbindung mit Pfeil 19">
            <a:extLst>
              <a:ext uri="{FF2B5EF4-FFF2-40B4-BE49-F238E27FC236}">
                <a16:creationId xmlns:a16="http://schemas.microsoft.com/office/drawing/2014/main" id="{278C19CD-CDA6-B28E-96B0-0F2781F2C84C}"/>
              </a:ext>
            </a:extLst>
          </p:cNvPr>
          <p:cNvCxnSpPr>
            <a:cxnSpLocks/>
          </p:cNvCxnSpPr>
          <p:nvPr/>
        </p:nvCxnSpPr>
        <p:spPr>
          <a:xfrm>
            <a:off x="5480048" y="4512769"/>
            <a:ext cx="494127" cy="0"/>
          </a:xfrm>
          <a:prstGeom prst="straightConnector1">
            <a:avLst/>
          </a:prstGeom>
          <a:ln w="34925">
            <a:solidFill>
              <a:schemeClr val="bg2"/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1" name="Grafik 20">
            <a:extLst>
              <a:ext uri="{FF2B5EF4-FFF2-40B4-BE49-F238E27FC236}">
                <a16:creationId xmlns:a16="http://schemas.microsoft.com/office/drawing/2014/main" id="{AF9DEC8A-08D9-0B07-02F5-52BA342CB266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21502" y="191192"/>
            <a:ext cx="3744886" cy="1130532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6940752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8" grpId="0">
        <p:bldAsOne/>
      </p:bldGraphic>
      <p:bldP spid="9" grpId="0"/>
      <p:bldP spid="10" grpId="0"/>
      <p:bldP spid="13" grpId="0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7D1DE7E-0C37-1923-6601-C3A2A1C40E3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395588"/>
            <a:ext cx="11233150" cy="374398"/>
          </a:xfrm>
        </p:spPr>
        <p:txBody>
          <a:bodyPr/>
          <a:lstStyle/>
          <a:p>
            <a:r>
              <a:rPr lang="de-DE" dirty="0"/>
              <a:t>Methode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EAD436E-0121-3687-2C1C-70A7EA70069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5A82B2D-840F-4167-AD44-C02BC9C87CCB}" type="datetime1">
              <a:rPr lang="de-DE" noProof="0" smtClean="0"/>
              <a:t>15.11.22</a:t>
            </a:fld>
            <a:endParaRPr lang="de-DE" noProof="0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77F74EDD-282F-93EF-33D5-3FE76B28A82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/>
              <a:t>© Universität zu Lübeck</a:t>
            </a:r>
            <a:endParaRPr lang="de-DE" noProof="0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53D729B8-F28B-7A02-FF4A-0A6F9B46B2D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 noProof="0"/>
              <a:t>Seite</a:t>
            </a:r>
            <a:r>
              <a:rPr lang="en-US"/>
              <a:t> </a:t>
            </a:r>
            <a:fld id="{401BA3E4-5E55-4F99-AF09-CC6D6B2539E2}" type="slidenum">
              <a:rPr lang="en-US" smtClean="0"/>
              <a:pPr/>
              <a:t>16</a:t>
            </a:fld>
            <a:endParaRPr lang="en-US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D176AFD-051B-A8EC-C141-196E5AF2CAB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9425" y="778321"/>
            <a:ext cx="11233150" cy="312008"/>
          </a:xfrm>
        </p:spPr>
        <p:txBody>
          <a:bodyPr/>
          <a:lstStyle/>
          <a:p>
            <a:r>
              <a:rPr lang="de-DE" dirty="0"/>
              <a:t>Arterien Segmentierung </a:t>
            </a:r>
            <a:r>
              <a:rPr lang="de-DE" sz="2000" b="0" i="0" kern="1200" dirty="0">
                <a:solidFill>
                  <a:srgbClr val="084653"/>
                </a:solidFill>
                <a:effectLst/>
                <a:latin typeface="Myriad Pro" panose="020B0503030403020204"/>
                <a:ea typeface="+mn-ea"/>
                <a:cs typeface="+mn-cs"/>
              </a:rPr>
              <a:t>—</a:t>
            </a:r>
            <a:r>
              <a:rPr lang="de-DE" dirty="0"/>
              <a:t> Single-Network Approach Architecture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55F09384-39C8-97D2-72DC-9DB80D21395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de-DE" dirty="0"/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CA4A5590-9D22-CC63-9969-5B633FCE53EC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8198" y="1703388"/>
            <a:ext cx="7200000" cy="3845963"/>
          </a:xfrm>
          <a:prstGeom prst="rect">
            <a:avLst/>
          </a:prstGeom>
        </p:spPr>
      </p:pic>
      <p:pic>
        <p:nvPicPr>
          <p:cNvPr id="12" name="Grafik 11">
            <a:extLst>
              <a:ext uri="{FF2B5EF4-FFF2-40B4-BE49-F238E27FC236}">
                <a16:creationId xmlns:a16="http://schemas.microsoft.com/office/drawing/2014/main" id="{856E4A7A-D91B-82C2-61B5-6A2D3E424A2C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21502" y="191192"/>
            <a:ext cx="3744886" cy="1130532"/>
          </a:xfrm>
          <a:prstGeom prst="rect">
            <a:avLst/>
          </a:prstGeom>
          <a:noFill/>
        </p:spPr>
      </p:pic>
      <p:sp>
        <p:nvSpPr>
          <p:cNvPr id="8" name="Textfeld 7">
            <a:extLst>
              <a:ext uri="{FF2B5EF4-FFF2-40B4-BE49-F238E27FC236}">
                <a16:creationId xmlns:a16="http://schemas.microsoft.com/office/drawing/2014/main" id="{E59D6CED-5F41-90F3-3AAC-E784A69D75D0}"/>
              </a:ext>
            </a:extLst>
          </p:cNvPr>
          <p:cNvSpPr txBox="1"/>
          <p:nvPr/>
        </p:nvSpPr>
        <p:spPr>
          <a:xfrm>
            <a:off x="7874109" y="3429000"/>
            <a:ext cx="3641329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dirty="0">
                <a:latin typeface="+mn-lt"/>
                <a:sym typeface="Wingdings" panose="05000000000000000000" pitchFamily="2" charset="2"/>
              </a:rPr>
              <a:t>Anschließende Feinjustierung </a:t>
            </a:r>
          </a:p>
        </p:txBody>
      </p:sp>
      <p:cxnSp>
        <p:nvCxnSpPr>
          <p:cNvPr id="9" name="Gerade Verbindung mit Pfeil 8">
            <a:extLst>
              <a:ext uri="{FF2B5EF4-FFF2-40B4-BE49-F238E27FC236}">
                <a16:creationId xmlns:a16="http://schemas.microsoft.com/office/drawing/2014/main" id="{EC30AF08-B994-D416-E7A3-C6A2E3603C1E}"/>
              </a:ext>
            </a:extLst>
          </p:cNvPr>
          <p:cNvCxnSpPr>
            <a:cxnSpLocks/>
          </p:cNvCxnSpPr>
          <p:nvPr/>
        </p:nvCxnSpPr>
        <p:spPr>
          <a:xfrm>
            <a:off x="7252986" y="3614133"/>
            <a:ext cx="494127" cy="0"/>
          </a:xfrm>
          <a:prstGeom prst="straightConnector1">
            <a:avLst/>
          </a:prstGeom>
          <a:ln w="34925">
            <a:solidFill>
              <a:schemeClr val="bg2"/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2647380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Rechteck 20">
            <a:extLst>
              <a:ext uri="{FF2B5EF4-FFF2-40B4-BE49-F238E27FC236}">
                <a16:creationId xmlns:a16="http://schemas.microsoft.com/office/drawing/2014/main" id="{E2427E1E-8758-F70F-6447-CA6C194F152A}"/>
              </a:ext>
            </a:extLst>
          </p:cNvPr>
          <p:cNvSpPr/>
          <p:nvPr/>
        </p:nvSpPr>
        <p:spPr>
          <a:xfrm>
            <a:off x="3573780" y="631575"/>
            <a:ext cx="2994660" cy="795944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de-DE" sz="1400" dirty="0">
              <a:solidFill>
                <a:schemeClr val="tx1"/>
              </a:solidFill>
            </a:endParaRPr>
          </a:p>
        </p:txBody>
      </p:sp>
      <p:sp>
        <p:nvSpPr>
          <p:cNvPr id="23" name="Textplatzhalter 2">
            <a:extLst>
              <a:ext uri="{FF2B5EF4-FFF2-40B4-BE49-F238E27FC236}">
                <a16:creationId xmlns:a16="http://schemas.microsoft.com/office/drawing/2014/main" id="{BB29F8F9-F69D-840D-F4E4-3888D6EBC0FF}"/>
              </a:ext>
            </a:extLst>
          </p:cNvPr>
          <p:cNvSpPr txBox="1">
            <a:spLocks/>
          </p:cNvSpPr>
          <p:nvPr/>
        </p:nvSpPr>
        <p:spPr bwMode="gray">
          <a:xfrm>
            <a:off x="479425" y="778321"/>
            <a:ext cx="11233150" cy="894219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2000" b="0" i="0" kern="1200">
                <a:solidFill>
                  <a:schemeClr val="accent2"/>
                </a:solidFill>
                <a:latin typeface="Myriad Pro" panose="020B0503030403020204" pitchFamily="34" charset="0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1400" b="0" i="0" kern="120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1" i="0" kern="120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+mn-cs"/>
              </a:defRPr>
            </a:lvl3pPr>
            <a:lvl4pPr marL="18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b="0" i="0" kern="120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+mn-cs"/>
              </a:defRPr>
            </a:lvl4pPr>
            <a:lvl5pPr marL="36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b="0" i="0" kern="120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b="0" i="0" kern="120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+mn-cs"/>
              </a:defRPr>
            </a:lvl6pPr>
            <a:lvl7pPr marL="216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buFont typeface="+mj-lt"/>
              <a:buAutoNum type="arabicPeriod"/>
              <a:defRPr sz="1400" b="0" i="0" kern="120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lphaLcParenR"/>
              <a:defRPr sz="1400" b="0" i="0" kern="120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+mn-cs"/>
              </a:defRPr>
            </a:lvl8pPr>
            <a:lvl9pPr marL="648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romanLcPeriod"/>
              <a:defRPr sz="1400" b="0" i="0" kern="120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+mn-cs"/>
              </a:defRPr>
            </a:lvl9pPr>
          </a:lstStyle>
          <a:p>
            <a:r>
              <a:rPr lang="de-DE" dirty="0"/>
              <a:t>Arterien Segmentierung </a:t>
            </a:r>
            <a:r>
              <a:rPr lang="de-DE" dirty="0">
                <a:solidFill>
                  <a:srgbClr val="084653"/>
                </a:solidFill>
                <a:latin typeface="Myriad Pro" panose="020B0503030403020204"/>
              </a:rPr>
              <a:t>—</a:t>
            </a:r>
            <a:r>
              <a:rPr lang="de-DE" dirty="0"/>
              <a:t> </a:t>
            </a:r>
            <a:r>
              <a:rPr lang="en-US" dirty="0"/>
              <a:t>Mean IOU = 0.5064</a:t>
            </a:r>
            <a:endParaRPr lang="de-DE" dirty="0"/>
          </a:p>
          <a:p>
            <a:endParaRPr lang="de-DE" dirty="0"/>
          </a:p>
        </p:txBody>
      </p:sp>
      <p:sp>
        <p:nvSpPr>
          <p:cNvPr id="39" name="Rechteck 38">
            <a:extLst>
              <a:ext uri="{FF2B5EF4-FFF2-40B4-BE49-F238E27FC236}">
                <a16:creationId xmlns:a16="http://schemas.microsoft.com/office/drawing/2014/main" id="{BC63B978-9A44-253D-A1BD-CD64A8D54928}"/>
              </a:ext>
            </a:extLst>
          </p:cNvPr>
          <p:cNvSpPr/>
          <p:nvPr/>
        </p:nvSpPr>
        <p:spPr>
          <a:xfrm>
            <a:off x="3573780" y="594921"/>
            <a:ext cx="2994660" cy="795944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de-DE" sz="1400" dirty="0">
              <a:solidFill>
                <a:schemeClr val="tx1"/>
              </a:solidFill>
            </a:endParaRPr>
          </a:p>
        </p:txBody>
      </p:sp>
      <p:sp>
        <p:nvSpPr>
          <p:cNvPr id="42" name="Textplatzhalter 2">
            <a:extLst>
              <a:ext uri="{FF2B5EF4-FFF2-40B4-BE49-F238E27FC236}">
                <a16:creationId xmlns:a16="http://schemas.microsoft.com/office/drawing/2014/main" id="{2BB14BEE-3ED1-1803-DE56-9F9CA052D7DD}"/>
              </a:ext>
            </a:extLst>
          </p:cNvPr>
          <p:cNvSpPr txBox="1">
            <a:spLocks/>
          </p:cNvSpPr>
          <p:nvPr/>
        </p:nvSpPr>
        <p:spPr bwMode="gray">
          <a:xfrm>
            <a:off x="479425" y="778321"/>
            <a:ext cx="11233150" cy="894219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2000" b="0" i="0" kern="1200">
                <a:solidFill>
                  <a:schemeClr val="accent2"/>
                </a:solidFill>
                <a:latin typeface="Myriad Pro" panose="020B0503030403020204" pitchFamily="34" charset="0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1400" b="0" i="0" kern="120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1" i="0" kern="120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+mn-cs"/>
              </a:defRPr>
            </a:lvl3pPr>
            <a:lvl4pPr marL="18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b="0" i="0" kern="120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+mn-cs"/>
              </a:defRPr>
            </a:lvl4pPr>
            <a:lvl5pPr marL="36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b="0" i="0" kern="120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b="0" i="0" kern="120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+mn-cs"/>
              </a:defRPr>
            </a:lvl6pPr>
            <a:lvl7pPr marL="216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buFont typeface="+mj-lt"/>
              <a:buAutoNum type="arabicPeriod"/>
              <a:defRPr sz="1400" b="0" i="0" kern="120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lphaLcParenR"/>
              <a:defRPr sz="1400" b="0" i="0" kern="120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+mn-cs"/>
              </a:defRPr>
            </a:lvl8pPr>
            <a:lvl9pPr marL="648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romanLcPeriod"/>
              <a:defRPr sz="1400" b="0" i="0" kern="120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+mn-cs"/>
              </a:defRPr>
            </a:lvl9pPr>
          </a:lstStyle>
          <a:p>
            <a:r>
              <a:rPr lang="de-DE" dirty="0"/>
              <a:t>Arterien Segmentierung </a:t>
            </a:r>
            <a:r>
              <a:rPr lang="de-DE" dirty="0">
                <a:solidFill>
                  <a:srgbClr val="084653"/>
                </a:solidFill>
                <a:latin typeface="Myriad Pro" panose="020B0503030403020204"/>
              </a:rPr>
              <a:t>—</a:t>
            </a:r>
            <a:r>
              <a:rPr lang="de-DE" dirty="0"/>
              <a:t> M</a:t>
            </a:r>
            <a:r>
              <a:rPr lang="en-US" dirty="0" err="1"/>
              <a:t>ean</a:t>
            </a:r>
            <a:r>
              <a:rPr lang="en-US" dirty="0"/>
              <a:t> IOU = 0.7024</a:t>
            </a:r>
            <a:endParaRPr lang="de-DE" dirty="0"/>
          </a:p>
          <a:p>
            <a:endParaRPr lang="de-DE" dirty="0"/>
          </a:p>
        </p:txBody>
      </p:sp>
      <p:sp>
        <p:nvSpPr>
          <p:cNvPr id="43" name="Rechteck 42">
            <a:extLst>
              <a:ext uri="{FF2B5EF4-FFF2-40B4-BE49-F238E27FC236}">
                <a16:creationId xmlns:a16="http://schemas.microsoft.com/office/drawing/2014/main" id="{B16BD5E2-E4D0-1E63-9EED-F00F0E5E3AA8}"/>
              </a:ext>
            </a:extLst>
          </p:cNvPr>
          <p:cNvSpPr/>
          <p:nvPr/>
        </p:nvSpPr>
        <p:spPr>
          <a:xfrm>
            <a:off x="3573780" y="591786"/>
            <a:ext cx="2994660" cy="795944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de-DE" sz="1400" dirty="0">
              <a:solidFill>
                <a:schemeClr val="tx1"/>
              </a:solidFill>
            </a:endParaRPr>
          </a:p>
        </p:txBody>
      </p:sp>
      <p:sp>
        <p:nvSpPr>
          <p:cNvPr id="44" name="Textplatzhalter 2">
            <a:extLst>
              <a:ext uri="{FF2B5EF4-FFF2-40B4-BE49-F238E27FC236}">
                <a16:creationId xmlns:a16="http://schemas.microsoft.com/office/drawing/2014/main" id="{E27B3D7E-E8C8-B2E7-54A8-6E40A677B1DF}"/>
              </a:ext>
            </a:extLst>
          </p:cNvPr>
          <p:cNvSpPr txBox="1">
            <a:spLocks/>
          </p:cNvSpPr>
          <p:nvPr/>
        </p:nvSpPr>
        <p:spPr bwMode="gray">
          <a:xfrm>
            <a:off x="477243" y="778321"/>
            <a:ext cx="11234376" cy="89421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2000" b="0" i="0" kern="1200">
                <a:solidFill>
                  <a:schemeClr val="accent2"/>
                </a:solidFill>
                <a:latin typeface="Myriad Pro" panose="020B0503030403020204" pitchFamily="34" charset="0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1400" b="0" i="0" kern="120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1" i="0" kern="120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+mn-cs"/>
              </a:defRPr>
            </a:lvl3pPr>
            <a:lvl4pPr marL="18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b="0" i="0" kern="120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+mn-cs"/>
              </a:defRPr>
            </a:lvl4pPr>
            <a:lvl5pPr marL="36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b="0" i="0" kern="120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b="0" i="0" kern="120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+mn-cs"/>
              </a:defRPr>
            </a:lvl6pPr>
            <a:lvl7pPr marL="216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buFont typeface="+mj-lt"/>
              <a:buAutoNum type="arabicPeriod"/>
              <a:defRPr sz="1400" b="0" i="0" kern="120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lphaLcParenR"/>
              <a:defRPr sz="1400" b="0" i="0" kern="120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+mn-cs"/>
              </a:defRPr>
            </a:lvl8pPr>
            <a:lvl9pPr marL="648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romanLcPeriod"/>
              <a:defRPr sz="1400" b="0" i="0" kern="120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+mn-cs"/>
              </a:defRPr>
            </a:lvl9pPr>
          </a:lstStyle>
          <a:p>
            <a:r>
              <a:rPr lang="de-DE" dirty="0"/>
              <a:t>Arterien Segmentierung </a:t>
            </a:r>
            <a:r>
              <a:rPr lang="de-DE" dirty="0">
                <a:solidFill>
                  <a:srgbClr val="084653"/>
                </a:solidFill>
                <a:latin typeface="Myriad Pro" panose="020B0503030403020204"/>
              </a:rPr>
              <a:t>—</a:t>
            </a:r>
            <a:r>
              <a:rPr lang="de-DE" dirty="0"/>
              <a:t> </a:t>
            </a:r>
            <a:r>
              <a:rPr lang="en-US" dirty="0"/>
              <a:t>Mean IOU = 0.9029</a:t>
            </a:r>
            <a:endParaRPr lang="de-DE" dirty="0"/>
          </a:p>
          <a:p>
            <a:endParaRPr lang="de-DE" dirty="0"/>
          </a:p>
        </p:txBody>
      </p:sp>
      <p:pic>
        <p:nvPicPr>
          <p:cNvPr id="25" name="Grafik 24">
            <a:extLst>
              <a:ext uri="{FF2B5EF4-FFF2-40B4-BE49-F238E27FC236}">
                <a16:creationId xmlns:a16="http://schemas.microsoft.com/office/drawing/2014/main" id="{0E1E59EA-545A-1298-9C3B-F96D84125B4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120000" y="1703388"/>
            <a:ext cx="5280000" cy="3960000"/>
          </a:xfrm>
          <a:prstGeom prst="rect">
            <a:avLst/>
          </a:prstGeom>
        </p:spPr>
      </p:pic>
      <p:pic>
        <p:nvPicPr>
          <p:cNvPr id="41" name="Grafik 40" descr="Ein Bild, das Licht enthält.&#10;&#10;Automatisch generierte Beschreibung">
            <a:extLst>
              <a:ext uri="{FF2B5EF4-FFF2-40B4-BE49-F238E27FC236}">
                <a16:creationId xmlns:a16="http://schemas.microsoft.com/office/drawing/2014/main" id="{1CC19B53-22F2-783A-F9E3-F0A6913C1DE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120000" y="1703388"/>
            <a:ext cx="5280000" cy="3960000"/>
          </a:xfrm>
          <a:prstGeom prst="rect">
            <a:avLst/>
          </a:prstGeom>
        </p:spPr>
      </p:pic>
      <p:pic>
        <p:nvPicPr>
          <p:cNvPr id="46" name="Grafik 45" descr="Ein Bild, das Natur enthält.&#10;&#10;Automatisch generierte Beschreibung">
            <a:extLst>
              <a:ext uri="{FF2B5EF4-FFF2-40B4-BE49-F238E27FC236}">
                <a16:creationId xmlns:a16="http://schemas.microsoft.com/office/drawing/2014/main" id="{64F5EB73-ED60-354A-FDBC-EA621ABEDC29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120000" y="1703388"/>
            <a:ext cx="5280000" cy="3960000"/>
          </a:xfrm>
          <a:prstGeom prst="rect">
            <a:avLst/>
          </a:prstGeom>
        </p:spPr>
      </p:pic>
      <p:pic>
        <p:nvPicPr>
          <p:cNvPr id="24" name="Grafik 23">
            <a:extLst>
              <a:ext uri="{FF2B5EF4-FFF2-40B4-BE49-F238E27FC236}">
                <a16:creationId xmlns:a16="http://schemas.microsoft.com/office/drawing/2014/main" id="{3E673686-54E2-0F7E-C9D7-B91E11E1E469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8199" y="1703388"/>
            <a:ext cx="5280000" cy="3960000"/>
          </a:xfrm>
          <a:prstGeom prst="rect">
            <a:avLst/>
          </a:prstGeom>
        </p:spPr>
      </p:pic>
      <p:pic>
        <p:nvPicPr>
          <p:cNvPr id="40" name="Grafik 39" descr="Ein Bild, das Gewebe enthält.&#10;&#10;Automatisch generierte Beschreibung">
            <a:extLst>
              <a:ext uri="{FF2B5EF4-FFF2-40B4-BE49-F238E27FC236}">
                <a16:creationId xmlns:a16="http://schemas.microsoft.com/office/drawing/2014/main" id="{DAC5AC57-FE5A-B232-910B-58EEACAAC87D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8199" y="1703388"/>
            <a:ext cx="5280000" cy="3960000"/>
          </a:xfrm>
          <a:prstGeom prst="rect">
            <a:avLst/>
          </a:prstGeom>
        </p:spPr>
      </p:pic>
      <p:pic>
        <p:nvPicPr>
          <p:cNvPr id="45" name="Grafik 44" descr="Ein Bild, das Porzellan enthält.&#10;&#10;Automatisch generierte Beschreibung">
            <a:extLst>
              <a:ext uri="{FF2B5EF4-FFF2-40B4-BE49-F238E27FC236}">
                <a16:creationId xmlns:a16="http://schemas.microsoft.com/office/drawing/2014/main" id="{18DBD022-1B63-D33C-7276-3011CC8BD205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8199" y="1703388"/>
            <a:ext cx="5280000" cy="3960000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59899C6D-8DC2-9536-7B9E-CD4F453DCF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395588"/>
            <a:ext cx="11233150" cy="374398"/>
          </a:xfrm>
        </p:spPr>
        <p:txBody>
          <a:bodyPr/>
          <a:lstStyle/>
          <a:p>
            <a:r>
              <a:rPr lang="de-DE" dirty="0"/>
              <a:t>Methoden</a:t>
            </a:r>
            <a:endParaRPr lang="en-US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9FD174E5-BE92-6EA4-A83E-994F245F302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9425" y="778321"/>
            <a:ext cx="11233150" cy="145251"/>
          </a:xfrm>
        </p:spPr>
        <p:txBody>
          <a:bodyPr/>
          <a:lstStyle/>
          <a:p>
            <a:r>
              <a:rPr lang="de-DE" dirty="0"/>
              <a:t>Arterien Segmentierung </a:t>
            </a:r>
            <a:r>
              <a:rPr lang="de-DE" sz="2000" b="0" i="0" kern="1200" dirty="0">
                <a:solidFill>
                  <a:srgbClr val="084653"/>
                </a:solidFill>
                <a:effectLst/>
                <a:latin typeface="Myriad Pro" panose="020B0503030403020204"/>
                <a:ea typeface="+mn-ea"/>
                <a:cs typeface="+mn-cs"/>
              </a:rPr>
              <a:t>—</a:t>
            </a:r>
            <a:r>
              <a:rPr lang="de-DE" dirty="0"/>
              <a:t> </a:t>
            </a: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4B495EB0-819D-C863-0D11-92BCF4D1AEA2}"/>
              </a:ext>
            </a:extLst>
          </p:cNvPr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21502" y="191192"/>
            <a:ext cx="3744886" cy="1130532"/>
          </a:xfrm>
          <a:prstGeom prst="rect">
            <a:avLst/>
          </a:prstGeom>
          <a:noFill/>
        </p:spPr>
      </p:pic>
      <p:sp>
        <p:nvSpPr>
          <p:cNvPr id="6" name="Rechteck 5">
            <a:extLst>
              <a:ext uri="{FF2B5EF4-FFF2-40B4-BE49-F238E27FC236}">
                <a16:creationId xmlns:a16="http://schemas.microsoft.com/office/drawing/2014/main" id="{596C1C06-0877-996D-DB5B-9AA3CE010138}"/>
              </a:ext>
            </a:extLst>
          </p:cNvPr>
          <p:cNvSpPr/>
          <p:nvPr/>
        </p:nvSpPr>
        <p:spPr>
          <a:xfrm>
            <a:off x="6195382" y="5781053"/>
            <a:ext cx="288032" cy="288032"/>
          </a:xfrm>
          <a:prstGeom prst="rect">
            <a:avLst/>
          </a:prstGeom>
          <a:solidFill>
            <a:srgbClr val="FFFFFF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C5028A7F-666F-2ECB-F762-864687ED03CF}"/>
              </a:ext>
            </a:extLst>
          </p:cNvPr>
          <p:cNvSpPr/>
          <p:nvPr/>
        </p:nvSpPr>
        <p:spPr>
          <a:xfrm>
            <a:off x="7182871" y="5774561"/>
            <a:ext cx="288032" cy="288032"/>
          </a:xfrm>
          <a:prstGeom prst="rect">
            <a:avLst/>
          </a:prstGeom>
          <a:solidFill>
            <a:schemeClr val="tx1"/>
          </a:solidFill>
          <a:ln>
            <a:solidFill>
              <a:schemeClr val="tx1">
                <a:lumMod val="95000"/>
                <a:lumOff val="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7C749941-AABE-BC9F-F5C2-40B7E6E71D89}"/>
              </a:ext>
            </a:extLst>
          </p:cNvPr>
          <p:cNvSpPr/>
          <p:nvPr/>
        </p:nvSpPr>
        <p:spPr>
          <a:xfrm>
            <a:off x="8161495" y="5753561"/>
            <a:ext cx="288032" cy="288032"/>
          </a:xfrm>
          <a:prstGeom prst="rect">
            <a:avLst/>
          </a:prstGeom>
          <a:solidFill>
            <a:srgbClr val="FF4D00"/>
          </a:solidFill>
          <a:ln>
            <a:solidFill>
              <a:schemeClr val="tx1">
                <a:lumMod val="95000"/>
                <a:lumOff val="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35120476-FC14-221F-4ACF-8DB477F3AEBB}"/>
              </a:ext>
            </a:extLst>
          </p:cNvPr>
          <p:cNvSpPr/>
          <p:nvPr/>
        </p:nvSpPr>
        <p:spPr>
          <a:xfrm>
            <a:off x="9099661" y="5758338"/>
            <a:ext cx="288032" cy="288032"/>
          </a:xfrm>
          <a:prstGeom prst="rect">
            <a:avLst/>
          </a:prstGeom>
          <a:solidFill>
            <a:srgbClr val="0099FF"/>
          </a:solidFill>
          <a:ln>
            <a:solidFill>
              <a:schemeClr val="tx1">
                <a:lumMod val="95000"/>
                <a:lumOff val="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8455A3A6-B6CB-53FF-C9DC-B4B456CD5C72}"/>
              </a:ext>
            </a:extLst>
          </p:cNvPr>
          <p:cNvSpPr txBox="1"/>
          <p:nvPr/>
        </p:nvSpPr>
        <p:spPr>
          <a:xfrm>
            <a:off x="6519418" y="5694236"/>
            <a:ext cx="702694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sz="2400" dirty="0">
                <a:latin typeface="+mn-lt"/>
                <a:sym typeface="Wingdings" panose="05000000000000000000" pitchFamily="2" charset="2"/>
              </a:rPr>
              <a:t>TP</a:t>
            </a:r>
            <a:endParaRPr lang="en-US" sz="2400" dirty="0">
              <a:latin typeface="+mn-lt"/>
            </a:endParaRPr>
          </a:p>
        </p:txBody>
      </p:sp>
      <p:sp>
        <p:nvSpPr>
          <p:cNvPr id="13" name="Textfeld 12">
            <a:extLst>
              <a:ext uri="{FF2B5EF4-FFF2-40B4-BE49-F238E27FC236}">
                <a16:creationId xmlns:a16="http://schemas.microsoft.com/office/drawing/2014/main" id="{9029907F-1239-D1B2-B4F7-E4097D5B7D27}"/>
              </a:ext>
            </a:extLst>
          </p:cNvPr>
          <p:cNvSpPr txBox="1"/>
          <p:nvPr/>
        </p:nvSpPr>
        <p:spPr>
          <a:xfrm>
            <a:off x="7510165" y="5688136"/>
            <a:ext cx="612068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sz="2400" dirty="0">
                <a:latin typeface="+mn-lt"/>
                <a:sym typeface="Wingdings" panose="05000000000000000000" pitchFamily="2" charset="2"/>
              </a:rPr>
              <a:t>TN</a:t>
            </a:r>
            <a:endParaRPr lang="en-US" sz="2400" dirty="0">
              <a:latin typeface="+mn-lt"/>
            </a:endParaRPr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39EC0070-745A-D1B7-F151-073E8FB9E907}"/>
              </a:ext>
            </a:extLst>
          </p:cNvPr>
          <p:cNvSpPr txBox="1"/>
          <p:nvPr/>
        </p:nvSpPr>
        <p:spPr>
          <a:xfrm>
            <a:off x="8485531" y="5688136"/>
            <a:ext cx="578690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sz="2400" dirty="0">
                <a:latin typeface="+mn-lt"/>
                <a:sym typeface="Wingdings" panose="05000000000000000000" pitchFamily="2" charset="2"/>
              </a:rPr>
              <a:t>FP</a:t>
            </a:r>
            <a:endParaRPr lang="en-US" sz="2400" dirty="0">
              <a:latin typeface="+mn-lt"/>
            </a:endParaRPr>
          </a:p>
        </p:txBody>
      </p:sp>
      <p:sp>
        <p:nvSpPr>
          <p:cNvPr id="15" name="Textfeld 14">
            <a:extLst>
              <a:ext uri="{FF2B5EF4-FFF2-40B4-BE49-F238E27FC236}">
                <a16:creationId xmlns:a16="http://schemas.microsoft.com/office/drawing/2014/main" id="{F056C25E-3E66-6F40-EB28-7E2D2DE53D58}"/>
              </a:ext>
            </a:extLst>
          </p:cNvPr>
          <p:cNvSpPr txBox="1"/>
          <p:nvPr/>
        </p:nvSpPr>
        <p:spPr>
          <a:xfrm>
            <a:off x="9423697" y="5688136"/>
            <a:ext cx="702695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sz="2400" dirty="0">
                <a:latin typeface="+mn-lt"/>
                <a:sym typeface="Wingdings" panose="05000000000000000000" pitchFamily="2" charset="2"/>
              </a:rPr>
              <a:t>FN</a:t>
            </a:r>
            <a:endParaRPr lang="en-US" sz="2400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71758519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1" grpId="0" animBg="1"/>
      <p:bldP spid="23" grpId="0"/>
      <p:bldP spid="39" grpId="0" animBg="1"/>
      <p:bldP spid="42" grpId="0"/>
      <p:bldP spid="43" grpId="0" animBg="1"/>
      <p:bldP spid="44" grpId="0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7D1DE7E-0C37-1923-6601-C3A2A1C40E3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395588"/>
            <a:ext cx="11233150" cy="374398"/>
          </a:xfrm>
        </p:spPr>
        <p:txBody>
          <a:bodyPr/>
          <a:lstStyle/>
          <a:p>
            <a:r>
              <a:rPr lang="de-DE" dirty="0"/>
              <a:t>Methode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EAD436E-0121-3687-2C1C-70A7EA70069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5A82B2D-840F-4167-AD44-C02BC9C87CCB}" type="datetime1">
              <a:rPr lang="de-DE" noProof="0" smtClean="0"/>
              <a:t>15.11.22</a:t>
            </a:fld>
            <a:endParaRPr lang="de-DE" noProof="0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77F74EDD-282F-93EF-33D5-3FE76B28A82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 dirty="0"/>
              <a:t>© Universität zu Lübeck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53D729B8-F28B-7A02-FF4A-0A6F9B46B2D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 noProof="0" dirty="0"/>
              <a:t>Seit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18</a:t>
            </a:fld>
            <a:endParaRPr lang="en-US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D176AFD-051B-A8EC-C141-196E5AF2CAB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9425" y="778321"/>
            <a:ext cx="11233150" cy="312008"/>
          </a:xfrm>
        </p:spPr>
        <p:txBody>
          <a:bodyPr/>
          <a:lstStyle/>
          <a:p>
            <a:r>
              <a:rPr lang="de-DE" dirty="0"/>
              <a:t>Arterien Segmentierung </a:t>
            </a:r>
            <a:r>
              <a:rPr lang="de-DE" sz="2000" b="0" i="0" kern="1200" dirty="0">
                <a:solidFill>
                  <a:srgbClr val="084653"/>
                </a:solidFill>
                <a:effectLst/>
                <a:latin typeface="Myriad Pro" panose="020B0503030403020204"/>
                <a:ea typeface="+mn-ea"/>
                <a:cs typeface="+mn-cs"/>
              </a:rPr>
              <a:t>—</a:t>
            </a:r>
            <a:r>
              <a:rPr lang="de-DE" dirty="0"/>
              <a:t> Single-Network Approach</a:t>
            </a:r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B6C89CF6-C2FF-931C-4784-BDF52186AD9A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8199" y="1703388"/>
            <a:ext cx="7200000" cy="3845963"/>
          </a:xfrm>
          <a:prstGeom prst="rect">
            <a:avLst/>
          </a:prstGeom>
        </p:spPr>
      </p:pic>
      <p:sp>
        <p:nvSpPr>
          <p:cNvPr id="10" name="Rechteck 9">
            <a:extLst>
              <a:ext uri="{FF2B5EF4-FFF2-40B4-BE49-F238E27FC236}">
                <a16:creationId xmlns:a16="http://schemas.microsoft.com/office/drawing/2014/main" id="{00568B2A-C44E-D5C7-A645-A71BC6E3A13D}"/>
              </a:ext>
            </a:extLst>
          </p:cNvPr>
          <p:cNvSpPr/>
          <p:nvPr/>
        </p:nvSpPr>
        <p:spPr>
          <a:xfrm>
            <a:off x="1400748" y="5010150"/>
            <a:ext cx="2796602" cy="69850"/>
          </a:xfrm>
          <a:prstGeom prst="rect">
            <a:avLst/>
          </a:prstGeom>
          <a:solidFill>
            <a:schemeClr val="tx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de-DE" sz="1400" dirty="0">
              <a:solidFill>
                <a:schemeClr val="tx1"/>
              </a:solidFill>
            </a:endParaRP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867436C0-8E1C-321C-6CAF-13B0E0F59E1B}"/>
              </a:ext>
            </a:extLst>
          </p:cNvPr>
          <p:cNvSpPr/>
          <p:nvPr/>
        </p:nvSpPr>
        <p:spPr>
          <a:xfrm>
            <a:off x="4197350" y="5010150"/>
            <a:ext cx="1124744" cy="69850"/>
          </a:xfrm>
          <a:prstGeom prst="rect">
            <a:avLst/>
          </a:prstGeom>
          <a:solidFill>
            <a:srgbClr val="FFC0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de-DE" sz="1400" dirty="0">
              <a:solidFill>
                <a:schemeClr val="tx1"/>
              </a:solidFill>
            </a:endParaRP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FFCE810A-A79B-DBD7-5E06-DC016195EC46}"/>
              </a:ext>
            </a:extLst>
          </p:cNvPr>
          <p:cNvSpPr/>
          <p:nvPr/>
        </p:nvSpPr>
        <p:spPr>
          <a:xfrm>
            <a:off x="5322094" y="5010150"/>
            <a:ext cx="1671858" cy="69850"/>
          </a:xfrm>
          <a:prstGeom prst="rect">
            <a:avLst/>
          </a:pr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de-DE" sz="1400" dirty="0">
              <a:solidFill>
                <a:schemeClr val="tx1"/>
              </a:solidFill>
            </a:endParaRPr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CBBB4ED8-0A51-9B01-BE44-2C8EFB9CAAB4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21502" y="191192"/>
            <a:ext cx="3744886" cy="1130532"/>
          </a:xfrm>
          <a:prstGeom prst="rect">
            <a:avLst/>
          </a:prstGeom>
          <a:noFill/>
        </p:spPr>
      </p:pic>
      <p:pic>
        <p:nvPicPr>
          <p:cNvPr id="14" name="Grafik 13">
            <a:extLst>
              <a:ext uri="{FF2B5EF4-FFF2-40B4-BE49-F238E27FC236}">
                <a16:creationId xmlns:a16="http://schemas.microsoft.com/office/drawing/2014/main" id="{632E38F8-9891-53A1-9CA4-C6E967C556D9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17349" y="3873276"/>
            <a:ext cx="960000" cy="720000"/>
          </a:xfrm>
          <a:prstGeom prst="rect">
            <a:avLst/>
          </a:prstGeom>
        </p:spPr>
      </p:pic>
      <p:pic>
        <p:nvPicPr>
          <p:cNvPr id="15" name="Grafik 14" descr="Ein Bild, das Licht enthält.&#10;&#10;Automatisch generierte Beschreibung">
            <a:extLst>
              <a:ext uri="{FF2B5EF4-FFF2-40B4-BE49-F238E27FC236}">
                <a16:creationId xmlns:a16="http://schemas.microsoft.com/office/drawing/2014/main" id="{7165942F-541C-A323-D176-B5612147A1CA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42093" y="3153276"/>
            <a:ext cx="960000" cy="720000"/>
          </a:xfrm>
          <a:prstGeom prst="rect">
            <a:avLst/>
          </a:prstGeom>
        </p:spPr>
      </p:pic>
      <p:pic>
        <p:nvPicPr>
          <p:cNvPr id="16" name="Grafik 15" descr="Ein Bild, das Natur enthält.&#10;&#10;Automatisch generierte Beschreibung">
            <a:extLst>
              <a:ext uri="{FF2B5EF4-FFF2-40B4-BE49-F238E27FC236}">
                <a16:creationId xmlns:a16="http://schemas.microsoft.com/office/drawing/2014/main" id="{19E17BE4-9AFF-CD1B-104E-D5792D79D085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951757" y="2485473"/>
            <a:ext cx="960000" cy="720000"/>
          </a:xfrm>
          <a:prstGeom prst="rect">
            <a:avLst/>
          </a:prstGeom>
        </p:spPr>
      </p:pic>
      <p:cxnSp>
        <p:nvCxnSpPr>
          <p:cNvPr id="18" name="Gerade Verbindung mit Pfeil 17">
            <a:extLst>
              <a:ext uri="{FF2B5EF4-FFF2-40B4-BE49-F238E27FC236}">
                <a16:creationId xmlns:a16="http://schemas.microsoft.com/office/drawing/2014/main" id="{13DAC4D7-7AD3-0F88-D6EC-294A80AD9A6D}"/>
              </a:ext>
            </a:extLst>
          </p:cNvPr>
          <p:cNvCxnSpPr>
            <a:cxnSpLocks/>
          </p:cNvCxnSpPr>
          <p:nvPr/>
        </p:nvCxnSpPr>
        <p:spPr>
          <a:xfrm rot="10800000">
            <a:off x="4197350" y="4594540"/>
            <a:ext cx="0" cy="324561"/>
          </a:xfrm>
          <a:prstGeom prst="straightConnector1">
            <a:avLst/>
          </a:prstGeom>
          <a:ln w="34925">
            <a:solidFill>
              <a:schemeClr val="bg2"/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 Verbindung mit Pfeil 19">
            <a:extLst>
              <a:ext uri="{FF2B5EF4-FFF2-40B4-BE49-F238E27FC236}">
                <a16:creationId xmlns:a16="http://schemas.microsoft.com/office/drawing/2014/main" id="{66D50EC3-E93D-7652-236C-738E66F7E751}"/>
              </a:ext>
            </a:extLst>
          </p:cNvPr>
          <p:cNvCxnSpPr>
            <a:cxnSpLocks/>
          </p:cNvCxnSpPr>
          <p:nvPr/>
        </p:nvCxnSpPr>
        <p:spPr>
          <a:xfrm rot="10800000">
            <a:off x="5322094" y="3891272"/>
            <a:ext cx="0" cy="324561"/>
          </a:xfrm>
          <a:prstGeom prst="straightConnector1">
            <a:avLst/>
          </a:prstGeom>
          <a:ln w="34925">
            <a:solidFill>
              <a:schemeClr val="bg2"/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 Verbindung mit Pfeil 20">
            <a:extLst>
              <a:ext uri="{FF2B5EF4-FFF2-40B4-BE49-F238E27FC236}">
                <a16:creationId xmlns:a16="http://schemas.microsoft.com/office/drawing/2014/main" id="{C35FA887-DC58-37FE-E918-C8A1C3D03810}"/>
              </a:ext>
            </a:extLst>
          </p:cNvPr>
          <p:cNvCxnSpPr>
            <a:cxnSpLocks/>
          </p:cNvCxnSpPr>
          <p:nvPr/>
        </p:nvCxnSpPr>
        <p:spPr>
          <a:xfrm rot="10800000">
            <a:off x="6431757" y="3205473"/>
            <a:ext cx="0" cy="324561"/>
          </a:xfrm>
          <a:prstGeom prst="straightConnector1">
            <a:avLst/>
          </a:prstGeom>
          <a:ln w="34925">
            <a:solidFill>
              <a:schemeClr val="bg2"/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4962619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fik 7" descr="\documentclass{article}&#10;\usepackage{amsmath}&#10;\pagestyle{empty}&#10;\usepackage{tikz}&#10;\usepackage{amssymb}&#10;\usetikzlibrary{arrows.meta}&#10;\usetikzlibrary{quotes,angles}&#10;\usetikzlibrary{arrows}&#10;\usepackage{amsmath}&#10;\usepackage{tabularx}&#10;%\usepackage{tabular*}&#10;\usepackage{multirow}&#10;\usepackage{graphicx}&#10;\usepackage{colortbl}&#10;\usepackage{color}&#10;\usepackage{tikz}&#10;\usepackage{amssymb}&#10;\usetikzlibrary{arrows.meta}&#10;\usetikzlibrary{quotes,angles}&#10;\usetikzlibrary{arrows}&#10;\usepackage{amsmath}&#10;\usepackage{longtable}&#10;\usepackage{adjustbox}&#10;\usepackage{multirow}&#10;\usepackage{makecell}&#10;\begin{document}&#10;&#10;\begin{table}[h!]&#10;\centering&#10;\begin{adjustbox}{max width=\linewidth}&#10;\begin{tabular}{|c|c|c|c|c|c|}&#10;    %\hline&#10;    %\multicolumn{2}{|c|}{1. order risk factor, effective independent of other factors} \\&#10;    \hline&#10;   \makecell{Folder\\ID}&amp; \makecell{Number of\\images} &amp; \makecell{Number\\of IDs} &amp; Microscope(s) &amp; \makecell{Acquisition\\date(s)} &amp; Resolution(s) \\ % &amp; \makecell{Knockout\\Gene(s)} \\ %&#10;    \hline&#10;    1  &amp; 353 &amp; 35 &amp; \multirow{3}{*}{Keyence BZ-9000}  &amp; 06.03.2020 &amp; \multirow{2}{*}{$2720 \times 2048$} \\ % &amp; Apoe  \\&#10;    %\hline&#10;    \cline{1-3}&#10;    \cline{5-5}&#10;    2  &amp; 165 &amp; 16 &amp;  &amp; 09.10.2020 &amp; \\ % &amp; Apoe  \\&#10;    %\hline&#10;    \cline{1-3}&#10;    \cline{5-6}&#10;    3  &amp; 391 &amp; 34 &amp;  &amp; 01.07.2020 &amp; \multirow{2}{*}{$ 1040 \times 772 $} \\ % &amp; Apoe  \\&#10;    \cline{1-5}&#10;    4  &amp; 1075 &amp; 63 &amp; Olympus IX70  &amp; 26.01.2015 &amp; \\ % &amp; Apoe ± Cyp17a1  \\&#10;    \hline&#10;    5 &amp; 278 &amp; 16 &amp; Keyence BZ-X800 &amp; 13.06.2020 &amp; $ 4080 \times 2048 $ \\ % &amp; Apoe ± Phactr1  \\&#10;    \hline&#10;    6  &amp; 271 &amp; 25 &amp; \multirow{3}{*}{Keyence BZ-9000} &amp; 10.04.2020 &amp; $ 1040 \times 772 $ \\ % &amp; Apoe  \\&#10;    %\hline&#10;    \cline{1-3}&#10;    \cline{5-6}&#10;    7  &amp; 216 &amp; 3 &amp;  &amp; \multirow{2}{*}{12.05.2020}  &amp; $ 2720 \times 2048 $ \\ % &amp; Apoe ± Adamts7  \\&#10;    %\hline&#10;    \cline{1-3}&#10;    \cline{6-6}&#10;    8  &amp; 322 &amp; 29 &amp; &amp; &amp; \multirow{2}{*}{$ 1040 \times 772 $}  \\ % &amp; Apoe ± Adamts7  \\&#10;    \cline{1-5}&#10;    9  &amp; 396 &amp; 32 &amp; Olympus IX70 &amp; 05.02.2014 &amp; \\ % &amp; Apoe ± Zc3hc1  \\&#10;    \hline&#10;    10  &amp; 483 &amp; 44  &amp; \makecell{Keyence BZ-9000\\Keyence BZ-X800} &amp; \makecell{20.05.2020\\07.07.2020} &amp; \makecell{$ 1920 \times 1440 $\\$ 2720 \times 2048 $} \\ % &amp; Apoe ± Cxcl12  \\&#10;    \hline&#10;    11  &amp; 232 &amp; 23 &amp; \multirow{8}{*}{Keyence BZ-X800} &amp; 17.12.2020 &amp; \multirow{2}{*}{$ 1920 \times 1440 $} \\ % &amp; Apoe ± Mras  \\&#10;    %\hline&#10;    \cline{1-3}&#10;    \cline{5-5}&#10;    12  &amp; 565 &amp; 50 &amp; &amp; 24.11.2021 &amp;  \\ % &amp; Apoe ± Mras  \\&#10;    %\hline&#10;    \cline{1-3}&#10;    \cline{5-6}&#10;    13  &amp; 642 &amp; 179 &amp;  &amp; 18.11.2020 &amp; \makecell{$ 960 \times 720 $\\$ 1920 \times 1440 $\\$ 2720 \times 2048 $} \\ % &amp; Apoe, Inbred mice   \\&#10;    %\hline&#10;    \cline{1-3}&#10;    \cline{5-6}&#10;    14  &amp; 569 &amp; 48 &amp;  &amp; 01.07.2022 &amp; $ 1920 \times 1440 $  \\ %&amp; \makecell{Apoe treated\\with siRNA\\ against Adamts7}  \\&#10;    %\hline&#10;    \cline{1-3}&#10;    \cline{5-6}&#10;    15  &amp; 1103 &amp; 104 &amp; &amp; 15.02.2022 &amp;  \makecell{$ 960 \times 720 $\\$ 1920 \times 1440 $} \\ % &amp; Apoe + AAV-PCSK9  \\&#10;    \hline&#10;    16  &amp; 296 &amp; 30 &amp; Keyence BZ-9000 &amp; 01.09.2020 &amp; $ 2720 \times 2048 $  \\ %&amp; Apoe ± Cxcl12  \\&#10;    \hline&#10;    16 total &amp; 7357 total &amp; 731 total &amp; \makecell{3 different\\microscopes} &amp; 8+ years &amp; \makecell{5 different\\resolutions} \\ % &amp; \makecell{multiple Apoe\\knockout variants} \\&#10;    \hline&#10;&#10;    \hline&#10;\end{tabular} &#10;\end{adjustbox}&#10;\end{table}&#10;&#10;&#10;\end{document}" title="IguanaTex Bitmap Display">
            <a:extLst>
              <a:ext uri="{FF2B5EF4-FFF2-40B4-BE49-F238E27FC236}">
                <a16:creationId xmlns:a16="http://schemas.microsoft.com/office/drawing/2014/main" id="{91560DE0-83B8-2B64-D194-D5D6A8C60534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9425" y="1703388"/>
            <a:ext cx="5615349" cy="4310650"/>
          </a:xfrm>
          <a:prstGeom prst="rect">
            <a:avLst/>
          </a:prstGeom>
        </p:spPr>
      </p:pic>
      <p:sp>
        <p:nvSpPr>
          <p:cNvPr id="12" name="Rechteck 11">
            <a:extLst>
              <a:ext uri="{FF2B5EF4-FFF2-40B4-BE49-F238E27FC236}">
                <a16:creationId xmlns:a16="http://schemas.microsoft.com/office/drawing/2014/main" id="{4C553751-2A38-7671-EACA-45D72861D78D}"/>
              </a:ext>
            </a:extLst>
          </p:cNvPr>
          <p:cNvSpPr/>
          <p:nvPr/>
        </p:nvSpPr>
        <p:spPr>
          <a:xfrm>
            <a:off x="479423" y="2059592"/>
            <a:ext cx="5615349" cy="2874357"/>
          </a:xfrm>
          <a:prstGeom prst="rect">
            <a:avLst/>
          </a:prstGeom>
          <a:solidFill>
            <a:srgbClr val="000000">
              <a:alpha val="5098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de-DE" sz="1400" dirty="0">
              <a:solidFill>
                <a:schemeClr val="tx1"/>
              </a:solidFill>
            </a:endParaRPr>
          </a:p>
        </p:txBody>
      </p:sp>
      <p:pic>
        <p:nvPicPr>
          <p:cNvPr id="60" name="Grafik 59" descr="\documentclass{article}&#10;\usepackage{amsmath}&#10;\pagestyle{empty}&#10;\usepackage{tikz}&#10;\usepackage{amssymb}&#10;\usetikzlibrary{arrows.meta}&#10;\usetikzlibrary{quotes,angles}&#10;\usetikzlibrary{arrows}&#10;\usepackage{amsmath}&#10;\usepackage{tabularx}&#10;%\usepackage{tabular*}&#10;\usepackage{multirow}&#10;\usepackage{graphicx}&#10;\usepackage{colortbl}&#10;\usepackage{color}&#10;\usepackage{tikz}&#10;\usepackage{amssymb}&#10;\usetikzlibrary{arrows.meta}&#10;\usetikzlibrary{quotes,angles}&#10;\usetikzlibrary{arrows}&#10;\usepackage{amsmath}&#10;\usepackage{longtable}&#10;\usepackage{adjustbox}&#10;\usepackage{multirow}&#10;\usepackage{makecell}&#10;\begin{document}&#10;&#10;\begin{table}[h!]&#10;\centering&#10;\begin{adjustbox}{max width=\linewidth}&#10;\begin{tabular}{|c|c|c|c|c|c|}&#10;    %\hline&#10;    %\multicolumn{2}{|c|}{1. order risk factor, effective independent of other factors} \\&#10;    \hline&#10;   \makecell{Folder\\ID}&amp; \makecell{Number of\\images} &amp; \makecell{Number\\of IDs} &amp; Microscope(s) &amp; \makecell{Acquisition\\date(s)} &amp; Resolution(s) \\ % &amp; \makecell{Knockout\\Gene(s)} \\ %&#10;    \hline&#10;    1  &amp; 353 &amp; 35 &amp; \multirow{3}{*}{Keyence BZ-9000}  &amp; 06.03.2020 &amp; \multirow{2}{*}{$2720 \times 2048$} \\ % &amp; Apoe  \\&#10;    %\hline&#10;    \cline{1-3}&#10;    \cline{5-5}&#10;    2  &amp; 165 &amp; 16 &amp;  &amp; 09.10.2020 &amp; \\ % &amp; Apoe  \\&#10;    %\hline&#10;    \cline{1-3}&#10;    \cline{5-6}&#10;    3  &amp; 391 &amp; 34 &amp;  &amp; 01.07.2020 &amp; \multirow{2}{*}{$ 1040 \times 772 $} \\ % &amp; Apoe  \\&#10;    \cline{1-5}&#10;    4  &amp; 1075 &amp; 63 &amp; Olympus IX70  &amp; 26.01.2015 &amp; \\ % &amp; Apoe ± Cyp17a1  \\&#10;    \hline&#10;    5 &amp; 278 &amp; 16 &amp; Keyence BZ-X800 &amp; 13.06.2020 &amp; $ 4080 \times 2048 $ \\ % &amp; Apoe ± Phactr1  \\&#10;    \hline&#10;    6  &amp; 271 &amp; 25 &amp; \multirow{3}{*}{Keyence BZ-9000} &amp; 10.04.2020 &amp; $ 1040 \times 772 $ \\ % &amp; Apoe  \\&#10;    %\hline&#10;    \cline{1-3}&#10;    \cline{5-6}&#10;    7  &amp; 216 &amp; 3 &amp;  &amp; \multirow{2}{*}{12.05.2020}  &amp; $ 2720 \times 2048 $ \\ % &amp; Apoe ± Adamts7  \\&#10;    %\hline&#10;    \cline{1-3}&#10;    \cline{6-6}&#10;    8  &amp; 322 &amp; 29 &amp; &amp; &amp; \multirow{2}{*}{$ 1040 \times 772 $}  \\ % &amp; Apoe ± Adamts7  \\&#10;    \cline{1-5}&#10;    9  &amp; 396 &amp; 32 &amp; Olympus IX70 &amp; 05.02.2014 &amp; \\ % &amp; Apoe ± Zc3hc1  \\&#10;    \hline&#10;    10  &amp; 483 &amp; 44  &amp; \makecell{Keyence BZ-9000\\Keyence BZ-X800} &amp; \makecell{20.05.2020\\07.07.2020} &amp; \makecell{$ 1920 \times 1440 $\\$ 2720 \times 2048 $} \\ % &amp; Apoe ± Cxcl12  \\&#10;    \hline&#10;    11  &amp; 232 &amp; 23 &amp; \multirow{8}{*}{Keyence BZ-X800} &amp; 17.12.2020 &amp; \multirow{2}{*}{$ 1920 \times 1440 $} \\ % &amp; Apoe ± Mras  \\&#10;    %\hline&#10;    \cline{1-3}&#10;    \cline{5-5}&#10;    12  &amp; 565 &amp; 50 &amp; &amp; 24.11.2021 &amp;  \\ % &amp; Apoe ± Mras  \\&#10;    %\hline&#10;    \cline{1-3}&#10;    \cline{5-6}&#10;    13  &amp; 642 &amp; 179 &amp;  &amp; 18.11.2020 &amp; \makecell{$ 960 \times 720 $\\$ 1920 \times 1440 $\\$ 2720 \times 2048 $} \\ % &amp; Apoe, Inbred mice   \\&#10;    %\hline&#10;    \cline{1-3}&#10;    \cline{5-6}&#10;    14  &amp; 569 &amp; 48 &amp;  &amp; 01.07.2022 &amp; $ 1920 \times 1440 $  \\ %&amp; \makecell{Apoe treated\\with siRNA\\ against Adamts7}  \\&#10;    %\hline&#10;    \cline{1-3}&#10;    \cline{5-6}&#10;    15  &amp; 1103 &amp; 104 &amp; &amp; 15.02.2022 &amp;  \makecell{$ 960 \times 720 $\\$ 1920 \times 1440 $} \\ % &amp; Apoe + AAV-PCSK9  \\&#10;    \hline&#10;    16  &amp; 296 &amp; 30 &amp; Keyence BZ-9000 &amp; 01.09.2020 &amp; $ 2720 \times 2048 $  \\ %&amp; Apoe ± Cxcl12  \\&#10;    \hline&#10;    16 total &amp; 7357 total &amp; 731 total &amp; \makecell{3 different\\microscopes} &amp; 8+ years &amp; \makecell{5 different\\resolutions} \\ % &amp; \makecell{multiple Apoe\\knockout variants} \\&#10;    \hline&#10;&#10;    \hline&#10;\end{tabular} &#10;\end{adjustbox}&#10;\end{table}&#10;&#10;&#10;\end{document}" title="IguanaTex Bitmap Display">
            <a:extLst>
              <a:ext uri="{FF2B5EF4-FFF2-40B4-BE49-F238E27FC236}">
                <a16:creationId xmlns:a16="http://schemas.microsoft.com/office/drawing/2014/main" id="{8F8EB62A-379B-6BD4-2E20-B24931EA47AC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9421" y="1703388"/>
            <a:ext cx="5616427" cy="4311594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A7D1DE7E-0C37-1923-6601-C3A2A1C40E3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395588"/>
            <a:ext cx="11233150" cy="374398"/>
          </a:xfrm>
        </p:spPr>
        <p:txBody>
          <a:bodyPr/>
          <a:lstStyle/>
          <a:p>
            <a:r>
              <a:rPr lang="de-DE" dirty="0"/>
              <a:t>Methode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EAD436E-0121-3687-2C1C-70A7EA70069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5A82B2D-840F-4167-AD44-C02BC9C87CCB}" type="datetime1">
              <a:rPr lang="de-DE" noProof="0" smtClean="0"/>
              <a:t>15.11.22</a:t>
            </a:fld>
            <a:endParaRPr lang="de-DE" noProof="0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77F74EDD-282F-93EF-33D5-3FE76B28A82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/>
              <a:t>© Universität zu Lübeck</a:t>
            </a:r>
            <a:endParaRPr lang="de-DE" noProof="0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53D729B8-F28B-7A02-FF4A-0A6F9B46B2D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 noProof="0"/>
              <a:t>Seite</a:t>
            </a:r>
            <a:r>
              <a:rPr lang="en-US"/>
              <a:t> </a:t>
            </a:r>
            <a:fld id="{401BA3E4-5E55-4F99-AF09-CC6D6B2539E2}" type="slidenum">
              <a:rPr lang="en-US" smtClean="0"/>
              <a:pPr/>
              <a:t>19</a:t>
            </a:fld>
            <a:endParaRPr lang="en-US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D176AFD-051B-A8EC-C141-196E5AF2CAB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9425" y="778321"/>
            <a:ext cx="11233150" cy="312008"/>
          </a:xfrm>
        </p:spPr>
        <p:txBody>
          <a:bodyPr/>
          <a:lstStyle/>
          <a:p>
            <a:r>
              <a:rPr lang="de-DE" dirty="0"/>
              <a:t>Arterien Segmentierung </a:t>
            </a:r>
            <a:r>
              <a:rPr lang="de-DE" sz="2000" b="0" i="0" kern="1200" dirty="0">
                <a:solidFill>
                  <a:srgbClr val="084653"/>
                </a:solidFill>
                <a:effectLst/>
                <a:latin typeface="Myriad Pro" panose="020B0503030403020204"/>
                <a:ea typeface="+mn-ea"/>
                <a:cs typeface="+mn-cs"/>
              </a:rPr>
              <a:t>—</a:t>
            </a:r>
            <a:r>
              <a:rPr lang="de-DE" dirty="0"/>
              <a:t> Single-Network Approach </a:t>
            </a:r>
            <a:r>
              <a:rPr lang="de-DE" dirty="0" err="1"/>
              <a:t>Retrain</a:t>
            </a:r>
            <a:endParaRPr lang="de-DE" dirty="0"/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37D41081-E551-9718-41CF-E449FB723125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21502" y="191192"/>
            <a:ext cx="3744886" cy="1130532"/>
          </a:xfrm>
          <a:prstGeom prst="rect">
            <a:avLst/>
          </a:prstGeom>
          <a:noFill/>
        </p:spPr>
      </p:pic>
      <p:pic>
        <p:nvPicPr>
          <p:cNvPr id="36" name="Grafik 35" descr="Crashtest-Dummy mit einfarbiger Füllung">
            <a:extLst>
              <a:ext uri="{FF2B5EF4-FFF2-40B4-BE49-F238E27FC236}">
                <a16:creationId xmlns:a16="http://schemas.microsoft.com/office/drawing/2014/main" id="{57D0AC2F-251C-2395-DB3E-7253786C7578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8221502" y="4857657"/>
            <a:ext cx="914400" cy="914400"/>
          </a:xfrm>
          <a:prstGeom prst="rect">
            <a:avLst/>
          </a:prstGeom>
        </p:spPr>
      </p:pic>
      <p:pic>
        <p:nvPicPr>
          <p:cNvPr id="38" name="Grafik 37" descr="Wissenschaftler mit einfarbiger Füllung">
            <a:extLst>
              <a:ext uri="{FF2B5EF4-FFF2-40B4-BE49-F238E27FC236}">
                <a16:creationId xmlns:a16="http://schemas.microsoft.com/office/drawing/2014/main" id="{6113E96C-4E61-9719-7755-F293EEA2A851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7222782" y="4857657"/>
            <a:ext cx="914400" cy="914400"/>
          </a:xfrm>
          <a:prstGeom prst="rect">
            <a:avLst/>
          </a:prstGeom>
        </p:spPr>
      </p:pic>
      <p:pic>
        <p:nvPicPr>
          <p:cNvPr id="40" name="Grafik 39" descr="Klemmbrett gemischt mit einfarbiger Füllung">
            <a:extLst>
              <a:ext uri="{FF2B5EF4-FFF2-40B4-BE49-F238E27FC236}">
                <a16:creationId xmlns:a16="http://schemas.microsoft.com/office/drawing/2014/main" id="{06D7208D-7C4C-A0FF-526E-BBBAB8200C2D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6222737" y="4857657"/>
            <a:ext cx="914400" cy="914400"/>
          </a:xfrm>
          <a:prstGeom prst="rect">
            <a:avLst/>
          </a:prstGeom>
        </p:spPr>
      </p:pic>
      <p:pic>
        <p:nvPicPr>
          <p:cNvPr id="42" name="Grafik 41" descr="Elliptisch mit einfarbiger Füllung">
            <a:extLst>
              <a:ext uri="{FF2B5EF4-FFF2-40B4-BE49-F238E27FC236}">
                <a16:creationId xmlns:a16="http://schemas.microsoft.com/office/drawing/2014/main" id="{E68F9058-1471-FACF-B5A1-9620FB7C1892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8221502" y="2971800"/>
            <a:ext cx="914400" cy="914400"/>
          </a:xfrm>
          <a:prstGeom prst="rect">
            <a:avLst/>
          </a:prstGeom>
        </p:spPr>
      </p:pic>
      <p:pic>
        <p:nvPicPr>
          <p:cNvPr id="44" name="Grafik 43" descr="Ausführen mit einfarbiger Füllung">
            <a:extLst>
              <a:ext uri="{FF2B5EF4-FFF2-40B4-BE49-F238E27FC236}">
                <a16:creationId xmlns:a16="http://schemas.microsoft.com/office/drawing/2014/main" id="{1A3908A4-9CF0-AD9E-92CF-A9960D4F5C97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7222782" y="3039571"/>
            <a:ext cx="914400" cy="914400"/>
          </a:xfrm>
          <a:prstGeom prst="rect">
            <a:avLst/>
          </a:prstGeom>
        </p:spPr>
      </p:pic>
      <p:pic>
        <p:nvPicPr>
          <p:cNvPr id="48" name="Grafik 47" descr="Turner: Bodenprogramm mit einfarbiger Füllung">
            <a:extLst>
              <a:ext uri="{FF2B5EF4-FFF2-40B4-BE49-F238E27FC236}">
                <a16:creationId xmlns:a16="http://schemas.microsoft.com/office/drawing/2014/main" id="{2664D5D8-B7FA-982F-8DC1-F6CCF8A0AB43}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96DAC541-7B7A-43D3-8B79-37D633B846F1}">
                <asvg:svgBlip xmlns:asvg="http://schemas.microsoft.com/office/drawing/2016/SVG/main" r:embed="rId18"/>
              </a:ext>
            </a:extLst>
          </a:blip>
          <a:stretch>
            <a:fillRect/>
          </a:stretch>
        </p:blipFill>
        <p:spPr>
          <a:xfrm>
            <a:off x="6222737" y="3039571"/>
            <a:ext cx="914400" cy="914400"/>
          </a:xfrm>
          <a:prstGeom prst="rect">
            <a:avLst/>
          </a:prstGeom>
        </p:spPr>
      </p:pic>
      <p:sp>
        <p:nvSpPr>
          <p:cNvPr id="53" name="Rechteck 52">
            <a:extLst>
              <a:ext uri="{FF2B5EF4-FFF2-40B4-BE49-F238E27FC236}">
                <a16:creationId xmlns:a16="http://schemas.microsoft.com/office/drawing/2014/main" id="{D63582C4-0F10-15ED-9882-216587ABE533}"/>
              </a:ext>
            </a:extLst>
          </p:cNvPr>
          <p:cNvSpPr/>
          <p:nvPr/>
        </p:nvSpPr>
        <p:spPr>
          <a:xfrm>
            <a:off x="479424" y="4939787"/>
            <a:ext cx="5615349" cy="699014"/>
          </a:xfrm>
          <a:prstGeom prst="rect">
            <a:avLst/>
          </a:prstGeom>
          <a:solidFill>
            <a:srgbClr val="000000">
              <a:alpha val="5098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de-DE" sz="1400" dirty="0">
              <a:solidFill>
                <a:schemeClr val="tx1"/>
              </a:solidFill>
            </a:endParaRPr>
          </a:p>
        </p:txBody>
      </p:sp>
      <p:sp>
        <p:nvSpPr>
          <p:cNvPr id="54" name="Textfeld 53">
            <a:extLst>
              <a:ext uri="{FF2B5EF4-FFF2-40B4-BE49-F238E27FC236}">
                <a16:creationId xmlns:a16="http://schemas.microsoft.com/office/drawing/2014/main" id="{98FE7D4F-CFED-EB8D-E6F6-8D4C86BD19D0}"/>
              </a:ext>
            </a:extLst>
          </p:cNvPr>
          <p:cNvSpPr txBox="1"/>
          <p:nvPr/>
        </p:nvSpPr>
        <p:spPr>
          <a:xfrm>
            <a:off x="6094773" y="2667321"/>
            <a:ext cx="3641329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dirty="0">
                <a:latin typeface="+mn-lt"/>
                <a:sym typeface="Wingdings" panose="05000000000000000000" pitchFamily="2" charset="2"/>
              </a:rPr>
              <a:t>Training und Validation</a:t>
            </a:r>
          </a:p>
        </p:txBody>
      </p:sp>
      <p:sp>
        <p:nvSpPr>
          <p:cNvPr id="55" name="Textfeld 54">
            <a:extLst>
              <a:ext uri="{FF2B5EF4-FFF2-40B4-BE49-F238E27FC236}">
                <a16:creationId xmlns:a16="http://schemas.microsoft.com/office/drawing/2014/main" id="{3C038A2B-7C9B-C4A0-0C2D-2435AD6E9385}"/>
              </a:ext>
            </a:extLst>
          </p:cNvPr>
          <p:cNvSpPr txBox="1"/>
          <p:nvPr/>
        </p:nvSpPr>
        <p:spPr>
          <a:xfrm>
            <a:off x="6094773" y="4613645"/>
            <a:ext cx="3641329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dirty="0">
                <a:latin typeface="+mn-lt"/>
                <a:sym typeface="Wingdings" panose="05000000000000000000" pitchFamily="2" charset="2"/>
              </a:rPr>
              <a:t>Tests</a:t>
            </a:r>
          </a:p>
        </p:txBody>
      </p:sp>
    </p:spTree>
    <p:extLst>
      <p:ext uri="{BB962C8B-B14F-4D97-AF65-F5344CB8AC3E}">
        <p14:creationId xmlns:p14="http://schemas.microsoft.com/office/powerpoint/2010/main" val="46099546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 animBg="1"/>
      <p:bldP spid="53" grpId="0" animBg="1"/>
      <p:bldP spid="54" grpId="0"/>
      <p:bldP spid="55" grpId="0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el 9">
            <a:extLst>
              <a:ext uri="{FF2B5EF4-FFF2-40B4-BE49-F238E27FC236}">
                <a16:creationId xmlns:a16="http://schemas.microsoft.com/office/drawing/2014/main" id="{3BED0E88-858C-FC68-E7D7-F85135ACEF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395588"/>
            <a:ext cx="11233150" cy="374398"/>
          </a:xfrm>
        </p:spPr>
        <p:txBody>
          <a:bodyPr/>
          <a:lstStyle/>
          <a:p>
            <a:r>
              <a:rPr lang="de-DE" dirty="0"/>
              <a:t>Gliederung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EC839A9A-45D8-B651-DEA1-5569F06A377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8404E2F-0DC3-491D-BBFF-E567024868D0}" type="datetime1">
              <a:rPr lang="de-DE" noProof="0" smtClean="0"/>
              <a:t>15.11.22</a:t>
            </a:fld>
            <a:endParaRPr lang="de-DE" noProof="0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3979067A-8D0D-044B-AE25-3EE47084EA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/>
              <a:t>© Universität zu Lübeck</a:t>
            </a:r>
            <a:endParaRPr lang="de-DE" noProof="0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857804F6-C499-9ED5-A592-75C175214ED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 noProof="0"/>
              <a:t>Seite</a:t>
            </a:r>
            <a:r>
              <a:rPr lang="en-US"/>
              <a:t> </a:t>
            </a:r>
            <a:fld id="{401BA3E4-5E55-4F99-AF09-CC6D6B2539E2}" type="slidenum">
              <a:rPr lang="en-US" smtClean="0"/>
              <a:pPr/>
              <a:t>2</a:t>
            </a:fld>
            <a:endParaRPr lang="en-US" dirty="0"/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47A6BD75-1E45-D177-7FDB-11A73F65AFA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93883C9D-DADB-0DC8-BD44-444B847062A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8199" y="1703388"/>
            <a:ext cx="11233150" cy="3062249"/>
          </a:xfrm>
        </p:spPr>
        <p:txBody>
          <a:bodyPr/>
          <a:lstStyle/>
          <a:p>
            <a:pPr lvl="2"/>
            <a:r>
              <a:rPr lang="de-DE" dirty="0"/>
              <a:t>Einleitung</a:t>
            </a:r>
          </a:p>
          <a:p>
            <a:pPr lvl="3"/>
            <a:r>
              <a:rPr lang="de-DE" dirty="0"/>
              <a:t>Teamvorstellung</a:t>
            </a:r>
          </a:p>
          <a:p>
            <a:pPr lvl="3"/>
            <a:r>
              <a:rPr lang="de-DE" dirty="0"/>
              <a:t>Motivation</a:t>
            </a:r>
          </a:p>
          <a:p>
            <a:pPr lvl="2"/>
            <a:r>
              <a:rPr lang="de-DE" dirty="0"/>
              <a:t>Methoden</a:t>
            </a:r>
          </a:p>
          <a:p>
            <a:pPr lvl="3"/>
            <a:r>
              <a:rPr lang="de-DE" dirty="0"/>
              <a:t>Datensatz</a:t>
            </a:r>
          </a:p>
          <a:p>
            <a:pPr lvl="3"/>
            <a:r>
              <a:rPr lang="de-DE" dirty="0"/>
              <a:t>Arterien Segmentierung</a:t>
            </a:r>
          </a:p>
          <a:p>
            <a:pPr lvl="4"/>
            <a:r>
              <a:rPr lang="de-DE" dirty="0"/>
              <a:t>Single-Network Approach</a:t>
            </a:r>
          </a:p>
          <a:p>
            <a:pPr lvl="4"/>
            <a:r>
              <a:rPr lang="de-DE" dirty="0"/>
              <a:t>Multi-Network Approach</a:t>
            </a:r>
          </a:p>
          <a:p>
            <a:pPr lvl="4"/>
            <a:r>
              <a:rPr lang="de-DE" dirty="0"/>
              <a:t>Ensembles</a:t>
            </a:r>
          </a:p>
          <a:p>
            <a:pPr lvl="3"/>
            <a:r>
              <a:rPr lang="de-DE" dirty="0"/>
              <a:t>Plaque Segmentierung</a:t>
            </a:r>
          </a:p>
          <a:p>
            <a:pPr lvl="4"/>
            <a:r>
              <a:rPr lang="de-DE" dirty="0"/>
              <a:t>Erstellen eines Datensatzes</a:t>
            </a:r>
          </a:p>
          <a:p>
            <a:pPr lvl="4"/>
            <a:r>
              <a:rPr lang="de-DE" dirty="0"/>
              <a:t>Unüberwachtes Lernen mit W-Net</a:t>
            </a:r>
          </a:p>
          <a:p>
            <a:pPr lvl="2"/>
            <a:r>
              <a:rPr lang="de-DE" dirty="0"/>
              <a:t>Ausblick</a:t>
            </a:r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D56A27E8-7420-6C66-DF1A-6C4A3443A872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21502" y="191192"/>
            <a:ext cx="3744886" cy="1130532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754287144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7D1DE7E-0C37-1923-6601-C3A2A1C40E3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395588"/>
            <a:ext cx="11233150" cy="374398"/>
          </a:xfrm>
        </p:spPr>
        <p:txBody>
          <a:bodyPr/>
          <a:lstStyle/>
          <a:p>
            <a:r>
              <a:rPr lang="de-DE" dirty="0"/>
              <a:t>Methode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EAD436E-0121-3687-2C1C-70A7EA70069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5A82B2D-840F-4167-AD44-C02BC9C87CCB}" type="datetime1">
              <a:rPr lang="de-DE" noProof="0" smtClean="0"/>
              <a:t>15.11.22</a:t>
            </a:fld>
            <a:endParaRPr lang="de-DE" noProof="0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77F74EDD-282F-93EF-33D5-3FE76B28A82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/>
              <a:t>© Universität zu Lübeck</a:t>
            </a:r>
            <a:endParaRPr lang="de-DE" noProof="0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53D729B8-F28B-7A02-FF4A-0A6F9B46B2D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 noProof="0"/>
              <a:t>Seite</a:t>
            </a:r>
            <a:r>
              <a:rPr lang="en-US"/>
              <a:t> </a:t>
            </a:r>
            <a:fld id="{401BA3E4-5E55-4F99-AF09-CC6D6B2539E2}" type="slidenum">
              <a:rPr lang="en-US" smtClean="0"/>
              <a:pPr/>
              <a:t>20</a:t>
            </a:fld>
            <a:endParaRPr lang="en-US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D176AFD-051B-A8EC-C141-196E5AF2CAB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9425" y="778321"/>
            <a:ext cx="11233150" cy="312008"/>
          </a:xfrm>
        </p:spPr>
        <p:txBody>
          <a:bodyPr/>
          <a:lstStyle/>
          <a:p>
            <a:r>
              <a:rPr lang="de-DE" dirty="0"/>
              <a:t>Arterien Segmentierung </a:t>
            </a:r>
            <a:r>
              <a:rPr lang="de-DE" sz="2000" b="0" i="0" kern="1200" dirty="0">
                <a:solidFill>
                  <a:srgbClr val="084653"/>
                </a:solidFill>
                <a:effectLst/>
                <a:latin typeface="Myriad Pro" panose="020B0503030403020204"/>
                <a:ea typeface="+mn-ea"/>
                <a:cs typeface="+mn-cs"/>
              </a:rPr>
              <a:t>—</a:t>
            </a:r>
            <a:r>
              <a:rPr lang="de-DE" dirty="0"/>
              <a:t> Single-Network Approach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55F09384-39C8-97D2-72DC-9DB80D21395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de-DE"/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B8EA91E6-4E96-7862-FA70-5A5DEA753372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8199" y="1703388"/>
            <a:ext cx="7200000" cy="3845963"/>
          </a:xfrm>
          <a:prstGeom prst="rect">
            <a:avLst/>
          </a:prstGeom>
        </p:spPr>
      </p:pic>
      <p:sp>
        <p:nvSpPr>
          <p:cNvPr id="10" name="Rechteck 9">
            <a:extLst>
              <a:ext uri="{FF2B5EF4-FFF2-40B4-BE49-F238E27FC236}">
                <a16:creationId xmlns:a16="http://schemas.microsoft.com/office/drawing/2014/main" id="{44993246-3459-AD1A-7CE9-804C6299FE7C}"/>
              </a:ext>
            </a:extLst>
          </p:cNvPr>
          <p:cNvSpPr/>
          <p:nvPr/>
        </p:nvSpPr>
        <p:spPr>
          <a:xfrm>
            <a:off x="1400748" y="5010150"/>
            <a:ext cx="2796602" cy="69850"/>
          </a:xfrm>
          <a:prstGeom prst="rect">
            <a:avLst/>
          </a:prstGeom>
          <a:solidFill>
            <a:schemeClr val="tx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de-DE" sz="1400" dirty="0">
              <a:solidFill>
                <a:schemeClr val="tx1"/>
              </a:solidFill>
            </a:endParaRP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53A687C5-A986-C991-A7D5-9D4E45DDE976}"/>
              </a:ext>
            </a:extLst>
          </p:cNvPr>
          <p:cNvSpPr/>
          <p:nvPr/>
        </p:nvSpPr>
        <p:spPr>
          <a:xfrm>
            <a:off x="4197350" y="5010150"/>
            <a:ext cx="1124744" cy="69850"/>
          </a:xfrm>
          <a:prstGeom prst="rect">
            <a:avLst/>
          </a:prstGeom>
          <a:solidFill>
            <a:srgbClr val="FFC0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de-DE" sz="1400" dirty="0">
              <a:solidFill>
                <a:schemeClr val="tx1"/>
              </a:solidFill>
            </a:endParaRP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FAC37591-2F96-86D3-5F91-FCC2E54C3CEB}"/>
              </a:ext>
            </a:extLst>
          </p:cNvPr>
          <p:cNvSpPr/>
          <p:nvPr/>
        </p:nvSpPr>
        <p:spPr>
          <a:xfrm>
            <a:off x="5322094" y="5010150"/>
            <a:ext cx="1671858" cy="69850"/>
          </a:xfrm>
          <a:prstGeom prst="rect">
            <a:avLst/>
          </a:pr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de-DE" sz="1400" dirty="0">
              <a:solidFill>
                <a:schemeClr val="tx1"/>
              </a:solidFill>
            </a:endParaRPr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3DDEB581-263C-97C6-8430-EBB72CB1E7E4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21502" y="191192"/>
            <a:ext cx="3744886" cy="1130532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603919583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3" name="Diagram 4">
            <a:extLst>
              <a:ext uri="{FF2B5EF4-FFF2-40B4-BE49-F238E27FC236}">
                <a16:creationId xmlns:a16="http://schemas.microsoft.com/office/drawing/2014/main" id="{B919F797-3AD1-4A8F-85AA-E4D6A65BA46E}"/>
              </a:ext>
            </a:extLst>
          </p:cNvPr>
          <p:cNvGraphicFramePr/>
          <p:nvPr/>
        </p:nvGraphicFramePr>
        <p:xfrm>
          <a:off x="8094940" y="3061452"/>
          <a:ext cx="1415346" cy="217170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graphicFrame>
        <p:nvGraphicFramePr>
          <p:cNvPr id="42" name="Diagram 4">
            <a:extLst>
              <a:ext uri="{FF2B5EF4-FFF2-40B4-BE49-F238E27FC236}">
                <a16:creationId xmlns:a16="http://schemas.microsoft.com/office/drawing/2014/main" id="{B919F797-3AD1-4A8F-85AA-E4D6A65BA46E}"/>
              </a:ext>
            </a:extLst>
          </p:cNvPr>
          <p:cNvGraphicFramePr/>
          <p:nvPr/>
        </p:nvGraphicFramePr>
        <p:xfrm>
          <a:off x="1080081" y="589964"/>
          <a:ext cx="6220459" cy="548049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8" r:lo="rId9" r:qs="rId10" r:cs="rId11"/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9DCF5550-E586-2F4D-9BFF-EA2A23A3AC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395588"/>
            <a:ext cx="11233150" cy="375487"/>
          </a:xfrm>
        </p:spPr>
        <p:txBody>
          <a:bodyPr/>
          <a:lstStyle/>
          <a:p>
            <a:r>
              <a:rPr lang="de-DE" dirty="0"/>
              <a:t>Gliederung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6F2406C-7AB3-BA48-4B8A-67E2CFC7E9B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/>
              <a:t>© Universität zu Lübeck</a:t>
            </a:r>
            <a:endParaRPr lang="de-DE" noProof="0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22CA16D0-0D58-A287-9D07-D4F19469A6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 noProof="0"/>
              <a:t>Seite</a:t>
            </a:r>
            <a:r>
              <a:rPr lang="en-US"/>
              <a:t> </a:t>
            </a:r>
            <a:fld id="{401BA3E4-5E55-4F99-AF09-CC6D6B2539E2}" type="slidenum">
              <a:rPr lang="en-US" smtClean="0"/>
              <a:pPr/>
              <a:t>21</a:t>
            </a:fld>
            <a:endParaRPr lang="en-US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607EBF9-EC8B-9F58-CF49-88CB210BFF0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5A82B2D-840F-4167-AD44-C02BC9C87CCB}" type="datetime1">
              <a:rPr lang="de-DE" noProof="0" smtClean="0"/>
              <a:t>15.11.22</a:t>
            </a:fld>
            <a:endParaRPr lang="de-DE" noProof="0" dirty="0"/>
          </a:p>
        </p:txBody>
      </p:sp>
      <p:pic>
        <p:nvPicPr>
          <p:cNvPr id="11" name="Grafik 10" descr="Ein Bild, das Karte enthält.&#10;&#10;Automatisch generierte Beschreibung">
            <a:extLst>
              <a:ext uri="{FF2B5EF4-FFF2-40B4-BE49-F238E27FC236}">
                <a16:creationId xmlns:a16="http://schemas.microsoft.com/office/drawing/2014/main" id="{8DCD45CA-3EE6-58F1-DFB2-13FFBAD61A28}"/>
              </a:ext>
            </a:extLst>
          </p:cNvPr>
          <p:cNvPicPr>
            <a:picLocks noChangeAspect="1"/>
          </p:cNvPicPr>
          <p:nvPr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66337" y="3427303"/>
            <a:ext cx="1920000" cy="1440000"/>
          </a:xfrm>
          <a:prstGeom prst="rect">
            <a:avLst/>
          </a:prstGeom>
          <a:ln>
            <a:solidFill>
              <a:schemeClr val="accent1"/>
            </a:solidFill>
          </a:ln>
        </p:spPr>
      </p:pic>
      <p:pic>
        <p:nvPicPr>
          <p:cNvPr id="13" name="Grafik 12" descr="Ein Bild, das Schuhe enthält.&#10;&#10;Automatisch generierte Beschreibung">
            <a:extLst>
              <a:ext uri="{FF2B5EF4-FFF2-40B4-BE49-F238E27FC236}">
                <a16:creationId xmlns:a16="http://schemas.microsoft.com/office/drawing/2014/main" id="{4267AC41-BE3A-A0E7-56B8-3C950FC8CCA9}"/>
              </a:ext>
            </a:extLst>
          </p:cNvPr>
          <p:cNvPicPr>
            <a:picLocks noChangeAspect="1"/>
          </p:cNvPicPr>
          <p:nvPr/>
        </p:nvPicPr>
        <p:blipFill>
          <a:blip r:embed="rId1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676616" y="3427302"/>
            <a:ext cx="1920000" cy="1440000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4" name="Grafik 13">
            <a:extLst>
              <a:ext uri="{FF2B5EF4-FFF2-40B4-BE49-F238E27FC236}">
                <a16:creationId xmlns:a16="http://schemas.microsoft.com/office/drawing/2014/main" id="{242F2DB2-2B0E-AE0B-37C3-EE40808E80AE}"/>
              </a:ext>
            </a:extLst>
          </p:cNvPr>
          <p:cNvPicPr>
            <a:picLocks noChangeAspect="1"/>
          </p:cNvPicPr>
          <p:nvPr/>
        </p:nvPicPr>
        <p:blipFill>
          <a:blip r:embed="rId1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6000" y="3427303"/>
            <a:ext cx="1920000" cy="1440000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39" name="Textfeld 38">
            <a:extLst>
              <a:ext uri="{FF2B5EF4-FFF2-40B4-BE49-F238E27FC236}">
                <a16:creationId xmlns:a16="http://schemas.microsoft.com/office/drawing/2014/main" id="{888E936E-A2EF-4C6B-BA71-DCCE49BE021D}"/>
              </a:ext>
            </a:extLst>
          </p:cNvPr>
          <p:cNvSpPr txBox="1"/>
          <p:nvPr/>
        </p:nvSpPr>
        <p:spPr bwMode="gray">
          <a:xfrm>
            <a:off x="9638307" y="2679489"/>
            <a:ext cx="1996618" cy="65598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/>
          <a:p>
            <a:pPr algn="ctr"/>
            <a:r>
              <a:rPr lang="de-DE" dirty="0"/>
              <a:t>Segmentierung</a:t>
            </a:r>
          </a:p>
          <a:p>
            <a:pPr algn="ctr"/>
            <a:r>
              <a:rPr lang="de-DE" dirty="0"/>
              <a:t>der Plaques</a:t>
            </a: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71289FB9-BA1E-7C68-0426-32E60CDD3E24}"/>
              </a:ext>
            </a:extLst>
          </p:cNvPr>
          <p:cNvPicPr>
            <a:picLocks noChangeAspect="1"/>
          </p:cNvPicPr>
          <p:nvPr/>
        </p:nvPicPr>
        <p:blipFill>
          <a:blip r:embed="rId1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21502" y="191192"/>
            <a:ext cx="3744886" cy="1130532"/>
          </a:xfrm>
          <a:prstGeom prst="rect">
            <a:avLst/>
          </a:prstGeom>
          <a:noFill/>
        </p:spPr>
      </p:pic>
      <p:sp>
        <p:nvSpPr>
          <p:cNvPr id="15" name="Textfeld 14">
            <a:extLst>
              <a:ext uri="{FF2B5EF4-FFF2-40B4-BE49-F238E27FC236}">
                <a16:creationId xmlns:a16="http://schemas.microsoft.com/office/drawing/2014/main" id="{6ED7849F-B77B-031F-232B-53F1C0071BD2}"/>
              </a:ext>
            </a:extLst>
          </p:cNvPr>
          <p:cNvSpPr txBox="1"/>
          <p:nvPr/>
        </p:nvSpPr>
        <p:spPr bwMode="gray">
          <a:xfrm>
            <a:off x="6096000" y="2668482"/>
            <a:ext cx="1996618" cy="65598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/>
          <a:p>
            <a:pPr algn="ctr"/>
            <a:r>
              <a:rPr lang="de-DE" dirty="0"/>
              <a:t>Segmentierung</a:t>
            </a:r>
          </a:p>
          <a:p>
            <a:pPr algn="ctr"/>
            <a:r>
              <a:rPr lang="de-DE" dirty="0"/>
              <a:t>der Arterien</a:t>
            </a:r>
          </a:p>
        </p:txBody>
      </p:sp>
      <p:sp>
        <p:nvSpPr>
          <p:cNvPr id="28" name="Textfeld 27">
            <a:extLst>
              <a:ext uri="{FF2B5EF4-FFF2-40B4-BE49-F238E27FC236}">
                <a16:creationId xmlns:a16="http://schemas.microsoft.com/office/drawing/2014/main" id="{1C98C6BF-F6CB-E9D9-0B20-0C09110355E8}"/>
              </a:ext>
            </a:extLst>
          </p:cNvPr>
          <p:cNvSpPr txBox="1"/>
          <p:nvPr/>
        </p:nvSpPr>
        <p:spPr bwMode="gray">
          <a:xfrm>
            <a:off x="8068430" y="2216787"/>
            <a:ext cx="1996618" cy="65598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/>
          <a:p>
            <a:pPr algn="ctr"/>
            <a:r>
              <a:rPr lang="de-DE" sz="1400" dirty="0"/>
              <a:t>Morph. K-NN</a:t>
            </a:r>
          </a:p>
        </p:txBody>
      </p:sp>
      <p:sp>
        <p:nvSpPr>
          <p:cNvPr id="30" name="Textfeld 29">
            <a:extLst>
              <a:ext uri="{FF2B5EF4-FFF2-40B4-BE49-F238E27FC236}">
                <a16:creationId xmlns:a16="http://schemas.microsoft.com/office/drawing/2014/main" id="{F587367C-BC98-E609-D58A-F95341C38081}"/>
              </a:ext>
            </a:extLst>
          </p:cNvPr>
          <p:cNvSpPr txBox="1"/>
          <p:nvPr/>
        </p:nvSpPr>
        <p:spPr bwMode="gray">
          <a:xfrm>
            <a:off x="8016000" y="4690082"/>
            <a:ext cx="1996618" cy="65598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/>
          <a:p>
            <a:pPr algn="ctr"/>
            <a:r>
              <a:rPr lang="de-DE" sz="1400" dirty="0"/>
              <a:t>W-Net</a:t>
            </a:r>
          </a:p>
        </p:txBody>
      </p:sp>
      <p:grpSp>
        <p:nvGrpSpPr>
          <p:cNvPr id="95" name="Gruppieren 94">
            <a:extLst>
              <a:ext uri="{FF2B5EF4-FFF2-40B4-BE49-F238E27FC236}">
                <a16:creationId xmlns:a16="http://schemas.microsoft.com/office/drawing/2014/main" id="{BA3F15CF-61A4-7F53-83C8-837E38521BE7}"/>
              </a:ext>
            </a:extLst>
          </p:cNvPr>
          <p:cNvGrpSpPr/>
          <p:nvPr/>
        </p:nvGrpSpPr>
        <p:grpSpPr>
          <a:xfrm>
            <a:off x="8207917" y="5231844"/>
            <a:ext cx="1717643" cy="799363"/>
            <a:chOff x="4554249" y="1721366"/>
            <a:chExt cx="7168120" cy="3335924"/>
          </a:xfrm>
        </p:grpSpPr>
        <p:pic>
          <p:nvPicPr>
            <p:cNvPr id="96" name="Grafik 95" descr="Ein Bild, das Metallwaren enthält.&#10;&#10;Automatisch generierte Beschreibung">
              <a:extLst>
                <a:ext uri="{FF2B5EF4-FFF2-40B4-BE49-F238E27FC236}">
                  <a16:creationId xmlns:a16="http://schemas.microsoft.com/office/drawing/2014/main" id="{2DB799B7-61A5-54FE-CB45-A0C2427B357B}"/>
                </a:ext>
              </a:extLst>
            </p:cNvPr>
            <p:cNvPicPr>
              <a:picLocks noChangeAspect="1"/>
            </p:cNvPicPr>
            <p:nvPr/>
          </p:nvPicPr>
          <p:blipFill>
            <a:blip r:embed="rId1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554249" y="1754999"/>
              <a:ext cx="814157" cy="610618"/>
            </a:xfrm>
            <a:prstGeom prst="rect">
              <a:avLst/>
            </a:prstGeom>
          </p:spPr>
        </p:pic>
        <p:pic>
          <p:nvPicPr>
            <p:cNvPr id="97" name="Grafik 96" descr="Ein Bild, das Metallwaren enthält.&#10;&#10;Automatisch generierte Beschreibung">
              <a:extLst>
                <a:ext uri="{FF2B5EF4-FFF2-40B4-BE49-F238E27FC236}">
                  <a16:creationId xmlns:a16="http://schemas.microsoft.com/office/drawing/2014/main" id="{8E9877AB-38C4-6C25-2B9C-0DDCF31CAC59}"/>
                </a:ext>
              </a:extLst>
            </p:cNvPr>
            <p:cNvPicPr>
              <a:picLocks noChangeAspect="1"/>
            </p:cNvPicPr>
            <p:nvPr/>
          </p:nvPicPr>
          <p:blipFill>
            <a:blip r:embed="rId1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0908212" y="1754999"/>
              <a:ext cx="814157" cy="610618"/>
            </a:xfrm>
            <a:prstGeom prst="rect">
              <a:avLst/>
            </a:prstGeom>
          </p:spPr>
        </p:pic>
        <p:pic>
          <p:nvPicPr>
            <p:cNvPr id="98" name="Grafik 97">
              <a:extLst>
                <a:ext uri="{FF2B5EF4-FFF2-40B4-BE49-F238E27FC236}">
                  <a16:creationId xmlns:a16="http://schemas.microsoft.com/office/drawing/2014/main" id="{9468951C-0962-9012-4365-99B75F364C9B}"/>
                </a:ext>
              </a:extLst>
            </p:cNvPr>
            <p:cNvPicPr>
              <a:picLocks noChangeAspect="1"/>
            </p:cNvPicPr>
            <p:nvPr/>
          </p:nvPicPr>
          <p:blipFill>
            <a:blip r:embed="rId18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323506" y="1721366"/>
              <a:ext cx="5618586" cy="2707328"/>
            </a:xfrm>
            <a:prstGeom prst="rect">
              <a:avLst/>
            </a:prstGeom>
          </p:spPr>
        </p:pic>
        <p:pic>
          <p:nvPicPr>
            <p:cNvPr id="99" name="Grafik 98">
              <a:extLst>
                <a:ext uri="{FF2B5EF4-FFF2-40B4-BE49-F238E27FC236}">
                  <a16:creationId xmlns:a16="http://schemas.microsoft.com/office/drawing/2014/main" id="{5717B2B3-E1AE-BA15-8997-281D0D5A7E26}"/>
                </a:ext>
              </a:extLst>
            </p:cNvPr>
            <p:cNvPicPr>
              <a:picLocks noChangeAspect="1"/>
            </p:cNvPicPr>
            <p:nvPr/>
          </p:nvPicPr>
          <p:blipFill>
            <a:blip r:embed="rId19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581072" y="4446672"/>
              <a:ext cx="814157" cy="610618"/>
            </a:xfrm>
            <a:prstGeom prst="rect">
              <a:avLst/>
            </a:prstGeom>
          </p:spPr>
        </p:pic>
      </p:grpSp>
      <p:pic>
        <p:nvPicPr>
          <p:cNvPr id="103" name="Grafik 102">
            <a:extLst>
              <a:ext uri="{FF2B5EF4-FFF2-40B4-BE49-F238E27FC236}">
                <a16:creationId xmlns:a16="http://schemas.microsoft.com/office/drawing/2014/main" id="{F5218157-4099-86F2-D213-52329BD2CE9E}"/>
              </a:ext>
            </a:extLst>
          </p:cNvPr>
          <p:cNvPicPr>
            <a:picLocks noChangeAspect="1"/>
          </p:cNvPicPr>
          <p:nvPr/>
        </p:nvPicPr>
        <p:blipFill>
          <a:blip r:embed="rId2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661679" y="2728562"/>
            <a:ext cx="740798" cy="547215"/>
          </a:xfrm>
          <a:prstGeom prst="rect">
            <a:avLst/>
          </a:prstGeom>
        </p:spPr>
      </p:pic>
      <p:sp>
        <p:nvSpPr>
          <p:cNvPr id="45" name="Textfeld 44">
            <a:extLst>
              <a:ext uri="{FF2B5EF4-FFF2-40B4-BE49-F238E27FC236}">
                <a16:creationId xmlns:a16="http://schemas.microsoft.com/office/drawing/2014/main" id="{6ED7849F-B77B-031F-232B-53F1C0071BD2}"/>
              </a:ext>
            </a:extLst>
          </p:cNvPr>
          <p:cNvSpPr txBox="1"/>
          <p:nvPr/>
        </p:nvSpPr>
        <p:spPr bwMode="gray">
          <a:xfrm>
            <a:off x="228028" y="2668482"/>
            <a:ext cx="1996618" cy="65598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/>
          <a:p>
            <a:pPr algn="ctr"/>
            <a:r>
              <a:rPr lang="de-DE" dirty="0"/>
              <a:t>Histologischer</a:t>
            </a:r>
          </a:p>
          <a:p>
            <a:pPr algn="ctr"/>
            <a:r>
              <a:rPr lang="de-DE" dirty="0"/>
              <a:t> Schnitt</a:t>
            </a: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40559F06-75DC-F590-ACBF-1746796DAE37}"/>
              </a:ext>
            </a:extLst>
          </p:cNvPr>
          <p:cNvSpPr/>
          <p:nvPr/>
        </p:nvSpPr>
        <p:spPr>
          <a:xfrm>
            <a:off x="2867025" y="490538"/>
            <a:ext cx="3184971" cy="3827021"/>
          </a:xfrm>
          <a:prstGeom prst="rect">
            <a:avLst/>
          </a:prstGeom>
          <a:solidFill>
            <a:srgbClr val="FFFFFF">
              <a:alpha val="81961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de-DE" sz="1400" dirty="0">
              <a:solidFill>
                <a:schemeClr val="tx1"/>
              </a:solidFill>
            </a:endParaRP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35FD5557-B201-B2D3-1CD6-27E6DEB3DC45}"/>
              </a:ext>
            </a:extLst>
          </p:cNvPr>
          <p:cNvSpPr/>
          <p:nvPr/>
        </p:nvSpPr>
        <p:spPr>
          <a:xfrm>
            <a:off x="8077272" y="2400101"/>
            <a:ext cx="3696575" cy="3631106"/>
          </a:xfrm>
          <a:prstGeom prst="rect">
            <a:avLst/>
          </a:prstGeom>
          <a:solidFill>
            <a:srgbClr val="FFFFFF">
              <a:alpha val="81961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de-DE" sz="1400" dirty="0">
              <a:solidFill>
                <a:schemeClr val="tx1"/>
              </a:solidFill>
            </a:endParaRP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4BE02391-7D43-4624-A7B9-60362AA7E67E}"/>
              </a:ext>
            </a:extLst>
          </p:cNvPr>
          <p:cNvSpPr/>
          <p:nvPr/>
        </p:nvSpPr>
        <p:spPr>
          <a:xfrm flipV="1">
            <a:off x="2672454" y="2455861"/>
            <a:ext cx="251721" cy="1715120"/>
          </a:xfrm>
          <a:prstGeom prst="rect">
            <a:avLst/>
          </a:prstGeom>
          <a:solidFill>
            <a:srgbClr val="FFFFFF">
              <a:alpha val="81961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de-DE" sz="1400" dirty="0">
              <a:solidFill>
                <a:schemeClr val="tx1"/>
              </a:solidFill>
            </a:endParaRP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1A6DB85A-0EBD-6981-D33F-10FEF1BE881D}"/>
              </a:ext>
            </a:extLst>
          </p:cNvPr>
          <p:cNvSpPr/>
          <p:nvPr/>
        </p:nvSpPr>
        <p:spPr>
          <a:xfrm>
            <a:off x="2764694" y="5039068"/>
            <a:ext cx="3226030" cy="1031390"/>
          </a:xfrm>
          <a:prstGeom prst="rect">
            <a:avLst/>
          </a:prstGeom>
          <a:solidFill>
            <a:srgbClr val="FFFFFF">
              <a:alpha val="81961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de-DE" sz="1400" dirty="0">
              <a:solidFill>
                <a:schemeClr val="tx1"/>
              </a:solidFill>
            </a:endParaRP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4200D963-E9D9-D8AD-2762-11401C5B2A2A}"/>
              </a:ext>
            </a:extLst>
          </p:cNvPr>
          <p:cNvSpPr/>
          <p:nvPr/>
        </p:nvSpPr>
        <p:spPr>
          <a:xfrm>
            <a:off x="2672454" y="4676744"/>
            <a:ext cx="92240" cy="1392148"/>
          </a:xfrm>
          <a:prstGeom prst="rect">
            <a:avLst/>
          </a:prstGeom>
          <a:solidFill>
            <a:srgbClr val="FFFFFF">
              <a:alpha val="81961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de-DE" sz="14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03910449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B9F5726-9743-559C-44B7-28BCF753CDA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ethode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0A4E1061-0C55-7450-F7F3-0ECA40053FB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225054-8F4D-4B67-8803-E473E83FD8A6}" type="datetime1">
              <a:rPr lang="de-DE" noProof="0" smtClean="0"/>
              <a:t>15.11.22</a:t>
            </a:fld>
            <a:endParaRPr lang="de-DE" noProof="0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85026CBD-C28D-1239-FF11-CB093AC93CB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/>
              <a:t>© Universität zu Lübeck</a:t>
            </a:r>
            <a:endParaRPr lang="de-DE" noProof="0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B3D8F5EA-A8A7-1DEA-C1C9-FE439AFE483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 noProof="0"/>
              <a:t>Seite</a:t>
            </a:r>
            <a:r>
              <a:rPr lang="en-US"/>
              <a:t> </a:t>
            </a:r>
            <a:fld id="{401BA3E4-5E55-4F99-AF09-CC6D6B2539E2}" type="slidenum">
              <a:rPr lang="en-US" smtClean="0"/>
              <a:pPr/>
              <a:t>22</a:t>
            </a:fld>
            <a:endParaRPr lang="en-US" dirty="0"/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660676AF-70D0-59AF-4157-1564C600A56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9425" y="778321"/>
            <a:ext cx="11233150" cy="312008"/>
          </a:xfrm>
        </p:spPr>
        <p:txBody>
          <a:bodyPr/>
          <a:lstStyle/>
          <a:p>
            <a:r>
              <a:rPr lang="de-DE" dirty="0"/>
              <a:t>Arterien Segmentierung </a:t>
            </a:r>
            <a:r>
              <a:rPr lang="de-DE" sz="2000" dirty="0"/>
              <a:t>— Multi-Network Approach </a:t>
            </a:r>
            <a:endParaRPr lang="de-DE" dirty="0"/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8FAE9A0D-F9B2-6E44-ACDA-6BDAD567765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8199" y="1703388"/>
            <a:ext cx="11233150" cy="3062249"/>
          </a:xfrm>
        </p:spPr>
        <p:txBody>
          <a:bodyPr/>
          <a:lstStyle/>
          <a:p>
            <a:pPr lvl="2"/>
            <a:r>
              <a:rPr lang="de-DE" dirty="0"/>
              <a:t>Motivation: </a:t>
            </a:r>
          </a:p>
          <a:p>
            <a:pPr lvl="3"/>
            <a:r>
              <a:rPr lang="de-DE" dirty="0"/>
              <a:t>Großteil der Bilder (&gt;75% im Schnitt) ist Hintergrund</a:t>
            </a:r>
          </a:p>
          <a:p>
            <a:pPr lvl="3"/>
            <a:r>
              <a:rPr lang="de-DE" dirty="0"/>
              <a:t>Bilder haben sehr hohe Auflösung</a:t>
            </a:r>
          </a:p>
          <a:p>
            <a:pPr lvl="2"/>
            <a:r>
              <a:rPr lang="de-DE" dirty="0"/>
              <a:t>Idee:</a:t>
            </a:r>
          </a:p>
          <a:p>
            <a:pPr lvl="3"/>
            <a:r>
              <a:rPr lang="de-DE" dirty="0"/>
              <a:t>Region </a:t>
            </a:r>
            <a:r>
              <a:rPr lang="de-DE" dirty="0" err="1"/>
              <a:t>of</a:t>
            </a:r>
            <a:r>
              <a:rPr lang="de-DE" dirty="0"/>
              <a:t> Interest (ROI) bestimmen</a:t>
            </a:r>
          </a:p>
          <a:p>
            <a:pPr lvl="3"/>
            <a:r>
              <a:rPr lang="de-DE" dirty="0"/>
              <a:t>ROI ausschneiden und Größe ändern</a:t>
            </a:r>
          </a:p>
          <a:p>
            <a:pPr lvl="3"/>
            <a:r>
              <a:rPr lang="de-DE" dirty="0"/>
              <a:t>Netzwerk auf der ROI trainieren</a:t>
            </a:r>
          </a:p>
          <a:p>
            <a:pPr lvl="2" indent="-180000"/>
            <a:r>
              <a:rPr lang="de-DE" dirty="0"/>
              <a:t>Zwei Ansätze zum Erhalten der ROI:</a:t>
            </a:r>
          </a:p>
          <a:p>
            <a:pPr lvl="4"/>
            <a:r>
              <a:rPr lang="de-DE" dirty="0"/>
              <a:t>Segmentierungsnetz liefert ROI</a:t>
            </a:r>
          </a:p>
          <a:p>
            <a:pPr lvl="4"/>
            <a:r>
              <a:rPr lang="de-DE" dirty="0"/>
              <a:t>YOLOv5 </a:t>
            </a:r>
            <a:r>
              <a:rPr lang="de-DE" dirty="0" err="1"/>
              <a:t>Object</a:t>
            </a:r>
            <a:r>
              <a:rPr lang="de-DE" dirty="0"/>
              <a:t> </a:t>
            </a:r>
            <a:r>
              <a:rPr lang="de-DE" dirty="0" err="1"/>
              <a:t>Detector</a:t>
            </a:r>
            <a:r>
              <a:rPr lang="de-DE" dirty="0"/>
              <a:t> liefert ROI</a:t>
            </a:r>
          </a:p>
          <a:p>
            <a:pPr lvl="4"/>
            <a:endParaRPr lang="de-DE" dirty="0"/>
          </a:p>
          <a:p>
            <a:pPr lvl="4"/>
            <a:endParaRPr lang="de-DE" dirty="0"/>
          </a:p>
          <a:p>
            <a:pPr lvl="4"/>
            <a:endParaRPr lang="de-DE" dirty="0"/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8801ACBE-6405-B2F0-87C7-D8003D0F7FDD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02928" y="1909574"/>
            <a:ext cx="3048000" cy="2286000"/>
          </a:xfrm>
          <a:prstGeom prst="rect">
            <a:avLst/>
          </a:prstGeom>
        </p:spPr>
      </p:pic>
      <p:pic>
        <p:nvPicPr>
          <p:cNvPr id="15" name="Grafik 14">
            <a:extLst>
              <a:ext uri="{FF2B5EF4-FFF2-40B4-BE49-F238E27FC236}">
                <a16:creationId xmlns:a16="http://schemas.microsoft.com/office/drawing/2014/main" id="{7DD92B20-CB31-7530-3751-5E97DB42142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546156" y="1909574"/>
            <a:ext cx="3056561" cy="2286000"/>
          </a:xfrm>
          <a:prstGeom prst="rect">
            <a:avLst/>
          </a:prstGeom>
        </p:spPr>
      </p:pic>
      <p:sp>
        <p:nvSpPr>
          <p:cNvPr id="19" name="Textfeld 18">
            <a:extLst>
              <a:ext uri="{FF2B5EF4-FFF2-40B4-BE49-F238E27FC236}">
                <a16:creationId xmlns:a16="http://schemas.microsoft.com/office/drawing/2014/main" id="{71C57B30-F27E-836E-8913-9292A1AA4822}"/>
              </a:ext>
            </a:extLst>
          </p:cNvPr>
          <p:cNvSpPr txBox="1"/>
          <p:nvPr/>
        </p:nvSpPr>
        <p:spPr bwMode="gray">
          <a:xfrm>
            <a:off x="5202928" y="4249688"/>
            <a:ext cx="3048000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de-DE" sz="1800" dirty="0"/>
              <a:t>Ausschneiden und dann </a:t>
            </a:r>
          </a:p>
          <a:p>
            <a:pPr algn="ctr"/>
            <a:r>
              <a:rPr lang="de-DE" sz="1800" dirty="0" err="1"/>
              <a:t>resizen</a:t>
            </a:r>
            <a:endParaRPr lang="de-DE" sz="1800" dirty="0"/>
          </a:p>
        </p:txBody>
      </p:sp>
      <p:sp>
        <p:nvSpPr>
          <p:cNvPr id="20" name="Textfeld 19">
            <a:extLst>
              <a:ext uri="{FF2B5EF4-FFF2-40B4-BE49-F238E27FC236}">
                <a16:creationId xmlns:a16="http://schemas.microsoft.com/office/drawing/2014/main" id="{7232F585-CDA5-AF31-49E6-9BD7CCE81065}"/>
              </a:ext>
            </a:extLst>
          </p:cNvPr>
          <p:cNvSpPr txBox="1"/>
          <p:nvPr/>
        </p:nvSpPr>
        <p:spPr bwMode="gray">
          <a:xfrm>
            <a:off x="8457138" y="4249687"/>
            <a:ext cx="3048000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de-DE" sz="1800" dirty="0" err="1"/>
              <a:t>Resizen</a:t>
            </a:r>
            <a:r>
              <a:rPr lang="de-DE" sz="1800" dirty="0"/>
              <a:t> und dann</a:t>
            </a:r>
          </a:p>
          <a:p>
            <a:pPr algn="ctr"/>
            <a:r>
              <a:rPr lang="de-DE" sz="1800" dirty="0"/>
              <a:t>ausschneiden</a:t>
            </a:r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527585A9-55F1-0B66-6B4C-B564662B1374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21502" y="205152"/>
            <a:ext cx="3744886" cy="1130532"/>
          </a:xfrm>
          <a:prstGeom prst="rect">
            <a:avLst/>
          </a:prstGeom>
          <a:noFill/>
        </p:spPr>
      </p:pic>
      <p:pic>
        <p:nvPicPr>
          <p:cNvPr id="7" name="Grafik 6">
            <a:extLst>
              <a:ext uri="{FF2B5EF4-FFF2-40B4-BE49-F238E27FC236}">
                <a16:creationId xmlns:a16="http://schemas.microsoft.com/office/drawing/2014/main" id="{910C4728-F492-2EEA-8CD6-CB2CB29DCC93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202927" y="1909574"/>
            <a:ext cx="3056559" cy="2286000"/>
          </a:xfrm>
          <a:prstGeom prst="rect">
            <a:avLst/>
          </a:prstGeom>
        </p:spPr>
      </p:pic>
      <p:pic>
        <p:nvPicPr>
          <p:cNvPr id="8" name="Grafik 7">
            <a:extLst>
              <a:ext uri="{FF2B5EF4-FFF2-40B4-BE49-F238E27FC236}">
                <a16:creationId xmlns:a16="http://schemas.microsoft.com/office/drawing/2014/main" id="{F1ED6320-FDB9-3BA4-C835-A4D7D15BAE0C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546156" y="1909575"/>
            <a:ext cx="3056559" cy="228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3836353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/>
      <p:bldP spid="20" grpId="0"/>
    </p:bld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Rectangle 7">
            <a:extLst>
              <a:ext uri="{FF2B5EF4-FFF2-40B4-BE49-F238E27FC236}">
                <a16:creationId xmlns:a16="http://schemas.microsoft.com/office/drawing/2014/main" id="{000C4053-E050-5F28-A183-F2E293F49644}"/>
              </a:ext>
            </a:extLst>
          </p:cNvPr>
          <p:cNvSpPr>
            <a:spLocks noChangeArrowheads="1"/>
          </p:cNvSpPr>
          <p:nvPr/>
        </p:nvSpPr>
        <p:spPr bwMode="auto">
          <a:xfrm>
            <a:off x="4393465" y="4039442"/>
            <a:ext cx="1521560" cy="1521560"/>
          </a:xfrm>
          <a:prstGeom prst="rect">
            <a:avLst/>
          </a:prstGeom>
          <a:solidFill>
            <a:schemeClr val="bg1"/>
          </a:solidFill>
          <a:ln w="31750" algn="ctr">
            <a:solidFill>
              <a:srgbClr val="000000"/>
            </a:solidFill>
            <a:miter lim="800000"/>
            <a:headEnd/>
            <a:tailEnd/>
          </a:ln>
          <a:effectLst/>
        </p:spPr>
        <p:txBody>
          <a:bodyPr vert="horz" wrap="square" lIns="36576" tIns="36576" rIns="36576" bIns="36576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29" name="Grafik 28">
            <a:extLst>
              <a:ext uri="{FF2B5EF4-FFF2-40B4-BE49-F238E27FC236}">
                <a16:creationId xmlns:a16="http://schemas.microsoft.com/office/drawing/2014/main" id="{3907D958-5299-660F-D2E4-93D2A758CA97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83442" y="4317621"/>
            <a:ext cx="1331670" cy="1045795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FB9F5726-9743-559C-44B7-28BCF753CDA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ethode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0A4E1061-0C55-7450-F7F3-0ECA40053FB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225054-8F4D-4B67-8803-E473E83FD8A6}" type="datetime1">
              <a:rPr lang="de-DE" noProof="0" smtClean="0"/>
              <a:t>15.11.22</a:t>
            </a:fld>
            <a:endParaRPr lang="de-DE" noProof="0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85026CBD-C28D-1239-FF11-CB093AC93CB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/>
              <a:t>© Universität zu Lübeck</a:t>
            </a:r>
            <a:endParaRPr lang="de-DE" noProof="0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B3D8F5EA-A8A7-1DEA-C1C9-FE439AFE483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 noProof="0"/>
              <a:t>Seite</a:t>
            </a:r>
            <a:r>
              <a:rPr lang="en-US"/>
              <a:t> </a:t>
            </a:r>
            <a:fld id="{401BA3E4-5E55-4F99-AF09-CC6D6B2539E2}" type="slidenum">
              <a:rPr lang="en-US" smtClean="0"/>
              <a:pPr/>
              <a:t>23</a:t>
            </a:fld>
            <a:endParaRPr lang="en-US" dirty="0"/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660676AF-70D0-59AF-4157-1564C600A56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9425" y="778321"/>
            <a:ext cx="11233150" cy="312008"/>
          </a:xfrm>
        </p:spPr>
        <p:txBody>
          <a:bodyPr/>
          <a:lstStyle/>
          <a:p>
            <a:r>
              <a:rPr lang="de-DE" dirty="0"/>
              <a:t>Arterien Segmentierung </a:t>
            </a:r>
            <a:r>
              <a:rPr lang="de-DE" sz="2000" dirty="0"/>
              <a:t>— Multi-Network Approach mit U-Net </a:t>
            </a:r>
            <a:endParaRPr lang="de-DE" dirty="0"/>
          </a:p>
        </p:txBody>
      </p:sp>
      <p:pic>
        <p:nvPicPr>
          <p:cNvPr id="10" name="Picture 5">
            <a:extLst>
              <a:ext uri="{FF2B5EF4-FFF2-40B4-BE49-F238E27FC236}">
                <a16:creationId xmlns:a16="http://schemas.microsoft.com/office/drawing/2014/main" id="{4D6F03BB-E8A2-9BD3-1A6F-B99C28DC7F6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900190" y="4004755"/>
            <a:ext cx="1980000" cy="148385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5B9BD5"/>
                </a:solidFill>
              </a14:hiddenFill>
            </a:ext>
            <a:ext uri="{91240B29-F687-4F45-9708-019B960494DF}">
              <a14:hiddenLine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000000"/>
                  </a:outerShdw>
                </a:effectLst>
              </a14:hiddenEffects>
            </a:ext>
          </a:extLst>
        </p:spPr>
      </p:pic>
      <p:sp>
        <p:nvSpPr>
          <p:cNvPr id="14" name="Rectangle 7">
            <a:extLst>
              <a:ext uri="{FF2B5EF4-FFF2-40B4-BE49-F238E27FC236}">
                <a16:creationId xmlns:a16="http://schemas.microsoft.com/office/drawing/2014/main" id="{80138924-BF6D-F002-B448-7F11FFE337E5}"/>
              </a:ext>
            </a:extLst>
          </p:cNvPr>
          <p:cNvSpPr>
            <a:spLocks noChangeArrowheads="1"/>
          </p:cNvSpPr>
          <p:nvPr/>
        </p:nvSpPr>
        <p:spPr bwMode="auto">
          <a:xfrm>
            <a:off x="4393465" y="1757110"/>
            <a:ext cx="1521560" cy="1521560"/>
          </a:xfrm>
          <a:prstGeom prst="rect">
            <a:avLst/>
          </a:prstGeom>
          <a:solidFill>
            <a:schemeClr val="bg1"/>
          </a:solidFill>
          <a:ln w="31750" algn="ctr">
            <a:solidFill>
              <a:srgbClr val="000000"/>
            </a:solidFill>
            <a:miter lim="800000"/>
            <a:headEnd/>
            <a:tailEnd/>
          </a:ln>
          <a:effectLst/>
        </p:spPr>
        <p:txBody>
          <a:bodyPr vert="horz" wrap="square" lIns="36576" tIns="36576" rIns="36576" bIns="36576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8" name="Pfeil: nach rechts 17">
            <a:extLst>
              <a:ext uri="{FF2B5EF4-FFF2-40B4-BE49-F238E27FC236}">
                <a16:creationId xmlns:a16="http://schemas.microsoft.com/office/drawing/2014/main" id="{525F6BEF-2699-BFD5-6117-035C15FC0D86}"/>
              </a:ext>
            </a:extLst>
          </p:cNvPr>
          <p:cNvSpPr/>
          <p:nvPr/>
        </p:nvSpPr>
        <p:spPr>
          <a:xfrm>
            <a:off x="2624675" y="2317865"/>
            <a:ext cx="1573066" cy="400050"/>
          </a:xfrm>
          <a:prstGeom prst="rightArrow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2" name="Grafik 21">
            <a:extLst>
              <a:ext uri="{FF2B5EF4-FFF2-40B4-BE49-F238E27FC236}">
                <a16:creationId xmlns:a16="http://schemas.microsoft.com/office/drawing/2014/main" id="{F199957E-59AB-9D01-6BE3-95D728D4F313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83442" y="2035289"/>
            <a:ext cx="1331670" cy="1045795"/>
          </a:xfrm>
          <a:prstGeom prst="rect">
            <a:avLst/>
          </a:prstGeom>
        </p:spPr>
      </p:pic>
      <p:sp>
        <p:nvSpPr>
          <p:cNvPr id="27" name="Pfeil: nach rechts 26">
            <a:extLst>
              <a:ext uri="{FF2B5EF4-FFF2-40B4-BE49-F238E27FC236}">
                <a16:creationId xmlns:a16="http://schemas.microsoft.com/office/drawing/2014/main" id="{0F5E090F-B7A8-D6A5-CE38-92C3C9417E73}"/>
              </a:ext>
            </a:extLst>
          </p:cNvPr>
          <p:cNvSpPr/>
          <p:nvPr/>
        </p:nvSpPr>
        <p:spPr>
          <a:xfrm>
            <a:off x="2624675" y="4600197"/>
            <a:ext cx="1573066" cy="400050"/>
          </a:xfrm>
          <a:prstGeom prst="rightArrow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" name="Textfeld 29">
            <a:extLst>
              <a:ext uri="{FF2B5EF4-FFF2-40B4-BE49-F238E27FC236}">
                <a16:creationId xmlns:a16="http://schemas.microsoft.com/office/drawing/2014/main" id="{5FEDFF8B-E780-0F21-60B8-36232D8E9B8C}"/>
              </a:ext>
            </a:extLst>
          </p:cNvPr>
          <p:cNvSpPr txBox="1"/>
          <p:nvPr/>
        </p:nvSpPr>
        <p:spPr bwMode="gray">
          <a:xfrm>
            <a:off x="365728" y="3208579"/>
            <a:ext cx="2160000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de-DE" sz="1800" dirty="0"/>
              <a:t>RGB Image (resized)</a:t>
            </a:r>
          </a:p>
        </p:txBody>
      </p:sp>
      <p:sp>
        <p:nvSpPr>
          <p:cNvPr id="34" name="Textfeld 33">
            <a:extLst>
              <a:ext uri="{FF2B5EF4-FFF2-40B4-BE49-F238E27FC236}">
                <a16:creationId xmlns:a16="http://schemas.microsoft.com/office/drawing/2014/main" id="{7C8578D4-3D37-9D9D-B7C9-022B542F7DDE}"/>
              </a:ext>
            </a:extLst>
          </p:cNvPr>
          <p:cNvSpPr txBox="1"/>
          <p:nvPr/>
        </p:nvSpPr>
        <p:spPr bwMode="gray">
          <a:xfrm>
            <a:off x="252031" y="5492878"/>
            <a:ext cx="2387393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de-DE" sz="1800" dirty="0"/>
              <a:t>RGB Image (cropped and resized)</a:t>
            </a:r>
          </a:p>
        </p:txBody>
      </p:sp>
      <p:pic>
        <p:nvPicPr>
          <p:cNvPr id="35" name="Picture 3">
            <a:extLst>
              <a:ext uri="{FF2B5EF4-FFF2-40B4-BE49-F238E27FC236}">
                <a16:creationId xmlns:a16="http://schemas.microsoft.com/office/drawing/2014/main" id="{A6552597-F45C-9F4D-CDA2-2B9614A2DD2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48951" y="1718631"/>
            <a:ext cx="1980000" cy="148994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5B9BD5"/>
                </a:solidFill>
              </a14:hiddenFill>
            </a:ext>
            <a:ext uri="{91240B29-F687-4F45-9708-019B960494DF}">
              <a14:hiddenLine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000000"/>
                  </a:outerShdw>
                </a:effectLst>
              </a14:hiddenEffects>
            </a:ext>
          </a:extLst>
        </p:spPr>
      </p:pic>
      <p:pic>
        <p:nvPicPr>
          <p:cNvPr id="36" name="Picture 4">
            <a:extLst>
              <a:ext uri="{FF2B5EF4-FFF2-40B4-BE49-F238E27FC236}">
                <a16:creationId xmlns:a16="http://schemas.microsoft.com/office/drawing/2014/main" id="{28117438-19A0-9E3B-FB8E-672B5A8E14D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878685" y="1718631"/>
            <a:ext cx="1980000" cy="148994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5B9BD5"/>
                </a:solidFill>
              </a14:hiddenFill>
            </a:ext>
            <a:ext uri="{91240B29-F687-4F45-9708-019B960494DF}">
              <a14:hiddenLine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000000"/>
                  </a:outerShdw>
                </a:effectLst>
              </a14:hiddenEffects>
            </a:ext>
          </a:extLst>
        </p:spPr>
      </p:pic>
      <p:pic>
        <p:nvPicPr>
          <p:cNvPr id="37" name="Picture 6">
            <a:extLst>
              <a:ext uri="{FF2B5EF4-FFF2-40B4-BE49-F238E27FC236}">
                <a16:creationId xmlns:a16="http://schemas.microsoft.com/office/drawing/2014/main" id="{C8AB010E-73E6-5F38-2C3B-E85F5AD622B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48951" y="4007605"/>
            <a:ext cx="1980000" cy="148385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5B9BD5"/>
                </a:solidFill>
              </a14:hiddenFill>
            </a:ext>
            <a:ext uri="{91240B29-F687-4F45-9708-019B960494DF}">
              <a14:hiddenLine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000000"/>
                  </a:outerShdw>
                </a:effectLst>
              </a14:hiddenEffects>
            </a:ext>
          </a:extLst>
        </p:spPr>
      </p:pic>
      <p:sp>
        <p:nvSpPr>
          <p:cNvPr id="38" name="Textfeld 37">
            <a:extLst>
              <a:ext uri="{FF2B5EF4-FFF2-40B4-BE49-F238E27FC236}">
                <a16:creationId xmlns:a16="http://schemas.microsoft.com/office/drawing/2014/main" id="{ED10C234-E3A4-4848-590C-73BF2E8564FF}"/>
              </a:ext>
            </a:extLst>
          </p:cNvPr>
          <p:cNvSpPr txBox="1"/>
          <p:nvPr/>
        </p:nvSpPr>
        <p:spPr bwMode="gray">
          <a:xfrm>
            <a:off x="7788685" y="3208579"/>
            <a:ext cx="2160000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de-DE" sz="1800" dirty="0"/>
              <a:t>Output Mask</a:t>
            </a:r>
          </a:p>
          <a:p>
            <a:pPr algn="ctr"/>
            <a:r>
              <a:rPr lang="de-DE" dirty="0"/>
              <a:t>for ROI</a:t>
            </a:r>
            <a:endParaRPr lang="de-DE" sz="1800" dirty="0"/>
          </a:p>
        </p:txBody>
      </p:sp>
      <p:sp>
        <p:nvSpPr>
          <p:cNvPr id="39" name="Textfeld 38">
            <a:extLst>
              <a:ext uri="{FF2B5EF4-FFF2-40B4-BE49-F238E27FC236}">
                <a16:creationId xmlns:a16="http://schemas.microsoft.com/office/drawing/2014/main" id="{A4F8C576-C09C-84D0-A5D2-70F1A8467258}"/>
              </a:ext>
            </a:extLst>
          </p:cNvPr>
          <p:cNvSpPr txBox="1"/>
          <p:nvPr/>
        </p:nvSpPr>
        <p:spPr bwMode="gray">
          <a:xfrm>
            <a:off x="7810190" y="5496157"/>
            <a:ext cx="2160000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de-DE" sz="1800" dirty="0"/>
              <a:t>Final Output</a:t>
            </a:r>
          </a:p>
          <a:p>
            <a:pPr algn="ctr"/>
            <a:r>
              <a:rPr lang="de-DE" dirty="0"/>
              <a:t>Mask</a:t>
            </a:r>
            <a:endParaRPr lang="de-DE" sz="1800" dirty="0"/>
          </a:p>
        </p:txBody>
      </p:sp>
      <p:sp>
        <p:nvSpPr>
          <p:cNvPr id="40" name="Textfeld 39">
            <a:extLst>
              <a:ext uri="{FF2B5EF4-FFF2-40B4-BE49-F238E27FC236}">
                <a16:creationId xmlns:a16="http://schemas.microsoft.com/office/drawing/2014/main" id="{BFB4A7F8-F61E-6C3C-E6C6-5F418B511DAF}"/>
              </a:ext>
            </a:extLst>
          </p:cNvPr>
          <p:cNvSpPr txBox="1"/>
          <p:nvPr/>
        </p:nvSpPr>
        <p:spPr bwMode="gray">
          <a:xfrm>
            <a:off x="4069277" y="3307417"/>
            <a:ext cx="216000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de-DE" sz="1800" dirty="0"/>
              <a:t>Netzwerk 1</a:t>
            </a:r>
          </a:p>
        </p:txBody>
      </p:sp>
      <p:sp>
        <p:nvSpPr>
          <p:cNvPr id="41" name="Textfeld 40">
            <a:extLst>
              <a:ext uri="{FF2B5EF4-FFF2-40B4-BE49-F238E27FC236}">
                <a16:creationId xmlns:a16="http://schemas.microsoft.com/office/drawing/2014/main" id="{6EDF7965-A3D0-D9E5-E995-619907C3743D}"/>
              </a:ext>
            </a:extLst>
          </p:cNvPr>
          <p:cNvSpPr txBox="1"/>
          <p:nvPr/>
        </p:nvSpPr>
        <p:spPr bwMode="gray">
          <a:xfrm>
            <a:off x="4069277" y="5594201"/>
            <a:ext cx="216000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de-DE" sz="1800" dirty="0"/>
              <a:t>Netzwerk 2</a:t>
            </a:r>
          </a:p>
        </p:txBody>
      </p:sp>
      <p:sp>
        <p:nvSpPr>
          <p:cNvPr id="42" name="Pfeil: nach rechts 41">
            <a:extLst>
              <a:ext uri="{FF2B5EF4-FFF2-40B4-BE49-F238E27FC236}">
                <a16:creationId xmlns:a16="http://schemas.microsoft.com/office/drawing/2014/main" id="{33BCDC71-7BEC-5BA8-9DDE-75D8F8589BBD}"/>
              </a:ext>
            </a:extLst>
          </p:cNvPr>
          <p:cNvSpPr/>
          <p:nvPr/>
        </p:nvSpPr>
        <p:spPr>
          <a:xfrm>
            <a:off x="6110749" y="2317865"/>
            <a:ext cx="1573066" cy="400050"/>
          </a:xfrm>
          <a:prstGeom prst="rightArrow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3" name="Pfeil: nach rechts 42">
            <a:extLst>
              <a:ext uri="{FF2B5EF4-FFF2-40B4-BE49-F238E27FC236}">
                <a16:creationId xmlns:a16="http://schemas.microsoft.com/office/drawing/2014/main" id="{1978F0A9-7E6D-4C88-31F2-D346882CD162}"/>
              </a:ext>
            </a:extLst>
          </p:cNvPr>
          <p:cNvSpPr/>
          <p:nvPr/>
        </p:nvSpPr>
        <p:spPr>
          <a:xfrm>
            <a:off x="6110749" y="4600197"/>
            <a:ext cx="1573066" cy="400050"/>
          </a:xfrm>
          <a:prstGeom prst="rightArrow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0" name="Grafik 49">
            <a:extLst>
              <a:ext uri="{FF2B5EF4-FFF2-40B4-BE49-F238E27FC236}">
                <a16:creationId xmlns:a16="http://schemas.microsoft.com/office/drawing/2014/main" id="{B4290F73-436F-E3CB-D542-FD93F1A8B14D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21502" y="205152"/>
            <a:ext cx="3744886" cy="1130532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51418419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6" grpId="0" animBg="1"/>
      <p:bldP spid="14" grpId="0" animBg="1"/>
      <p:bldP spid="18" grpId="0" animBg="1"/>
      <p:bldP spid="27" grpId="0" animBg="1"/>
      <p:bldP spid="30" grpId="0"/>
      <p:bldP spid="34" grpId="0"/>
      <p:bldP spid="38" grpId="0"/>
      <p:bldP spid="39" grpId="0"/>
      <p:bldP spid="40" grpId="0"/>
      <p:bldP spid="41" grpId="0"/>
      <p:bldP spid="42" grpId="0" animBg="1"/>
      <p:bldP spid="43" grpId="0" animBg="1"/>
    </p:bld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0A94587-A4FE-59A3-1550-F4FBB26811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395588"/>
            <a:ext cx="11233150" cy="374398"/>
          </a:xfrm>
        </p:spPr>
        <p:txBody>
          <a:bodyPr/>
          <a:lstStyle/>
          <a:p>
            <a:r>
              <a:rPr lang="de-DE" dirty="0"/>
              <a:t>Methode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11D6D6B9-3569-DFBA-D660-7D5B7E9C6D2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5A82B2D-840F-4167-AD44-C02BC9C87CCB}" type="datetime1">
              <a:rPr lang="de-DE" noProof="0" smtClean="0"/>
              <a:t>15.11.22</a:t>
            </a:fld>
            <a:endParaRPr lang="de-DE" noProof="0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DFFDDD79-6552-9BFE-61AA-BC3C10BB951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/>
              <a:t>© Universität zu Lübeck</a:t>
            </a:r>
            <a:endParaRPr lang="de-DE" noProof="0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058E38EA-62A6-0A63-22E3-7918048159D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 noProof="0"/>
              <a:t>Seite</a:t>
            </a:r>
            <a:r>
              <a:rPr lang="en-US"/>
              <a:t> </a:t>
            </a:r>
            <a:fld id="{401BA3E4-5E55-4F99-AF09-CC6D6B2539E2}" type="slidenum">
              <a:rPr lang="en-US" smtClean="0"/>
              <a:pPr/>
              <a:t>24</a:t>
            </a:fld>
            <a:endParaRPr lang="en-US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DC831135-D01D-B6CF-50D0-5D232426ABA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9425" y="778321"/>
            <a:ext cx="11233150" cy="312008"/>
          </a:xfrm>
        </p:spPr>
        <p:txBody>
          <a:bodyPr/>
          <a:lstStyle/>
          <a:p>
            <a:r>
              <a:rPr lang="de-DE" dirty="0"/>
              <a:t>Objekterkennung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87F31C5B-80DA-E358-DA1A-F9F49123216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8199" y="1703388"/>
            <a:ext cx="11233150" cy="929357"/>
          </a:xfrm>
        </p:spPr>
        <p:txBody>
          <a:bodyPr/>
          <a:lstStyle/>
          <a:p>
            <a:pPr lvl="2"/>
            <a:r>
              <a:rPr lang="de-DE" dirty="0"/>
              <a:t>Bestimmung der ROI</a:t>
            </a:r>
          </a:p>
          <a:p>
            <a:pPr lvl="3"/>
            <a:r>
              <a:rPr lang="de-DE" dirty="0" err="1"/>
              <a:t>You</a:t>
            </a:r>
            <a:r>
              <a:rPr lang="de-DE" dirty="0"/>
              <a:t> </a:t>
            </a:r>
            <a:r>
              <a:rPr lang="de-DE" dirty="0" err="1"/>
              <a:t>Only</a:t>
            </a:r>
            <a:r>
              <a:rPr lang="de-DE" dirty="0"/>
              <a:t> Look </a:t>
            </a:r>
            <a:r>
              <a:rPr lang="de-DE" dirty="0" err="1"/>
              <a:t>Once</a:t>
            </a:r>
            <a:r>
              <a:rPr lang="de-DE" dirty="0"/>
              <a:t> (YOLO) als </a:t>
            </a:r>
            <a:r>
              <a:rPr lang="de-DE" dirty="0" err="1"/>
              <a:t>Object</a:t>
            </a:r>
            <a:r>
              <a:rPr lang="de-DE" dirty="0"/>
              <a:t> </a:t>
            </a:r>
            <a:r>
              <a:rPr lang="de-DE" dirty="0" err="1"/>
              <a:t>Detector</a:t>
            </a:r>
            <a:endParaRPr lang="de-DE" dirty="0"/>
          </a:p>
          <a:p>
            <a:pPr lvl="3"/>
            <a:r>
              <a:rPr lang="de-DE" dirty="0"/>
              <a:t>Eine der neusten Versionen: YOLOv5 </a:t>
            </a:r>
          </a:p>
          <a:p>
            <a:pPr lvl="4"/>
            <a:r>
              <a:rPr lang="de-DE" dirty="0"/>
              <a:t>Verschiedene vorgefertigte Modellarchitekturen</a:t>
            </a:r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E81E7958-F41D-B033-85E6-30E3AD08812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6521469" y="1497170"/>
            <a:ext cx="4960542" cy="3159483"/>
          </a:xfrm>
          <a:prstGeom prst="rect">
            <a:avLst/>
          </a:prstGeom>
        </p:spPr>
      </p:pic>
      <p:pic>
        <p:nvPicPr>
          <p:cNvPr id="11" name="Grafik 10">
            <a:extLst>
              <a:ext uri="{FF2B5EF4-FFF2-40B4-BE49-F238E27FC236}">
                <a16:creationId xmlns:a16="http://schemas.microsoft.com/office/drawing/2014/main" id="{C7C92A77-EA63-8263-DBA2-D69588E22FAE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8199" y="3291169"/>
            <a:ext cx="5813932" cy="2025006"/>
          </a:xfrm>
          <a:prstGeom prst="rect">
            <a:avLst/>
          </a:prstGeom>
        </p:spPr>
      </p:pic>
      <p:pic>
        <p:nvPicPr>
          <p:cNvPr id="8" name="Grafik 7">
            <a:extLst>
              <a:ext uri="{FF2B5EF4-FFF2-40B4-BE49-F238E27FC236}">
                <a16:creationId xmlns:a16="http://schemas.microsoft.com/office/drawing/2014/main" id="{2303260B-8E43-B07C-0D3F-BDB790DB5D53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21502" y="191192"/>
            <a:ext cx="3744886" cy="1130532"/>
          </a:xfrm>
          <a:prstGeom prst="rect">
            <a:avLst/>
          </a:prstGeom>
          <a:noFill/>
        </p:spPr>
      </p:pic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5C656E72-C94D-2790-8464-29F84C7FEFB8}"/>
              </a:ext>
            </a:extLst>
          </p:cNvPr>
          <p:cNvSpPr txBox="1">
            <a:spLocks/>
          </p:cNvSpPr>
          <p:nvPr/>
        </p:nvSpPr>
        <p:spPr bwMode="gray">
          <a:xfrm>
            <a:off x="4116749" y="6149879"/>
            <a:ext cx="7594600" cy="7302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1600" b="1" i="0" kern="1200">
                <a:solidFill>
                  <a:schemeClr val="accent1"/>
                </a:solidFill>
                <a:latin typeface="Myriad Pro" panose="020B0503030403020204" pitchFamily="34" charset="0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1400" b="0" i="0" kern="120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1" i="0" kern="120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+mn-cs"/>
              </a:defRPr>
            </a:lvl3pPr>
            <a:lvl4pPr marL="18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b="0" i="0" kern="120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+mn-cs"/>
              </a:defRPr>
            </a:lvl4pPr>
            <a:lvl5pPr marL="36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b="0" i="0" kern="120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b="0" i="0" kern="120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+mn-cs"/>
              </a:defRPr>
            </a:lvl6pPr>
            <a:lvl7pPr marL="216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buFont typeface="+mj-lt"/>
              <a:buAutoNum type="arabicPeriod"/>
              <a:defRPr sz="1400" b="0" i="0" kern="120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lphaLcParenR"/>
              <a:defRPr sz="1400" b="0" i="0" kern="120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+mn-cs"/>
              </a:defRPr>
            </a:lvl8pPr>
            <a:lvl9pPr marL="648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romanLcPeriod"/>
              <a:defRPr sz="1400" b="0" i="0" kern="120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+mn-cs"/>
              </a:defRPr>
            </a:lvl9pPr>
          </a:lstStyle>
          <a:p>
            <a:pPr lvl="1"/>
            <a:r>
              <a:rPr lang="en-US" sz="1100" dirty="0"/>
              <a:t>J. Redmon, S. K. </a:t>
            </a:r>
            <a:r>
              <a:rPr lang="en-US" sz="1100" dirty="0" err="1"/>
              <a:t>Divvala</a:t>
            </a:r>
            <a:r>
              <a:rPr lang="en-US" sz="1100" dirty="0"/>
              <a:t>, R. B. </a:t>
            </a:r>
            <a:r>
              <a:rPr lang="en-US" sz="1100" dirty="0" err="1"/>
              <a:t>Girshick</a:t>
            </a:r>
            <a:r>
              <a:rPr lang="en-US" sz="1100" dirty="0"/>
              <a:t>, and A. Farhadi. You Only Look Once: Unified, Real-Time Object Detection. 2016 IEEE Conference on Computer Vision and Pattern Recognition (CVPR), :779–788, 2016.</a:t>
            </a:r>
            <a:br>
              <a:rPr lang="en-US" sz="1100" dirty="0"/>
            </a:br>
            <a:r>
              <a:rPr lang="en-US" sz="1100" dirty="0"/>
              <a:t>G. </a:t>
            </a:r>
            <a:r>
              <a:rPr lang="en-US" sz="1100" dirty="0" err="1"/>
              <a:t>Jocher</a:t>
            </a:r>
            <a:r>
              <a:rPr lang="en-US" sz="1100" dirty="0"/>
              <a:t> et al. </a:t>
            </a:r>
            <a:r>
              <a:rPr lang="de-DE" sz="1100" dirty="0" err="1"/>
              <a:t>Ultralytics</a:t>
            </a:r>
            <a:r>
              <a:rPr lang="de-DE" sz="1100" dirty="0"/>
              <a:t>/Yolov5: v6.2 - YOLOv5 Classification Models, Apple M1, </a:t>
            </a:r>
            <a:r>
              <a:rPr lang="de-DE" sz="1100" dirty="0" err="1"/>
              <a:t>Reproducibility</a:t>
            </a:r>
            <a:r>
              <a:rPr lang="de-DE" sz="1100" dirty="0"/>
              <a:t>, </a:t>
            </a:r>
            <a:r>
              <a:rPr lang="de-DE" sz="1100" dirty="0" err="1"/>
              <a:t>ClearML</a:t>
            </a:r>
            <a:r>
              <a:rPr lang="de-DE" sz="1100" dirty="0"/>
              <a:t> and Deci.ai </a:t>
            </a:r>
            <a:r>
              <a:rPr lang="de-DE" sz="1100" dirty="0" err="1"/>
              <a:t>Integrations</a:t>
            </a:r>
            <a:r>
              <a:rPr lang="de-DE" sz="1100" dirty="0"/>
              <a:t>. https://github. </a:t>
            </a:r>
            <a:r>
              <a:rPr lang="de-DE" sz="1100" dirty="0" err="1"/>
              <a:t>com</a:t>
            </a:r>
            <a:r>
              <a:rPr lang="de-DE" sz="1100" dirty="0"/>
              <a:t>/</a:t>
            </a:r>
            <a:r>
              <a:rPr lang="de-DE" sz="1100" dirty="0" err="1"/>
              <a:t>ultralytics</a:t>
            </a:r>
            <a:r>
              <a:rPr lang="de-DE" sz="1100" dirty="0"/>
              <a:t>/yolov5, 2022. [Online; </a:t>
            </a:r>
            <a:r>
              <a:rPr lang="de-DE" sz="1100" dirty="0" err="1"/>
              <a:t>Accessed</a:t>
            </a:r>
            <a:r>
              <a:rPr lang="de-DE" sz="1100" dirty="0"/>
              <a:t> on 07.11.2022].</a:t>
            </a:r>
            <a:endParaRPr lang="de-DE" sz="1000" dirty="0"/>
          </a:p>
        </p:txBody>
      </p:sp>
    </p:spTree>
    <p:extLst>
      <p:ext uri="{BB962C8B-B14F-4D97-AF65-F5344CB8AC3E}">
        <p14:creationId xmlns:p14="http://schemas.microsoft.com/office/powerpoint/2010/main" val="117334241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B9F5726-9743-559C-44B7-28BCF753CDA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ethoden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660676AF-70D0-59AF-4157-1564C600A56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9425" y="778321"/>
            <a:ext cx="11233150" cy="312008"/>
          </a:xfrm>
        </p:spPr>
        <p:txBody>
          <a:bodyPr/>
          <a:lstStyle/>
          <a:p>
            <a:r>
              <a:rPr lang="de-DE" dirty="0"/>
              <a:t>Arterien Segmentierung </a:t>
            </a:r>
            <a:r>
              <a:rPr lang="de-DE" sz="2000" dirty="0"/>
              <a:t>— Multi-Network Approach mit YOLOv5</a:t>
            </a:r>
            <a:endParaRPr lang="de-DE" dirty="0"/>
          </a:p>
        </p:txBody>
      </p:sp>
      <p:pic>
        <p:nvPicPr>
          <p:cNvPr id="8" name="Picture 5">
            <a:extLst>
              <a:ext uri="{FF2B5EF4-FFF2-40B4-BE49-F238E27FC236}">
                <a16:creationId xmlns:a16="http://schemas.microsoft.com/office/drawing/2014/main" id="{F03BF76A-6523-45FE-A347-17448A61361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900190" y="4004755"/>
            <a:ext cx="1980000" cy="148385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5B9BD5"/>
                </a:solidFill>
              </a14:hiddenFill>
            </a:ext>
            <a:ext uri="{91240B29-F687-4F45-9708-019B960494DF}">
              <a14:hiddenLine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000000"/>
                  </a:outerShdw>
                </a:effectLst>
              </a14:hiddenEffects>
            </a:ext>
          </a:extLst>
        </p:spPr>
      </p:pic>
      <p:sp>
        <p:nvSpPr>
          <p:cNvPr id="9" name="Rectangle 7">
            <a:extLst>
              <a:ext uri="{FF2B5EF4-FFF2-40B4-BE49-F238E27FC236}">
                <a16:creationId xmlns:a16="http://schemas.microsoft.com/office/drawing/2014/main" id="{3441EC2A-C45D-3895-B2D0-896F6964AF74}"/>
              </a:ext>
            </a:extLst>
          </p:cNvPr>
          <p:cNvSpPr>
            <a:spLocks noChangeArrowheads="1"/>
          </p:cNvSpPr>
          <p:nvPr/>
        </p:nvSpPr>
        <p:spPr bwMode="auto">
          <a:xfrm>
            <a:off x="4393465" y="1757110"/>
            <a:ext cx="1521560" cy="1521560"/>
          </a:xfrm>
          <a:prstGeom prst="rect">
            <a:avLst/>
          </a:prstGeom>
          <a:solidFill>
            <a:schemeClr val="bg1"/>
          </a:solidFill>
          <a:ln w="31750" algn="ctr">
            <a:solidFill>
              <a:srgbClr val="000000"/>
            </a:solidFill>
            <a:miter lim="800000"/>
            <a:headEnd/>
            <a:tailEnd/>
          </a:ln>
          <a:effectLst/>
        </p:spPr>
        <p:txBody>
          <a:bodyPr vert="horz" wrap="square" lIns="36576" tIns="36576" rIns="36576" bIns="36576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" name="Pfeil: nach rechts 10">
            <a:extLst>
              <a:ext uri="{FF2B5EF4-FFF2-40B4-BE49-F238E27FC236}">
                <a16:creationId xmlns:a16="http://schemas.microsoft.com/office/drawing/2014/main" id="{9A3007A4-3D72-87D8-CCDC-BC20B1CE4AE5}"/>
              </a:ext>
            </a:extLst>
          </p:cNvPr>
          <p:cNvSpPr/>
          <p:nvPr/>
        </p:nvSpPr>
        <p:spPr>
          <a:xfrm>
            <a:off x="2624675" y="2317865"/>
            <a:ext cx="1573066" cy="400050"/>
          </a:xfrm>
          <a:prstGeom prst="rightArrow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5" name="Grafik 14">
            <a:extLst>
              <a:ext uri="{FF2B5EF4-FFF2-40B4-BE49-F238E27FC236}">
                <a16:creationId xmlns:a16="http://schemas.microsoft.com/office/drawing/2014/main" id="{73302484-6CF8-53E5-8522-5469A393537E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83442" y="4151334"/>
            <a:ext cx="1331670" cy="1045795"/>
          </a:xfrm>
          <a:prstGeom prst="rect">
            <a:avLst/>
          </a:prstGeom>
        </p:spPr>
      </p:pic>
      <p:sp>
        <p:nvSpPr>
          <p:cNvPr id="16" name="Rectangle 7">
            <a:extLst>
              <a:ext uri="{FF2B5EF4-FFF2-40B4-BE49-F238E27FC236}">
                <a16:creationId xmlns:a16="http://schemas.microsoft.com/office/drawing/2014/main" id="{27A78112-3EB5-212A-8B75-1476B05E8F6E}"/>
              </a:ext>
            </a:extLst>
          </p:cNvPr>
          <p:cNvSpPr>
            <a:spLocks noChangeArrowheads="1"/>
          </p:cNvSpPr>
          <p:nvPr/>
        </p:nvSpPr>
        <p:spPr bwMode="auto">
          <a:xfrm>
            <a:off x="4393465" y="4039442"/>
            <a:ext cx="1521560" cy="1521560"/>
          </a:xfrm>
          <a:prstGeom prst="rect">
            <a:avLst/>
          </a:prstGeom>
          <a:solidFill>
            <a:schemeClr val="bg1"/>
          </a:solidFill>
          <a:ln w="31750" algn="ctr">
            <a:solidFill>
              <a:srgbClr val="000000"/>
            </a:solidFill>
            <a:miter lim="800000"/>
            <a:headEnd/>
            <a:tailEnd/>
          </a:ln>
          <a:effectLst/>
        </p:spPr>
        <p:txBody>
          <a:bodyPr vert="horz" wrap="square" lIns="36576" tIns="36576" rIns="36576" bIns="36576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7" name="Pfeil: nach rechts 16">
            <a:extLst>
              <a:ext uri="{FF2B5EF4-FFF2-40B4-BE49-F238E27FC236}">
                <a16:creationId xmlns:a16="http://schemas.microsoft.com/office/drawing/2014/main" id="{2BA09CD7-8D00-EE28-BC85-ED4B63A58026}"/>
              </a:ext>
            </a:extLst>
          </p:cNvPr>
          <p:cNvSpPr/>
          <p:nvPr/>
        </p:nvSpPr>
        <p:spPr>
          <a:xfrm>
            <a:off x="2624675" y="4600197"/>
            <a:ext cx="1573066" cy="400050"/>
          </a:xfrm>
          <a:prstGeom prst="rightArrow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0" name="Grafik 19">
            <a:extLst>
              <a:ext uri="{FF2B5EF4-FFF2-40B4-BE49-F238E27FC236}">
                <a16:creationId xmlns:a16="http://schemas.microsoft.com/office/drawing/2014/main" id="{F524609D-BCFC-BD23-871D-2B1DDB90D2D9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83442" y="4317621"/>
            <a:ext cx="1331670" cy="1045795"/>
          </a:xfrm>
          <a:prstGeom prst="rect">
            <a:avLst/>
          </a:prstGeom>
        </p:spPr>
      </p:pic>
      <p:sp>
        <p:nvSpPr>
          <p:cNvPr id="21" name="Textfeld 20">
            <a:extLst>
              <a:ext uri="{FF2B5EF4-FFF2-40B4-BE49-F238E27FC236}">
                <a16:creationId xmlns:a16="http://schemas.microsoft.com/office/drawing/2014/main" id="{F088F1C3-E1CE-5592-88BC-3144262DF6CC}"/>
              </a:ext>
            </a:extLst>
          </p:cNvPr>
          <p:cNvSpPr txBox="1"/>
          <p:nvPr/>
        </p:nvSpPr>
        <p:spPr bwMode="gray">
          <a:xfrm>
            <a:off x="365728" y="3208579"/>
            <a:ext cx="2160000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de-DE" sz="1800" dirty="0"/>
              <a:t>RGB Image (resized)</a:t>
            </a:r>
          </a:p>
        </p:txBody>
      </p:sp>
      <p:sp>
        <p:nvSpPr>
          <p:cNvPr id="23" name="Textfeld 22">
            <a:extLst>
              <a:ext uri="{FF2B5EF4-FFF2-40B4-BE49-F238E27FC236}">
                <a16:creationId xmlns:a16="http://schemas.microsoft.com/office/drawing/2014/main" id="{062515DE-47A7-275D-A8CF-8DB0F437C8C0}"/>
              </a:ext>
            </a:extLst>
          </p:cNvPr>
          <p:cNvSpPr txBox="1"/>
          <p:nvPr/>
        </p:nvSpPr>
        <p:spPr bwMode="gray">
          <a:xfrm>
            <a:off x="252031" y="5492878"/>
            <a:ext cx="2387393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de-DE" sz="1800" dirty="0"/>
              <a:t>RGB Image (cropped and resized)</a:t>
            </a:r>
          </a:p>
        </p:txBody>
      </p:sp>
      <p:pic>
        <p:nvPicPr>
          <p:cNvPr id="25" name="Picture 3">
            <a:extLst>
              <a:ext uri="{FF2B5EF4-FFF2-40B4-BE49-F238E27FC236}">
                <a16:creationId xmlns:a16="http://schemas.microsoft.com/office/drawing/2014/main" id="{6B9C8EFA-A4F9-02C3-428C-E86ACEE7178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48951" y="1718631"/>
            <a:ext cx="1980000" cy="148994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5B9BD5"/>
                </a:solidFill>
              </a14:hiddenFill>
            </a:ext>
            <a:ext uri="{91240B29-F687-4F45-9708-019B960494DF}">
              <a14:hiddenLine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000000"/>
                  </a:outerShdw>
                </a:effectLst>
              </a14:hiddenEffects>
            </a:ext>
          </a:extLst>
        </p:spPr>
      </p:pic>
      <p:pic>
        <p:nvPicPr>
          <p:cNvPr id="31" name="Picture 4">
            <a:extLst>
              <a:ext uri="{FF2B5EF4-FFF2-40B4-BE49-F238E27FC236}">
                <a16:creationId xmlns:a16="http://schemas.microsoft.com/office/drawing/2014/main" id="{8AD0BB32-0430-8CD7-A03F-C81C822620E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878685" y="1718631"/>
            <a:ext cx="1980000" cy="148994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5B9BD5"/>
                </a:solidFill>
              </a14:hiddenFill>
            </a:ext>
            <a:ext uri="{91240B29-F687-4F45-9708-019B960494DF}">
              <a14:hiddenLine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000000"/>
                  </a:outerShdw>
                </a:effectLst>
              </a14:hiddenEffects>
            </a:ext>
          </a:extLst>
        </p:spPr>
      </p:pic>
      <p:pic>
        <p:nvPicPr>
          <p:cNvPr id="32" name="Picture 6">
            <a:extLst>
              <a:ext uri="{FF2B5EF4-FFF2-40B4-BE49-F238E27FC236}">
                <a16:creationId xmlns:a16="http://schemas.microsoft.com/office/drawing/2014/main" id="{3D7389A5-6E2E-D0E2-8D77-3447DEBD017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48951" y="4007605"/>
            <a:ext cx="1980000" cy="148385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5B9BD5"/>
                </a:solidFill>
              </a14:hiddenFill>
            </a:ext>
            <a:ext uri="{91240B29-F687-4F45-9708-019B960494DF}">
              <a14:hiddenLine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000000"/>
                  </a:outerShdw>
                </a:effectLst>
              </a14:hiddenEffects>
            </a:ext>
          </a:extLst>
        </p:spPr>
      </p:pic>
      <p:sp>
        <p:nvSpPr>
          <p:cNvPr id="33" name="Textfeld 32">
            <a:extLst>
              <a:ext uri="{FF2B5EF4-FFF2-40B4-BE49-F238E27FC236}">
                <a16:creationId xmlns:a16="http://schemas.microsoft.com/office/drawing/2014/main" id="{6DB6228E-224E-66B6-ACEC-2CF994AEE8D3}"/>
              </a:ext>
            </a:extLst>
          </p:cNvPr>
          <p:cNvSpPr txBox="1"/>
          <p:nvPr/>
        </p:nvSpPr>
        <p:spPr bwMode="gray">
          <a:xfrm>
            <a:off x="7788685" y="3208579"/>
            <a:ext cx="2160000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de-DE" sz="1800" dirty="0" err="1"/>
              <a:t>Bounding</a:t>
            </a:r>
            <a:r>
              <a:rPr lang="de-DE" sz="1800" dirty="0"/>
              <a:t> Box</a:t>
            </a:r>
          </a:p>
          <a:p>
            <a:pPr algn="ctr"/>
            <a:r>
              <a:rPr lang="de-DE" dirty="0"/>
              <a:t>for ROI</a:t>
            </a:r>
            <a:endParaRPr lang="de-DE" sz="1800" dirty="0"/>
          </a:p>
        </p:txBody>
      </p:sp>
      <p:sp>
        <p:nvSpPr>
          <p:cNvPr id="42" name="Textfeld 41">
            <a:extLst>
              <a:ext uri="{FF2B5EF4-FFF2-40B4-BE49-F238E27FC236}">
                <a16:creationId xmlns:a16="http://schemas.microsoft.com/office/drawing/2014/main" id="{5B89206D-124A-8C85-BE62-EDFE854744B9}"/>
              </a:ext>
            </a:extLst>
          </p:cNvPr>
          <p:cNvSpPr txBox="1"/>
          <p:nvPr/>
        </p:nvSpPr>
        <p:spPr bwMode="gray">
          <a:xfrm>
            <a:off x="7810190" y="5496157"/>
            <a:ext cx="2160000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de-DE" sz="1800" dirty="0"/>
              <a:t>Final Output</a:t>
            </a:r>
          </a:p>
          <a:p>
            <a:pPr algn="ctr"/>
            <a:r>
              <a:rPr lang="de-DE" dirty="0"/>
              <a:t>Mask</a:t>
            </a:r>
            <a:endParaRPr lang="de-DE" sz="1800" dirty="0"/>
          </a:p>
        </p:txBody>
      </p:sp>
      <p:sp>
        <p:nvSpPr>
          <p:cNvPr id="43" name="Textfeld 42">
            <a:extLst>
              <a:ext uri="{FF2B5EF4-FFF2-40B4-BE49-F238E27FC236}">
                <a16:creationId xmlns:a16="http://schemas.microsoft.com/office/drawing/2014/main" id="{E8C47132-0281-A43A-5CF2-B81A618D9926}"/>
              </a:ext>
            </a:extLst>
          </p:cNvPr>
          <p:cNvSpPr txBox="1"/>
          <p:nvPr/>
        </p:nvSpPr>
        <p:spPr bwMode="gray">
          <a:xfrm>
            <a:off x="4069277" y="3307417"/>
            <a:ext cx="216000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de-DE" sz="1800" dirty="0"/>
              <a:t>Netzwerk 1</a:t>
            </a:r>
          </a:p>
        </p:txBody>
      </p:sp>
      <p:sp>
        <p:nvSpPr>
          <p:cNvPr id="44" name="Textfeld 43">
            <a:extLst>
              <a:ext uri="{FF2B5EF4-FFF2-40B4-BE49-F238E27FC236}">
                <a16:creationId xmlns:a16="http://schemas.microsoft.com/office/drawing/2014/main" id="{400A2AEB-BD9C-0B94-A1C0-525AE3388B14}"/>
              </a:ext>
            </a:extLst>
          </p:cNvPr>
          <p:cNvSpPr txBox="1"/>
          <p:nvPr/>
        </p:nvSpPr>
        <p:spPr bwMode="gray">
          <a:xfrm>
            <a:off x="4069277" y="5594201"/>
            <a:ext cx="216000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de-DE" sz="1800" dirty="0"/>
              <a:t>Netzwerk 2</a:t>
            </a:r>
          </a:p>
        </p:txBody>
      </p:sp>
      <p:sp>
        <p:nvSpPr>
          <p:cNvPr id="45" name="Pfeil: nach rechts 44">
            <a:extLst>
              <a:ext uri="{FF2B5EF4-FFF2-40B4-BE49-F238E27FC236}">
                <a16:creationId xmlns:a16="http://schemas.microsoft.com/office/drawing/2014/main" id="{FE8ACE41-5DB9-9BA3-3685-AE92AF3464EC}"/>
              </a:ext>
            </a:extLst>
          </p:cNvPr>
          <p:cNvSpPr/>
          <p:nvPr/>
        </p:nvSpPr>
        <p:spPr>
          <a:xfrm>
            <a:off x="6110749" y="2317865"/>
            <a:ext cx="1573066" cy="400050"/>
          </a:xfrm>
          <a:prstGeom prst="rightArrow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6" name="Pfeil: nach rechts 45">
            <a:extLst>
              <a:ext uri="{FF2B5EF4-FFF2-40B4-BE49-F238E27FC236}">
                <a16:creationId xmlns:a16="http://schemas.microsoft.com/office/drawing/2014/main" id="{12F86008-BF85-B6A5-22AC-0D17DC87D46E}"/>
              </a:ext>
            </a:extLst>
          </p:cNvPr>
          <p:cNvSpPr/>
          <p:nvPr/>
        </p:nvSpPr>
        <p:spPr>
          <a:xfrm>
            <a:off x="6110749" y="4600197"/>
            <a:ext cx="1573066" cy="400050"/>
          </a:xfrm>
          <a:prstGeom prst="rightArrow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47" name="Picture 4">
            <a:extLst>
              <a:ext uri="{FF2B5EF4-FFF2-40B4-BE49-F238E27FC236}">
                <a16:creationId xmlns:a16="http://schemas.microsoft.com/office/drawing/2014/main" id="{363FD776-67D9-E34F-88C1-27E6C1E4A12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878685" y="1724166"/>
            <a:ext cx="1980000" cy="148994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5B9BD5"/>
                </a:solidFill>
              </a14:hiddenFill>
            </a:ext>
            <a:ext uri="{91240B29-F687-4F45-9708-019B960494DF}">
              <a14:hiddenLine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000000"/>
                  </a:outerShdw>
                </a:effectLst>
              </a14:hiddenEffects>
            </a:ext>
          </a:extLst>
        </p:spPr>
      </p:pic>
      <p:pic>
        <p:nvPicPr>
          <p:cNvPr id="48" name="Picture 3">
            <a:extLst>
              <a:ext uri="{FF2B5EF4-FFF2-40B4-BE49-F238E27FC236}">
                <a16:creationId xmlns:a16="http://schemas.microsoft.com/office/drawing/2014/main" id="{C362A996-6439-56F6-DB9B-AEA988119AA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883371" y="1724166"/>
            <a:ext cx="1975314" cy="14864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5B9BD5"/>
                </a:solidFill>
              </a14:hiddenFill>
            </a:ext>
            <a:ext uri="{91240B29-F687-4F45-9708-019B960494DF}">
              <a14:hiddenLine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000000"/>
                  </a:outerShdw>
                </a:effectLst>
              </a14:hiddenEffects>
            </a:ext>
          </a:extLst>
        </p:spPr>
      </p:pic>
      <p:sp>
        <p:nvSpPr>
          <p:cNvPr id="49" name="Rechteck 48">
            <a:extLst>
              <a:ext uri="{FF2B5EF4-FFF2-40B4-BE49-F238E27FC236}">
                <a16:creationId xmlns:a16="http://schemas.microsoft.com/office/drawing/2014/main" id="{0AB76787-CCEC-EF49-DFA0-D5F687EDFF02}"/>
              </a:ext>
            </a:extLst>
          </p:cNvPr>
          <p:cNvSpPr/>
          <p:nvPr/>
        </p:nvSpPr>
        <p:spPr>
          <a:xfrm>
            <a:off x="8655084" y="1959914"/>
            <a:ext cx="735408" cy="777197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0" name="Datumsplatzhalter 2">
            <a:extLst>
              <a:ext uri="{FF2B5EF4-FFF2-40B4-BE49-F238E27FC236}">
                <a16:creationId xmlns:a16="http://schemas.microsoft.com/office/drawing/2014/main" id="{A04C6547-297A-9C4F-AFF6-EB927E03C32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388048" y="6455836"/>
            <a:ext cx="720000" cy="123111"/>
          </a:xfrm>
        </p:spPr>
        <p:txBody>
          <a:bodyPr/>
          <a:lstStyle/>
          <a:p>
            <a:fld id="{79225054-8F4D-4B67-8803-E473E83FD8A6}" type="datetime1">
              <a:rPr lang="de-DE" noProof="0" smtClean="0"/>
              <a:t>15.11.22</a:t>
            </a:fld>
            <a:endParaRPr lang="de-DE" noProof="0" dirty="0"/>
          </a:p>
        </p:txBody>
      </p:sp>
      <p:sp>
        <p:nvSpPr>
          <p:cNvPr id="51" name="Fußzeilenplatzhalter 3">
            <a:extLst>
              <a:ext uri="{FF2B5EF4-FFF2-40B4-BE49-F238E27FC236}">
                <a16:creationId xmlns:a16="http://schemas.microsoft.com/office/drawing/2014/main" id="{B81C433A-53A2-2593-2F28-0184E6B055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297897" y="6455836"/>
            <a:ext cx="2952000" cy="123111"/>
          </a:xfrm>
        </p:spPr>
        <p:txBody>
          <a:bodyPr/>
          <a:lstStyle/>
          <a:p>
            <a:r>
              <a:rPr lang="de-DE" noProof="0"/>
              <a:t>© Universität zu Lübeck</a:t>
            </a:r>
            <a:endParaRPr lang="de-DE" noProof="0" dirty="0"/>
          </a:p>
        </p:txBody>
      </p:sp>
      <p:sp>
        <p:nvSpPr>
          <p:cNvPr id="52" name="Foliennummernplatzhalter 4">
            <a:extLst>
              <a:ext uri="{FF2B5EF4-FFF2-40B4-BE49-F238E27FC236}">
                <a16:creationId xmlns:a16="http://schemas.microsoft.com/office/drawing/2014/main" id="{32EF0CD5-8E90-E88A-601C-F812E10392C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79425" y="6440448"/>
            <a:ext cx="720000" cy="153888"/>
          </a:xfrm>
        </p:spPr>
        <p:txBody>
          <a:bodyPr/>
          <a:lstStyle/>
          <a:p>
            <a:r>
              <a:rPr lang="de-DE" noProof="0"/>
              <a:t>Seite</a:t>
            </a:r>
            <a:r>
              <a:rPr lang="en-US"/>
              <a:t> </a:t>
            </a:r>
            <a:fld id="{401BA3E4-5E55-4F99-AF09-CC6D6B2539E2}" type="slidenum">
              <a:rPr lang="en-US" smtClean="0"/>
              <a:pPr/>
              <a:t>25</a:t>
            </a:fld>
            <a:endParaRPr lang="en-US" dirty="0"/>
          </a:p>
        </p:txBody>
      </p:sp>
      <p:pic>
        <p:nvPicPr>
          <p:cNvPr id="53" name="Grafik 52">
            <a:extLst>
              <a:ext uri="{FF2B5EF4-FFF2-40B4-BE49-F238E27FC236}">
                <a16:creationId xmlns:a16="http://schemas.microsoft.com/office/drawing/2014/main" id="{16C9431A-B0C8-FC9E-B885-B2A32D899AA3}"/>
              </a:ext>
            </a:extLst>
          </p:cNvPr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21502" y="205152"/>
            <a:ext cx="3744886" cy="1130532"/>
          </a:xfrm>
          <a:prstGeom prst="rect">
            <a:avLst/>
          </a:prstGeom>
          <a:noFill/>
        </p:spPr>
      </p:pic>
      <p:pic>
        <p:nvPicPr>
          <p:cNvPr id="54" name="Grafik 53">
            <a:extLst>
              <a:ext uri="{FF2B5EF4-FFF2-40B4-BE49-F238E27FC236}">
                <a16:creationId xmlns:a16="http://schemas.microsoft.com/office/drawing/2014/main" id="{1A30EA99-DF81-2CA6-8129-86C1267E90D3}"/>
              </a:ext>
            </a:extLst>
          </p:cNvPr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58969" y="2301672"/>
            <a:ext cx="1380616" cy="4530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06972256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7D1DE7E-0C37-1923-6601-C3A2A1C40E3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395588"/>
            <a:ext cx="11233150" cy="374398"/>
          </a:xfrm>
        </p:spPr>
        <p:txBody>
          <a:bodyPr/>
          <a:lstStyle/>
          <a:p>
            <a:r>
              <a:rPr lang="de-DE" dirty="0"/>
              <a:t>Methode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EAD436E-0121-3687-2C1C-70A7EA70069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5A82B2D-840F-4167-AD44-C02BC9C87CCB}" type="datetime1">
              <a:rPr lang="de-DE" noProof="0" smtClean="0"/>
              <a:t>15.11.22</a:t>
            </a:fld>
            <a:endParaRPr lang="de-DE" noProof="0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77F74EDD-282F-93EF-33D5-3FE76B28A82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/>
              <a:t>© Universität zu Lübeck</a:t>
            </a:r>
            <a:endParaRPr lang="de-DE" noProof="0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53D729B8-F28B-7A02-FF4A-0A6F9B46B2D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 noProof="0"/>
              <a:t>Seite</a:t>
            </a:r>
            <a:r>
              <a:rPr lang="en-US"/>
              <a:t> </a:t>
            </a:r>
            <a:fld id="{401BA3E4-5E55-4F99-AF09-CC6D6B2539E2}" type="slidenum">
              <a:rPr lang="en-US" smtClean="0"/>
              <a:pPr/>
              <a:t>26</a:t>
            </a:fld>
            <a:endParaRPr lang="en-US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D176AFD-051B-A8EC-C141-196E5AF2CAB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9425" y="778321"/>
            <a:ext cx="11233150" cy="312008"/>
          </a:xfrm>
        </p:spPr>
        <p:txBody>
          <a:bodyPr/>
          <a:lstStyle/>
          <a:p>
            <a:r>
              <a:rPr lang="de-DE" dirty="0"/>
              <a:t>Arterien Segmentierung </a:t>
            </a:r>
            <a:r>
              <a:rPr lang="de-DE" sz="2000" b="0" i="0" kern="1200" dirty="0">
                <a:solidFill>
                  <a:srgbClr val="084653"/>
                </a:solidFill>
                <a:effectLst/>
                <a:latin typeface="Myriad Pro" panose="020B0503030403020204"/>
                <a:ea typeface="+mn-ea"/>
                <a:cs typeface="+mn-cs"/>
              </a:rPr>
              <a:t>—</a:t>
            </a:r>
            <a:r>
              <a:rPr lang="de-DE" dirty="0"/>
              <a:t> Multi-Network Approach</a:t>
            </a:r>
          </a:p>
        </p:txBody>
      </p:sp>
      <p:pic>
        <p:nvPicPr>
          <p:cNvPr id="20" name="Grafik 19" descr="\documentclass{article}&#10;\usepackage{amsmath}&#10;\pagestyle{empty}&#10;\usepackage{adjustbox}&#10;\usepackage{tabularx}&#10;\usepackage{makecell}&#10;\usepackage{multirow}&#10;\begin{document}&#10;&#10;&#10;\begin{table}[!h]&#10;\centering&#10;\begin{adjustbox}{max width=\linewidth}&#10;\begin{tabular}{|c|c|c|c|c|}&#10;    %\hline&#10;    %\multicolumn{2}{|c|}{1. order risk factor, effective independent of other factors} \\&#10;    \hline&#10;    Method &amp; Mean IOU &amp; SD &amp; \makecell{Mean IOU\\$&lt; 0.5$ in $\%$}  &amp;\makecell{Mean IOU\\$&lt; 0.7$ in $\%$} \\&#10;    \hline&#10;    single-network approach &amp; 0.7793 &amp; 0.1042 &amp; 1.3 &amp; 19.2\\&#10;    \hline&#10;    GT ROI &amp; \textbf{0.7884} &amp; \textbf{0.0896} &amp; \textbf{0.8} &amp; \textbf{17.4} \\&#10;    GT ROI scaled &amp; 0.7859 &amp; 0.0904 &amp; 0.9 &amp; 17.9 \\&#10;    \hline&#10;\end{tabular} &#10;\end{adjustbox}&#10;\end{table}&#10;&#10;\end{document}" title="IguanaTex Bitmap Display">
            <a:extLst>
              <a:ext uri="{FF2B5EF4-FFF2-40B4-BE49-F238E27FC236}">
                <a16:creationId xmlns:a16="http://schemas.microsoft.com/office/drawing/2014/main" id="{32E08ECC-2436-ADAF-BF54-39C75B9E6F61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8199" y="1703388"/>
            <a:ext cx="6016001" cy="1091200"/>
          </a:xfrm>
          <a:prstGeom prst="rect">
            <a:avLst/>
          </a:prstGeom>
        </p:spPr>
      </p:pic>
      <p:sp>
        <p:nvSpPr>
          <p:cNvPr id="8" name="Rechteck 7">
            <a:extLst>
              <a:ext uri="{FF2B5EF4-FFF2-40B4-BE49-F238E27FC236}">
                <a16:creationId xmlns:a16="http://schemas.microsoft.com/office/drawing/2014/main" id="{53321848-4E1C-3148-C337-2894CEF8AB1D}"/>
              </a:ext>
            </a:extLst>
          </p:cNvPr>
          <p:cNvSpPr/>
          <p:nvPr/>
        </p:nvSpPr>
        <p:spPr>
          <a:xfrm>
            <a:off x="478199" y="2362010"/>
            <a:ext cx="6016000" cy="432578"/>
          </a:xfrm>
          <a:prstGeom prst="rect">
            <a:avLst/>
          </a:prstGeom>
          <a:solidFill>
            <a:srgbClr val="000000">
              <a:alpha val="5098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de-DE" sz="1400" dirty="0">
              <a:solidFill>
                <a:schemeClr val="tx1"/>
              </a:solidFill>
            </a:endParaRPr>
          </a:p>
        </p:txBody>
      </p:sp>
      <p:pic>
        <p:nvPicPr>
          <p:cNvPr id="9" name="Grafik 8" descr="Ein Bild, das Keramikwaren, Gewebe, Porzellan enthält.&#10;&#10;Automatisch generierte Beschreibung">
            <a:extLst>
              <a:ext uri="{FF2B5EF4-FFF2-40B4-BE49-F238E27FC236}">
                <a16:creationId xmlns:a16="http://schemas.microsoft.com/office/drawing/2014/main" id="{EBCB04FD-549A-4750-7613-BF41F6B744D2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09094" y="3262238"/>
            <a:ext cx="1551346" cy="1168996"/>
          </a:xfrm>
          <a:prstGeom prst="rect">
            <a:avLst/>
          </a:prstGeom>
        </p:spPr>
      </p:pic>
      <p:pic>
        <p:nvPicPr>
          <p:cNvPr id="10" name="Grafik 9">
            <a:extLst>
              <a:ext uri="{FF2B5EF4-FFF2-40B4-BE49-F238E27FC236}">
                <a16:creationId xmlns:a16="http://schemas.microsoft.com/office/drawing/2014/main" id="{BA3C706E-31EA-C4A3-D013-4B500F339E4C}"/>
              </a:ext>
            </a:extLst>
          </p:cNvPr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09094" y="4487668"/>
            <a:ext cx="1551346" cy="1168996"/>
          </a:xfrm>
          <a:prstGeom prst="rect">
            <a:avLst/>
          </a:prstGeom>
        </p:spPr>
      </p:pic>
      <p:pic>
        <p:nvPicPr>
          <p:cNvPr id="12" name="Grafik 11" descr="Ein Bild, das Schokolade, Dessert, gegessen enthält.&#10;&#10;Automatisch generierte Beschreibung">
            <a:extLst>
              <a:ext uri="{FF2B5EF4-FFF2-40B4-BE49-F238E27FC236}">
                <a16:creationId xmlns:a16="http://schemas.microsoft.com/office/drawing/2014/main" id="{9B299B5B-AF6B-64E3-7665-0EB2BFA34159}"/>
              </a:ext>
            </a:extLst>
          </p:cNvPr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38761" y="3262238"/>
            <a:ext cx="1558662" cy="1168997"/>
          </a:xfrm>
          <a:prstGeom prst="rect">
            <a:avLst/>
          </a:prstGeom>
        </p:spPr>
      </p:pic>
      <p:pic>
        <p:nvPicPr>
          <p:cNvPr id="13" name="Grafik 12">
            <a:extLst>
              <a:ext uri="{FF2B5EF4-FFF2-40B4-BE49-F238E27FC236}">
                <a16:creationId xmlns:a16="http://schemas.microsoft.com/office/drawing/2014/main" id="{C5801965-9314-653E-8613-0D510B3511D2}"/>
              </a:ext>
            </a:extLst>
          </p:cNvPr>
          <p:cNvPicPr>
            <a:picLocks noChangeAspect="1"/>
          </p:cNvPicPr>
          <p:nvPr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38761" y="4487668"/>
            <a:ext cx="1558662" cy="1168997"/>
          </a:xfrm>
          <a:prstGeom prst="rect">
            <a:avLst/>
          </a:prstGeom>
        </p:spPr>
      </p:pic>
      <p:sp>
        <p:nvSpPr>
          <p:cNvPr id="14" name="Textplatzhalter 42">
            <a:extLst>
              <a:ext uri="{FF2B5EF4-FFF2-40B4-BE49-F238E27FC236}">
                <a16:creationId xmlns:a16="http://schemas.microsoft.com/office/drawing/2014/main" id="{67BAED8F-F0FD-4B66-0391-2C281C75A15D}"/>
              </a:ext>
            </a:extLst>
          </p:cNvPr>
          <p:cNvSpPr txBox="1">
            <a:spLocks/>
          </p:cNvSpPr>
          <p:nvPr/>
        </p:nvSpPr>
        <p:spPr bwMode="gray">
          <a:xfrm>
            <a:off x="802394" y="2956184"/>
            <a:ext cx="816328" cy="21839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1600" b="1" i="0" kern="1200">
                <a:solidFill>
                  <a:schemeClr val="accent1"/>
                </a:solidFill>
                <a:latin typeface="Myriad Pro" panose="020B0503030403020204" pitchFamily="34" charset="0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1400" b="0" i="0" kern="120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1" i="0" kern="120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+mn-cs"/>
              </a:defRPr>
            </a:lvl3pPr>
            <a:lvl4pPr marL="18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b="0" i="0" kern="120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+mn-cs"/>
              </a:defRPr>
            </a:lvl4pPr>
            <a:lvl5pPr marL="36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b="0" i="0" kern="120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b="0" i="0" kern="120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+mn-cs"/>
              </a:defRPr>
            </a:lvl6pPr>
            <a:lvl7pPr marL="216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buFont typeface="+mj-lt"/>
              <a:buAutoNum type="arabicPeriod"/>
              <a:defRPr sz="1400" b="0" i="0" kern="120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lphaLcParenR"/>
              <a:defRPr sz="1400" b="0" i="0" kern="120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+mn-cs"/>
              </a:defRPr>
            </a:lvl8pPr>
            <a:lvl9pPr marL="648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romanLcPeriod"/>
              <a:defRPr sz="1400" b="0" i="0" kern="120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+mn-cs"/>
              </a:defRPr>
            </a:lvl9pPr>
          </a:lstStyle>
          <a:p>
            <a:pPr lvl="2" algn="ctr"/>
            <a:r>
              <a:rPr lang="de-DE" dirty="0"/>
              <a:t>Original</a:t>
            </a:r>
          </a:p>
        </p:txBody>
      </p:sp>
      <p:sp>
        <p:nvSpPr>
          <p:cNvPr id="15" name="Textplatzhalter 43">
            <a:extLst>
              <a:ext uri="{FF2B5EF4-FFF2-40B4-BE49-F238E27FC236}">
                <a16:creationId xmlns:a16="http://schemas.microsoft.com/office/drawing/2014/main" id="{60B75828-DB04-C087-2786-34C1FD4B0952}"/>
              </a:ext>
            </a:extLst>
          </p:cNvPr>
          <p:cNvSpPr txBox="1">
            <a:spLocks/>
          </p:cNvSpPr>
          <p:nvPr/>
        </p:nvSpPr>
        <p:spPr>
          <a:xfrm>
            <a:off x="2525328" y="2901215"/>
            <a:ext cx="1118877" cy="361023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1600" b="1" i="0" kern="1200">
                <a:solidFill>
                  <a:schemeClr val="accent1"/>
                </a:solidFill>
                <a:latin typeface="Myriad Pro" panose="020B0503030403020204" pitchFamily="34" charset="0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1400" b="0" i="0" kern="120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1" i="0" kern="120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+mn-cs"/>
              </a:defRPr>
            </a:lvl3pPr>
            <a:lvl4pPr marL="18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b="0" i="0" kern="120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+mn-cs"/>
              </a:defRPr>
            </a:lvl4pPr>
            <a:lvl5pPr marL="36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b="0" i="0" kern="120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b="0" i="0" kern="120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+mn-cs"/>
              </a:defRPr>
            </a:lvl6pPr>
            <a:lvl7pPr marL="216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buFont typeface="+mj-lt"/>
              <a:buAutoNum type="arabicPeriod"/>
              <a:defRPr sz="1400" b="0" i="0" kern="120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lphaLcParenR"/>
              <a:defRPr sz="1400" b="0" i="0" kern="120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+mn-cs"/>
              </a:defRPr>
            </a:lvl8pPr>
            <a:lvl9pPr marL="648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romanLcPeriod"/>
              <a:defRPr sz="1400" b="0" i="0" kern="120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+mn-cs"/>
              </a:defRPr>
            </a:lvl9pPr>
          </a:lstStyle>
          <a:p>
            <a:pPr lvl="2" algn="ctr"/>
            <a:r>
              <a:rPr lang="de-DE" dirty="0"/>
              <a:t>(</a:t>
            </a:r>
            <a:r>
              <a:rPr lang="de-DE" dirty="0" err="1"/>
              <a:t>Scaled</a:t>
            </a:r>
            <a:r>
              <a:rPr lang="de-DE" dirty="0"/>
              <a:t>)</a:t>
            </a:r>
          </a:p>
        </p:txBody>
      </p:sp>
      <p:sp>
        <p:nvSpPr>
          <p:cNvPr id="16" name="Textplatzhalter 44">
            <a:extLst>
              <a:ext uri="{FF2B5EF4-FFF2-40B4-BE49-F238E27FC236}">
                <a16:creationId xmlns:a16="http://schemas.microsoft.com/office/drawing/2014/main" id="{F17968BC-331F-941E-B11E-DF41695B0C66}"/>
              </a:ext>
            </a:extLst>
          </p:cNvPr>
          <p:cNvSpPr txBox="1">
            <a:spLocks/>
          </p:cNvSpPr>
          <p:nvPr/>
        </p:nvSpPr>
        <p:spPr>
          <a:xfrm>
            <a:off x="4082673" y="2929914"/>
            <a:ext cx="1634772" cy="300372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1600" b="1" i="0" kern="1200">
                <a:solidFill>
                  <a:schemeClr val="accent1"/>
                </a:solidFill>
                <a:latin typeface="Myriad Pro" panose="020B0503030403020204" pitchFamily="34" charset="0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1400" b="0" i="0" kern="120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1" i="0" kern="120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+mn-cs"/>
              </a:defRPr>
            </a:lvl3pPr>
            <a:lvl4pPr marL="18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b="0" i="0" kern="120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+mn-cs"/>
              </a:defRPr>
            </a:lvl4pPr>
            <a:lvl5pPr marL="36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b="0" i="0" kern="120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b="0" i="0" kern="120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+mn-cs"/>
              </a:defRPr>
            </a:lvl6pPr>
            <a:lvl7pPr marL="216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buFont typeface="+mj-lt"/>
              <a:buAutoNum type="arabicPeriod"/>
              <a:defRPr sz="1400" b="0" i="0" kern="120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lphaLcParenR"/>
              <a:defRPr sz="1400" b="0" i="0" kern="120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+mn-cs"/>
              </a:defRPr>
            </a:lvl8pPr>
            <a:lvl9pPr marL="648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romanLcPeriod"/>
              <a:defRPr sz="1400" b="0" i="0" kern="120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+mn-cs"/>
              </a:defRPr>
            </a:lvl9pPr>
          </a:lstStyle>
          <a:p>
            <a:pPr lvl="2" algn="ctr"/>
            <a:r>
              <a:rPr lang="de-DE" dirty="0"/>
              <a:t>(nicht </a:t>
            </a:r>
            <a:r>
              <a:rPr lang="de-DE" dirty="0" err="1"/>
              <a:t>Scaled</a:t>
            </a:r>
            <a:r>
              <a:rPr lang="de-DE" dirty="0"/>
              <a:t>)</a:t>
            </a:r>
          </a:p>
        </p:txBody>
      </p:sp>
      <p:pic>
        <p:nvPicPr>
          <p:cNvPr id="17" name="Grafik 16" descr="Ein Bild, das Silhouette enthält.&#10;&#10;Automatisch generierte Beschreibung">
            <a:extLst>
              <a:ext uri="{FF2B5EF4-FFF2-40B4-BE49-F238E27FC236}">
                <a16:creationId xmlns:a16="http://schemas.microsoft.com/office/drawing/2014/main" id="{D279DFF8-E571-A6EE-FF67-F47C2EF2ABD3}"/>
              </a:ext>
            </a:extLst>
          </p:cNvPr>
          <p:cNvPicPr>
            <a:picLocks noChangeAspect="1"/>
          </p:cNvPicPr>
          <p:nvPr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8199" y="4487668"/>
            <a:ext cx="1552573" cy="1168996"/>
          </a:xfrm>
          <a:prstGeom prst="rect">
            <a:avLst/>
          </a:prstGeom>
        </p:spPr>
      </p:pic>
      <p:pic>
        <p:nvPicPr>
          <p:cNvPr id="18" name="Grafik 17" descr="Ein Bild, das Karte enthält.&#10;&#10;Automatisch generierte Beschreibung">
            <a:extLst>
              <a:ext uri="{FF2B5EF4-FFF2-40B4-BE49-F238E27FC236}">
                <a16:creationId xmlns:a16="http://schemas.microsoft.com/office/drawing/2014/main" id="{4F28C4C2-A04F-6DBD-F790-56084333F331}"/>
              </a:ext>
            </a:extLst>
          </p:cNvPr>
          <p:cNvPicPr>
            <a:picLocks noChangeAspect="1"/>
          </p:cNvPicPr>
          <p:nvPr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8199" y="3262238"/>
            <a:ext cx="1552573" cy="1168996"/>
          </a:xfrm>
          <a:prstGeom prst="rect">
            <a:avLst/>
          </a:prstGeom>
        </p:spPr>
      </p:pic>
      <p:pic>
        <p:nvPicPr>
          <p:cNvPr id="21" name="Grafik 20" descr="\documentclass{article}&#10;\usepackage{amsmath}&#10;\pagestyle{empty}&#10;\usepackage{adjustbox}&#10;\usepackage{tabularx}&#10;\usepackage{makecell}&#10;\usepackage{multirow}&#10;\begin{document}&#10;&#10;&#10;\begin{table}[!h]&#10;\centering&#10;\begin{adjustbox}{max width=\linewidth}&#10;\begin{tabular}{|c|c|c|c|c|}&#10;    %\hline&#10;    %\multicolumn{2}{|c|}{1. order risk factor, effective independent of other factors} \\&#10;    \hline&#10;    Method &amp; Mean IOU &amp; SD &amp; \makecell{Mean IOU\\$&lt; 0.5$ in $\%$}  &amp;\makecell{Mean IOU\\$&lt; 0.7$ in $\%$} \\&#10;    \hline&#10;    single-network approach &amp; 0.7793 &amp; 0.1042 &amp; 1.3 &amp; 19.2\\&#10;    \hline&#10;    GT ROI &amp; \textbf{0.7884} &amp; \textbf{0.0896} &amp; \textbf{0.8} &amp; \textbf{17.4} \\&#10;    GT ROI scaled &amp; 0.7859 &amp; 0.0904 &amp; 0.9 &amp; 17.9 \\&#10;    \hline&#10;\end{tabular} &#10;\end{adjustbox}&#10;\end{table}&#10;&#10;\end{document}" title="IguanaTex Bitmap Display">
            <a:extLst>
              <a:ext uri="{FF2B5EF4-FFF2-40B4-BE49-F238E27FC236}">
                <a16:creationId xmlns:a16="http://schemas.microsoft.com/office/drawing/2014/main" id="{B1FCA295-87F9-10A5-A0A9-0A92B6C03372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9424" y="1701414"/>
            <a:ext cx="6016001" cy="1091200"/>
          </a:xfrm>
          <a:prstGeom prst="rect">
            <a:avLst/>
          </a:prstGeom>
        </p:spPr>
      </p:pic>
      <p:sp>
        <p:nvSpPr>
          <p:cNvPr id="22" name="Rechteck 21">
            <a:extLst>
              <a:ext uri="{FF2B5EF4-FFF2-40B4-BE49-F238E27FC236}">
                <a16:creationId xmlns:a16="http://schemas.microsoft.com/office/drawing/2014/main" id="{F1C49302-264F-C5DC-D1F7-DCE5F0138337}"/>
              </a:ext>
            </a:extLst>
          </p:cNvPr>
          <p:cNvSpPr/>
          <p:nvPr/>
        </p:nvSpPr>
        <p:spPr>
          <a:xfrm>
            <a:off x="478198" y="2137112"/>
            <a:ext cx="6016000" cy="432578"/>
          </a:xfrm>
          <a:prstGeom prst="rect">
            <a:avLst/>
          </a:prstGeom>
          <a:solidFill>
            <a:srgbClr val="000000">
              <a:alpha val="5098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de-DE" sz="1400" dirty="0">
              <a:solidFill>
                <a:schemeClr val="tx1"/>
              </a:solidFill>
            </a:endParaRPr>
          </a:p>
        </p:txBody>
      </p:sp>
      <p:pic>
        <p:nvPicPr>
          <p:cNvPr id="23" name="Grafik 22" descr="\documentclass{article}&#10;\usepackage{amsmath}&#10;\pagestyle{empty}&#10;\usepackage{adjustbox}&#10;\usepackage{tabularx}&#10;\usepackage{makecell}&#10;\usepackage{multirow}&#10;\begin{document}&#10;&#10;&#10;\begin{table}[!h]&#10;\centering&#10;\begin{adjustbox}{max width=\linewidth}&#10;\begin{tabular}{|c|c|c|c|c|}&#10;    %\hline&#10;    %\multicolumn{2}{|c|}{1. order risk factor, effective independent of other factors} \\&#10;    \hline&#10;    Method &amp; Mean IOU &amp; SD &amp; \makecell{Mean IOU\\$&lt; 0.5$ in $\%$}  &amp;\makecell{Mean IOU\\$&lt; 0.7$ in $\%$} \\&#10;    \hline&#10;    single-network approach &amp; 0.7793 &amp; 0.1042 &amp; 1.3 &amp; 19.2\\&#10;    \hline&#10;    GT ROI &amp; \textbf{0.7884} &amp; \textbf{0.0896} &amp; \textbf{0.8} &amp; \textbf{17.4} \\&#10;    GT ROI scaled &amp; 0.7859 &amp; 0.0904 &amp; 0.9 &amp; 17.9 \\&#10;    \hline&#10;\end{tabular} &#10;\end{adjustbox}&#10;\end{table}&#10;&#10;\end{document}" title="IguanaTex Bitmap Display">
            <a:extLst>
              <a:ext uri="{FF2B5EF4-FFF2-40B4-BE49-F238E27FC236}">
                <a16:creationId xmlns:a16="http://schemas.microsoft.com/office/drawing/2014/main" id="{D86B99DB-C373-B523-30BA-507FFD38CC0D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8199" y="1699440"/>
            <a:ext cx="6016001" cy="1091200"/>
          </a:xfrm>
          <a:prstGeom prst="rect">
            <a:avLst/>
          </a:prstGeom>
        </p:spPr>
      </p:pic>
      <p:sp>
        <p:nvSpPr>
          <p:cNvPr id="24" name="Rechteck 23">
            <a:extLst>
              <a:ext uri="{FF2B5EF4-FFF2-40B4-BE49-F238E27FC236}">
                <a16:creationId xmlns:a16="http://schemas.microsoft.com/office/drawing/2014/main" id="{58AEB290-5B45-3E02-23F9-297E9E13A7D7}"/>
              </a:ext>
            </a:extLst>
          </p:cNvPr>
          <p:cNvSpPr/>
          <p:nvPr/>
        </p:nvSpPr>
        <p:spPr>
          <a:xfrm>
            <a:off x="476973" y="2135138"/>
            <a:ext cx="6016000" cy="221812"/>
          </a:xfrm>
          <a:prstGeom prst="rect">
            <a:avLst/>
          </a:prstGeom>
          <a:solidFill>
            <a:srgbClr val="000000">
              <a:alpha val="5098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de-DE" sz="1400" dirty="0">
              <a:solidFill>
                <a:schemeClr val="tx1"/>
              </a:solidFill>
            </a:endParaRPr>
          </a:p>
        </p:txBody>
      </p:sp>
      <p:sp>
        <p:nvSpPr>
          <p:cNvPr id="25" name="Rechteck 24">
            <a:extLst>
              <a:ext uri="{FF2B5EF4-FFF2-40B4-BE49-F238E27FC236}">
                <a16:creationId xmlns:a16="http://schemas.microsoft.com/office/drawing/2014/main" id="{D4D03115-9140-755E-EDFA-2B6737172A1A}"/>
              </a:ext>
            </a:extLst>
          </p:cNvPr>
          <p:cNvSpPr/>
          <p:nvPr/>
        </p:nvSpPr>
        <p:spPr>
          <a:xfrm>
            <a:off x="476973" y="2554879"/>
            <a:ext cx="6016000" cy="235761"/>
          </a:xfrm>
          <a:prstGeom prst="rect">
            <a:avLst/>
          </a:prstGeom>
          <a:solidFill>
            <a:srgbClr val="000000">
              <a:alpha val="5098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de-DE" sz="1400" dirty="0">
              <a:solidFill>
                <a:schemeClr val="tx1"/>
              </a:solidFill>
            </a:endParaRP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5AF17E89-E523-A390-DC25-442C8F574FF1}"/>
              </a:ext>
            </a:extLst>
          </p:cNvPr>
          <p:cNvPicPr>
            <a:picLocks noChangeAspect="1"/>
          </p:cNvPicPr>
          <p:nvPr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21502" y="191192"/>
            <a:ext cx="3744886" cy="1130532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427005578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14" grpId="0"/>
      <p:bldP spid="15" grpId="0"/>
      <p:bldP spid="16" grpId="0"/>
      <p:bldP spid="22" grpId="0" animBg="1"/>
      <p:bldP spid="24" grpId="0" animBg="1"/>
      <p:bldP spid="25" grpId="0" animBg="1"/>
    </p:bld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7D1DE7E-0C37-1923-6601-C3A2A1C40E3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395588"/>
            <a:ext cx="11233150" cy="374398"/>
          </a:xfrm>
        </p:spPr>
        <p:txBody>
          <a:bodyPr/>
          <a:lstStyle/>
          <a:p>
            <a:r>
              <a:rPr lang="de-DE" dirty="0"/>
              <a:t>Methode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EAD436E-0121-3687-2C1C-70A7EA70069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5A82B2D-840F-4167-AD44-C02BC9C87CCB}" type="datetime1">
              <a:rPr lang="de-DE" noProof="0" smtClean="0"/>
              <a:t>15.11.22</a:t>
            </a:fld>
            <a:endParaRPr lang="de-DE" noProof="0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77F74EDD-282F-93EF-33D5-3FE76B28A82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/>
              <a:t>© Universität zu Lübeck</a:t>
            </a:r>
            <a:endParaRPr lang="de-DE" noProof="0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53D729B8-F28B-7A02-FF4A-0A6F9B46B2D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 noProof="0"/>
              <a:t>Seite</a:t>
            </a:r>
            <a:r>
              <a:rPr lang="en-US"/>
              <a:t> </a:t>
            </a:r>
            <a:fld id="{401BA3E4-5E55-4F99-AF09-CC6D6B2539E2}" type="slidenum">
              <a:rPr lang="en-US" smtClean="0"/>
              <a:pPr/>
              <a:t>27</a:t>
            </a:fld>
            <a:endParaRPr lang="en-US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D176AFD-051B-A8EC-C141-196E5AF2CAB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9425" y="778321"/>
            <a:ext cx="11233150" cy="312008"/>
          </a:xfrm>
        </p:spPr>
        <p:txBody>
          <a:bodyPr/>
          <a:lstStyle/>
          <a:p>
            <a:r>
              <a:rPr lang="de-DE" dirty="0"/>
              <a:t>Arterien Segmentierung </a:t>
            </a:r>
            <a:r>
              <a:rPr lang="de-DE" sz="2000" b="0" i="0" kern="1200" dirty="0">
                <a:solidFill>
                  <a:srgbClr val="084653"/>
                </a:solidFill>
                <a:effectLst/>
                <a:latin typeface="Myriad Pro" panose="020B0503030403020204"/>
                <a:ea typeface="+mn-ea"/>
                <a:cs typeface="+mn-cs"/>
              </a:rPr>
              <a:t>—</a:t>
            </a:r>
            <a:r>
              <a:rPr lang="de-DE" dirty="0"/>
              <a:t> Multi-Network Approach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55F09384-39C8-97D2-72DC-9DB80D21395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8199" y="1703388"/>
            <a:ext cx="11233150" cy="249620"/>
          </a:xfrm>
        </p:spPr>
        <p:txBody>
          <a:bodyPr/>
          <a:lstStyle/>
          <a:p>
            <a:endParaRPr lang="de-DE"/>
          </a:p>
        </p:txBody>
      </p:sp>
      <p:pic>
        <p:nvPicPr>
          <p:cNvPr id="17" name="Grafik 16" descr="\documentclass{article}&#10;\usepackage{amsmath}&#10;\pagestyle{empty}&#10;\usepackage{adjustbox}&#10;\usepackage{tabularx}&#10;\usepackage{makecell}&#10;\usepackage{multirow}&#10;\begin{document}&#10;&#10;&#10;\begin{table}[!h]&#10;\centering&#10;\begin{adjustbox}{max width=\linewidth}&#10;\begin{tabular}{|c|c|c|c|c|}&#10;    %\hline&#10;    %\multicolumn{2}{|c|}{1. order risk factor, effective independent of other factors} \\&#10;    \hline&#10;    Method &amp; Mean IOU &amp; SD &amp; \makecell{Mean IOU\\$&lt; 0.5$ in $\%$}  &amp;\makecell{Mean IOU\\$&lt; 0.7$ in $\%$} \\&#10;    \hline&#10;    \makecell{single-network \\approach} &amp; 0.7793 &amp; 0.1042 &amp; 1.3 &amp; 19.2\\&#10;    \hline&#10;    \makecell{single-network \\approach ROI} &amp; 0.7835 &amp; 0.1009 &amp; 1.4 &amp; 17.9\\&#10;    \hline&#10;    YOLOv5n ROI &amp; \textbf{0.7906} &amp; \textbf{0.0892} &amp; \textbf{0.7} &amp; \textbf{16.1}\\&#10;\hline&#10;\end{tabular} &#10;\end{adjustbox}&#10;\end{table}&#10;&#10;\end{document}" title="IguanaTex Bitmap Display">
            <a:extLst>
              <a:ext uri="{FF2B5EF4-FFF2-40B4-BE49-F238E27FC236}">
                <a16:creationId xmlns:a16="http://schemas.microsoft.com/office/drawing/2014/main" id="{D56239FB-A0F5-7E0A-8AAD-C527AE0867BD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8200" y="1703389"/>
            <a:ext cx="5330134" cy="1523200"/>
          </a:xfrm>
          <a:prstGeom prst="rect">
            <a:avLst/>
          </a:prstGeom>
        </p:spPr>
      </p:pic>
      <p:sp>
        <p:nvSpPr>
          <p:cNvPr id="8" name="Rechteck 7">
            <a:extLst>
              <a:ext uri="{FF2B5EF4-FFF2-40B4-BE49-F238E27FC236}">
                <a16:creationId xmlns:a16="http://schemas.microsoft.com/office/drawing/2014/main" id="{6083FB27-BC47-6F86-2944-6DEAD142ECCA}"/>
              </a:ext>
            </a:extLst>
          </p:cNvPr>
          <p:cNvSpPr/>
          <p:nvPr/>
        </p:nvSpPr>
        <p:spPr>
          <a:xfrm>
            <a:off x="478201" y="2132229"/>
            <a:ext cx="5330134" cy="433837"/>
          </a:xfrm>
          <a:prstGeom prst="rect">
            <a:avLst/>
          </a:prstGeom>
          <a:solidFill>
            <a:srgbClr val="000000">
              <a:alpha val="5098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de-DE" sz="1400" dirty="0">
              <a:solidFill>
                <a:schemeClr val="tx1"/>
              </a:solidFill>
            </a:endParaRP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D7622F63-525E-E4C8-74AE-19BAC48A8429}"/>
              </a:ext>
            </a:extLst>
          </p:cNvPr>
          <p:cNvSpPr/>
          <p:nvPr/>
        </p:nvSpPr>
        <p:spPr>
          <a:xfrm>
            <a:off x="475627" y="2995164"/>
            <a:ext cx="5330134" cy="231426"/>
          </a:xfrm>
          <a:prstGeom prst="rect">
            <a:avLst/>
          </a:prstGeom>
          <a:solidFill>
            <a:srgbClr val="000000">
              <a:alpha val="5098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de-DE" sz="1400" dirty="0">
              <a:solidFill>
                <a:schemeClr val="tx1"/>
              </a:solidFill>
            </a:endParaRPr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232E959E-554F-BFB6-8A77-57B8C9D41263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21502" y="191192"/>
            <a:ext cx="3744886" cy="1130532"/>
          </a:xfrm>
          <a:prstGeom prst="rect">
            <a:avLst/>
          </a:prstGeom>
          <a:noFill/>
        </p:spPr>
      </p:pic>
      <p:pic>
        <p:nvPicPr>
          <p:cNvPr id="18" name="Grafik 17" descr="\documentclass{article}&#10;\usepackage{amsmath}&#10;\pagestyle{empty}&#10;\usepackage{adjustbox}&#10;\usepackage{tabularx}&#10;\usepackage{makecell}&#10;\usepackage{multirow}&#10;\begin{document}&#10;&#10;&#10;\begin{table}[!h]&#10;\centering&#10;\begin{adjustbox}{max width=\linewidth}&#10;\begin{tabular}{|c|c|c|c|c|}&#10;    %\hline&#10;    %\multicolumn{2}{|c|}{1. order risk factor, effective independent of other factors} \\&#10;    \hline&#10;    Method &amp; Mean IOU &amp; SD &amp; \makecell{Mean IOU\\$&lt; 0.5$ in $\%$}  &amp;\makecell{Mean IOU\\$&lt; 0.7$ in $\%$} \\&#10;    \hline&#10;    \makecell{single-network \\approach} &amp; 0.7793 &amp; 0.1042 &amp; 1.3 &amp; 19.2\\&#10;    \hline&#10;    \makecell{single-network \\approach ROI} &amp; 0.7835 &amp; 0.1009 &amp; 1.4 &amp; 17.9\\&#10;    \hline&#10;    YOLOv5n ROI &amp; \textbf{0.7906} &amp; \textbf{0.0892} &amp; \textbf{0.7} &amp; \textbf{16.1}\\&#10;\hline&#10;\end{tabular} &#10;\end{adjustbox}&#10;\end{table}&#10;&#10;\end{document}" title="IguanaTex Bitmap Display">
            <a:extLst>
              <a:ext uri="{FF2B5EF4-FFF2-40B4-BE49-F238E27FC236}">
                <a16:creationId xmlns:a16="http://schemas.microsoft.com/office/drawing/2014/main" id="{94051F58-17AD-3427-0E02-D42954C10029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5628" y="1703387"/>
            <a:ext cx="5330134" cy="1523200"/>
          </a:xfrm>
          <a:prstGeom prst="rect">
            <a:avLst/>
          </a:prstGeom>
        </p:spPr>
      </p:pic>
      <p:sp>
        <p:nvSpPr>
          <p:cNvPr id="19" name="Rechteck 18">
            <a:extLst>
              <a:ext uri="{FF2B5EF4-FFF2-40B4-BE49-F238E27FC236}">
                <a16:creationId xmlns:a16="http://schemas.microsoft.com/office/drawing/2014/main" id="{E4674C7D-A868-A6C8-36EB-E191115E89F6}"/>
              </a:ext>
            </a:extLst>
          </p:cNvPr>
          <p:cNvSpPr/>
          <p:nvPr/>
        </p:nvSpPr>
        <p:spPr>
          <a:xfrm>
            <a:off x="475628" y="2147704"/>
            <a:ext cx="5330134" cy="862420"/>
          </a:xfrm>
          <a:prstGeom prst="rect">
            <a:avLst/>
          </a:prstGeom>
          <a:solidFill>
            <a:srgbClr val="000000">
              <a:alpha val="5098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de-DE" sz="14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1900854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10" grpId="0" animBg="1"/>
      <p:bldP spid="19" grpId="0" animBg="1"/>
    </p:bld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7D1DE7E-0C37-1923-6601-C3A2A1C40E3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395588"/>
            <a:ext cx="11233150" cy="374398"/>
          </a:xfrm>
        </p:spPr>
        <p:txBody>
          <a:bodyPr/>
          <a:lstStyle/>
          <a:p>
            <a:r>
              <a:rPr lang="de-DE" dirty="0"/>
              <a:t>Methode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EAD436E-0121-3687-2C1C-70A7EA70069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5A82B2D-840F-4167-AD44-C02BC9C87CCB}" type="datetime1">
              <a:rPr lang="de-DE" noProof="0" smtClean="0"/>
              <a:t>15.11.22</a:t>
            </a:fld>
            <a:endParaRPr lang="de-DE" noProof="0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77F74EDD-282F-93EF-33D5-3FE76B28A82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/>
              <a:t>© Universität zu Lübeck</a:t>
            </a:r>
            <a:endParaRPr lang="de-DE" noProof="0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53D729B8-F28B-7A02-FF4A-0A6F9B46B2D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 noProof="0"/>
              <a:t>Seite</a:t>
            </a:r>
            <a:r>
              <a:rPr lang="en-US"/>
              <a:t> </a:t>
            </a:r>
            <a:fld id="{401BA3E4-5E55-4F99-AF09-CC6D6B2539E2}" type="slidenum">
              <a:rPr lang="en-US" smtClean="0"/>
              <a:pPr/>
              <a:t>28</a:t>
            </a:fld>
            <a:endParaRPr lang="en-US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D176AFD-051B-A8EC-C141-196E5AF2CAB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9425" y="778321"/>
            <a:ext cx="11233150" cy="312008"/>
          </a:xfrm>
        </p:spPr>
        <p:txBody>
          <a:bodyPr/>
          <a:lstStyle/>
          <a:p>
            <a:r>
              <a:rPr lang="de-DE" dirty="0"/>
              <a:t>Arterien Segmentierung </a:t>
            </a:r>
            <a:r>
              <a:rPr lang="de-DE" sz="2000" b="0" i="0" kern="1200" dirty="0">
                <a:solidFill>
                  <a:srgbClr val="084653"/>
                </a:solidFill>
                <a:effectLst/>
                <a:latin typeface="Myriad Pro" panose="020B0503030403020204"/>
                <a:ea typeface="+mn-ea"/>
                <a:cs typeface="+mn-cs"/>
              </a:rPr>
              <a:t>—</a:t>
            </a:r>
            <a:r>
              <a:rPr lang="de-DE" dirty="0"/>
              <a:t> Multi-Network Approach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43F43064-270A-A7BE-68AB-82F99F6FA75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8199" y="1703388"/>
            <a:ext cx="3492500" cy="249620"/>
          </a:xfrm>
        </p:spPr>
        <p:txBody>
          <a:bodyPr/>
          <a:lstStyle/>
          <a:p>
            <a:r>
              <a:rPr lang="de-DE" dirty="0"/>
              <a:t>GT </a:t>
            </a:r>
            <a:r>
              <a:rPr lang="de-DE" dirty="0" err="1"/>
              <a:t>Bounding</a:t>
            </a:r>
            <a:r>
              <a:rPr lang="de-DE" dirty="0"/>
              <a:t> Box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144A8D41-C820-FD79-C75D-5DFEBA12A36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332288" y="1703388"/>
            <a:ext cx="3492500" cy="249620"/>
          </a:xfrm>
        </p:spPr>
        <p:txBody>
          <a:bodyPr/>
          <a:lstStyle/>
          <a:p>
            <a:r>
              <a:rPr lang="de-DE" dirty="0"/>
              <a:t>YOLOv5 </a:t>
            </a:r>
            <a:r>
              <a:rPr lang="de-DE" dirty="0" err="1"/>
              <a:t>Bounding</a:t>
            </a:r>
            <a:r>
              <a:rPr lang="de-DE" dirty="0"/>
              <a:t> Box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C9EF32F2-42EB-48AF-4F26-3081763605C9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220075" y="1703388"/>
            <a:ext cx="3492500" cy="249620"/>
          </a:xfrm>
        </p:spPr>
        <p:txBody>
          <a:bodyPr/>
          <a:lstStyle/>
          <a:p>
            <a:r>
              <a:rPr lang="de-DE" dirty="0"/>
              <a:t>U-Net </a:t>
            </a:r>
            <a:r>
              <a:rPr lang="de-DE" dirty="0" err="1"/>
              <a:t>Bounding</a:t>
            </a:r>
            <a:r>
              <a:rPr lang="de-DE" dirty="0"/>
              <a:t> Box</a:t>
            </a:r>
          </a:p>
        </p:txBody>
      </p:sp>
      <p:pic>
        <p:nvPicPr>
          <p:cNvPr id="19" name="Grafik 18" descr="Ein Bild, das Karte enthält.&#10;&#10;Automatisch generierte Beschreibung">
            <a:extLst>
              <a:ext uri="{FF2B5EF4-FFF2-40B4-BE49-F238E27FC236}">
                <a16:creationId xmlns:a16="http://schemas.microsoft.com/office/drawing/2014/main" id="{E296BC29-87DD-B59A-348B-92D12AF10D3A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32287" y="2079000"/>
            <a:ext cx="2447925" cy="1826828"/>
          </a:xfrm>
          <a:prstGeom prst="rect">
            <a:avLst/>
          </a:prstGeom>
        </p:spPr>
      </p:pic>
      <p:pic>
        <p:nvPicPr>
          <p:cNvPr id="20" name="Grafik 19" descr="Ein Bild, das Karte enthält.&#10;&#10;Automatisch generierte Beschreibung">
            <a:extLst>
              <a:ext uri="{FF2B5EF4-FFF2-40B4-BE49-F238E27FC236}">
                <a16:creationId xmlns:a16="http://schemas.microsoft.com/office/drawing/2014/main" id="{B207C85D-97BF-CFBE-929D-97A8B7D163F8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20074" y="2075648"/>
            <a:ext cx="2447925" cy="1835944"/>
          </a:xfrm>
          <a:prstGeom prst="rect">
            <a:avLst/>
          </a:prstGeom>
        </p:spPr>
      </p:pic>
      <p:pic>
        <p:nvPicPr>
          <p:cNvPr id="21" name="Grafik 20" descr="Ein Bild, das Karte enthält.&#10;&#10;Automatisch generierte Beschreibung">
            <a:extLst>
              <a:ext uri="{FF2B5EF4-FFF2-40B4-BE49-F238E27FC236}">
                <a16:creationId xmlns:a16="http://schemas.microsoft.com/office/drawing/2014/main" id="{18AFCCF0-B4DE-8C04-FB6B-2A3038DA9F4B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8198" y="2079000"/>
            <a:ext cx="2447925" cy="1835944"/>
          </a:xfrm>
          <a:prstGeom prst="rect">
            <a:avLst/>
          </a:prstGeom>
        </p:spPr>
      </p:pic>
      <p:pic>
        <p:nvPicPr>
          <p:cNvPr id="22" name="Grafik 21" descr="Ein Bild, das Text enthält.&#10;&#10;Automatisch generierte Beschreibung">
            <a:extLst>
              <a:ext uri="{FF2B5EF4-FFF2-40B4-BE49-F238E27FC236}">
                <a16:creationId xmlns:a16="http://schemas.microsoft.com/office/drawing/2014/main" id="{8BA5FF15-E61B-01A7-DAA5-2104F2CBD141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8198" y="4117434"/>
            <a:ext cx="2447925" cy="1818287"/>
          </a:xfrm>
          <a:prstGeom prst="rect">
            <a:avLst/>
          </a:prstGeom>
        </p:spPr>
      </p:pic>
      <p:pic>
        <p:nvPicPr>
          <p:cNvPr id="23" name="Grafik 22" descr="Ein Bild, das Text enthält.&#10;&#10;Automatisch generierte Beschreibung">
            <a:extLst>
              <a:ext uri="{FF2B5EF4-FFF2-40B4-BE49-F238E27FC236}">
                <a16:creationId xmlns:a16="http://schemas.microsoft.com/office/drawing/2014/main" id="{847AAC5E-9BE7-9F3E-0C9E-A3CF824D764E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20074" y="4133915"/>
            <a:ext cx="2447925" cy="1818287"/>
          </a:xfrm>
          <a:prstGeom prst="rect">
            <a:avLst/>
          </a:prstGeom>
        </p:spPr>
      </p:pic>
      <p:pic>
        <p:nvPicPr>
          <p:cNvPr id="24" name="Grafik 23" descr="Ein Bild, das Karte enthält.&#10;&#10;Automatisch generierte Beschreibung">
            <a:extLst>
              <a:ext uri="{FF2B5EF4-FFF2-40B4-BE49-F238E27FC236}">
                <a16:creationId xmlns:a16="http://schemas.microsoft.com/office/drawing/2014/main" id="{16F2DAB7-2AA0-E557-CB41-FD03A9BDF2FF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49136" y="4117434"/>
            <a:ext cx="2447925" cy="1873260"/>
          </a:xfrm>
          <a:prstGeom prst="rect">
            <a:avLst/>
          </a:prstGeom>
        </p:spPr>
      </p:pic>
      <p:pic>
        <p:nvPicPr>
          <p:cNvPr id="7" name="Grafik 6">
            <a:extLst>
              <a:ext uri="{FF2B5EF4-FFF2-40B4-BE49-F238E27FC236}">
                <a16:creationId xmlns:a16="http://schemas.microsoft.com/office/drawing/2014/main" id="{C0CEBA0B-D35F-828E-B5BA-CCADFDDBE239}"/>
              </a:ext>
            </a:extLst>
          </p:cNvPr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21502" y="191192"/>
            <a:ext cx="3744886" cy="1130532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661844788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3" name="Diagram 4">
            <a:extLst>
              <a:ext uri="{FF2B5EF4-FFF2-40B4-BE49-F238E27FC236}">
                <a16:creationId xmlns:a16="http://schemas.microsoft.com/office/drawing/2014/main" id="{B919F797-3AD1-4A8F-85AA-E4D6A65BA46E}"/>
              </a:ext>
            </a:extLst>
          </p:cNvPr>
          <p:cNvGraphicFramePr/>
          <p:nvPr/>
        </p:nvGraphicFramePr>
        <p:xfrm>
          <a:off x="8094940" y="3061452"/>
          <a:ext cx="1415346" cy="217170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graphicFrame>
        <p:nvGraphicFramePr>
          <p:cNvPr id="42" name="Diagram 4">
            <a:extLst>
              <a:ext uri="{FF2B5EF4-FFF2-40B4-BE49-F238E27FC236}">
                <a16:creationId xmlns:a16="http://schemas.microsoft.com/office/drawing/2014/main" id="{B919F797-3AD1-4A8F-85AA-E4D6A65BA46E}"/>
              </a:ext>
            </a:extLst>
          </p:cNvPr>
          <p:cNvGraphicFramePr/>
          <p:nvPr/>
        </p:nvGraphicFramePr>
        <p:xfrm>
          <a:off x="1080081" y="589964"/>
          <a:ext cx="6220459" cy="548049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8" r:lo="rId9" r:qs="rId10" r:cs="rId11"/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9DCF5550-E586-2F4D-9BFF-EA2A23A3AC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395588"/>
            <a:ext cx="11233150" cy="375487"/>
          </a:xfrm>
        </p:spPr>
        <p:txBody>
          <a:bodyPr/>
          <a:lstStyle/>
          <a:p>
            <a:r>
              <a:rPr lang="de-DE" dirty="0"/>
              <a:t>Gliederung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6F2406C-7AB3-BA48-4B8A-67E2CFC7E9B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/>
              <a:t>© Universität zu Lübeck</a:t>
            </a:r>
            <a:endParaRPr lang="de-DE" noProof="0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22CA16D0-0D58-A287-9D07-D4F19469A6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 noProof="0"/>
              <a:t>Seite</a:t>
            </a:r>
            <a:r>
              <a:rPr lang="en-US"/>
              <a:t> </a:t>
            </a:r>
            <a:fld id="{401BA3E4-5E55-4F99-AF09-CC6D6B2539E2}" type="slidenum">
              <a:rPr lang="en-US" smtClean="0"/>
              <a:pPr/>
              <a:t>29</a:t>
            </a:fld>
            <a:endParaRPr lang="en-US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607EBF9-EC8B-9F58-CF49-88CB210BFF0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5A82B2D-840F-4167-AD44-C02BC9C87CCB}" type="datetime1">
              <a:rPr lang="de-DE" noProof="0" smtClean="0"/>
              <a:t>15.11.22</a:t>
            </a:fld>
            <a:endParaRPr lang="de-DE" noProof="0" dirty="0"/>
          </a:p>
        </p:txBody>
      </p:sp>
      <p:pic>
        <p:nvPicPr>
          <p:cNvPr id="11" name="Grafik 10" descr="Ein Bild, das Karte enthält.&#10;&#10;Automatisch generierte Beschreibung">
            <a:extLst>
              <a:ext uri="{FF2B5EF4-FFF2-40B4-BE49-F238E27FC236}">
                <a16:creationId xmlns:a16="http://schemas.microsoft.com/office/drawing/2014/main" id="{8DCD45CA-3EE6-58F1-DFB2-13FFBAD61A28}"/>
              </a:ext>
            </a:extLst>
          </p:cNvPr>
          <p:cNvPicPr>
            <a:picLocks noChangeAspect="1"/>
          </p:cNvPicPr>
          <p:nvPr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66337" y="3427303"/>
            <a:ext cx="1920000" cy="1440000"/>
          </a:xfrm>
          <a:prstGeom prst="rect">
            <a:avLst/>
          </a:prstGeom>
          <a:ln>
            <a:solidFill>
              <a:schemeClr val="accent1"/>
            </a:solidFill>
          </a:ln>
        </p:spPr>
      </p:pic>
      <p:pic>
        <p:nvPicPr>
          <p:cNvPr id="13" name="Grafik 12" descr="Ein Bild, das Schuhe enthält.&#10;&#10;Automatisch generierte Beschreibung">
            <a:extLst>
              <a:ext uri="{FF2B5EF4-FFF2-40B4-BE49-F238E27FC236}">
                <a16:creationId xmlns:a16="http://schemas.microsoft.com/office/drawing/2014/main" id="{4267AC41-BE3A-A0E7-56B8-3C950FC8CCA9}"/>
              </a:ext>
            </a:extLst>
          </p:cNvPr>
          <p:cNvPicPr>
            <a:picLocks noChangeAspect="1"/>
          </p:cNvPicPr>
          <p:nvPr/>
        </p:nvPicPr>
        <p:blipFill>
          <a:blip r:embed="rId1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676616" y="3427302"/>
            <a:ext cx="1920000" cy="1440000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4" name="Grafik 13">
            <a:extLst>
              <a:ext uri="{FF2B5EF4-FFF2-40B4-BE49-F238E27FC236}">
                <a16:creationId xmlns:a16="http://schemas.microsoft.com/office/drawing/2014/main" id="{242F2DB2-2B0E-AE0B-37C3-EE40808E80AE}"/>
              </a:ext>
            </a:extLst>
          </p:cNvPr>
          <p:cNvPicPr>
            <a:picLocks noChangeAspect="1"/>
          </p:cNvPicPr>
          <p:nvPr/>
        </p:nvPicPr>
        <p:blipFill>
          <a:blip r:embed="rId1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6000" y="3427303"/>
            <a:ext cx="1920000" cy="1440000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39" name="Textfeld 38">
            <a:extLst>
              <a:ext uri="{FF2B5EF4-FFF2-40B4-BE49-F238E27FC236}">
                <a16:creationId xmlns:a16="http://schemas.microsoft.com/office/drawing/2014/main" id="{888E936E-A2EF-4C6B-BA71-DCCE49BE021D}"/>
              </a:ext>
            </a:extLst>
          </p:cNvPr>
          <p:cNvSpPr txBox="1"/>
          <p:nvPr/>
        </p:nvSpPr>
        <p:spPr bwMode="gray">
          <a:xfrm>
            <a:off x="9638307" y="2679489"/>
            <a:ext cx="1996618" cy="65598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/>
          <a:p>
            <a:pPr algn="ctr"/>
            <a:r>
              <a:rPr lang="de-DE" dirty="0"/>
              <a:t>Segmentierung</a:t>
            </a:r>
          </a:p>
          <a:p>
            <a:pPr algn="ctr"/>
            <a:r>
              <a:rPr lang="de-DE" dirty="0"/>
              <a:t>der Plaques</a:t>
            </a: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71289FB9-BA1E-7C68-0426-32E60CDD3E24}"/>
              </a:ext>
            </a:extLst>
          </p:cNvPr>
          <p:cNvPicPr>
            <a:picLocks noChangeAspect="1"/>
          </p:cNvPicPr>
          <p:nvPr/>
        </p:nvPicPr>
        <p:blipFill>
          <a:blip r:embed="rId1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21502" y="191192"/>
            <a:ext cx="3744886" cy="1130532"/>
          </a:xfrm>
          <a:prstGeom prst="rect">
            <a:avLst/>
          </a:prstGeom>
          <a:noFill/>
        </p:spPr>
      </p:pic>
      <p:sp>
        <p:nvSpPr>
          <p:cNvPr id="15" name="Textfeld 14">
            <a:extLst>
              <a:ext uri="{FF2B5EF4-FFF2-40B4-BE49-F238E27FC236}">
                <a16:creationId xmlns:a16="http://schemas.microsoft.com/office/drawing/2014/main" id="{6ED7849F-B77B-031F-232B-53F1C0071BD2}"/>
              </a:ext>
            </a:extLst>
          </p:cNvPr>
          <p:cNvSpPr txBox="1"/>
          <p:nvPr/>
        </p:nvSpPr>
        <p:spPr bwMode="gray">
          <a:xfrm>
            <a:off x="6096000" y="2668482"/>
            <a:ext cx="1996618" cy="65598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/>
          <a:p>
            <a:pPr algn="ctr"/>
            <a:r>
              <a:rPr lang="de-DE" dirty="0"/>
              <a:t>Segmentierung</a:t>
            </a:r>
          </a:p>
          <a:p>
            <a:pPr algn="ctr"/>
            <a:r>
              <a:rPr lang="de-DE" dirty="0"/>
              <a:t>der Arterien</a:t>
            </a:r>
          </a:p>
        </p:txBody>
      </p:sp>
      <p:sp>
        <p:nvSpPr>
          <p:cNvPr id="28" name="Textfeld 27">
            <a:extLst>
              <a:ext uri="{FF2B5EF4-FFF2-40B4-BE49-F238E27FC236}">
                <a16:creationId xmlns:a16="http://schemas.microsoft.com/office/drawing/2014/main" id="{1C98C6BF-F6CB-E9D9-0B20-0C09110355E8}"/>
              </a:ext>
            </a:extLst>
          </p:cNvPr>
          <p:cNvSpPr txBox="1"/>
          <p:nvPr/>
        </p:nvSpPr>
        <p:spPr bwMode="gray">
          <a:xfrm>
            <a:off x="8068430" y="2216787"/>
            <a:ext cx="1996618" cy="65598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/>
          <a:p>
            <a:pPr algn="ctr"/>
            <a:r>
              <a:rPr lang="de-DE" sz="1400" dirty="0"/>
              <a:t>Morph. K-NN</a:t>
            </a:r>
          </a:p>
        </p:txBody>
      </p:sp>
      <p:sp>
        <p:nvSpPr>
          <p:cNvPr id="30" name="Textfeld 29">
            <a:extLst>
              <a:ext uri="{FF2B5EF4-FFF2-40B4-BE49-F238E27FC236}">
                <a16:creationId xmlns:a16="http://schemas.microsoft.com/office/drawing/2014/main" id="{F587367C-BC98-E609-D58A-F95341C38081}"/>
              </a:ext>
            </a:extLst>
          </p:cNvPr>
          <p:cNvSpPr txBox="1"/>
          <p:nvPr/>
        </p:nvSpPr>
        <p:spPr bwMode="gray">
          <a:xfrm>
            <a:off x="8016000" y="4690082"/>
            <a:ext cx="1996618" cy="65598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/>
          <a:p>
            <a:pPr algn="ctr"/>
            <a:r>
              <a:rPr lang="de-DE" sz="1400" dirty="0"/>
              <a:t>W-Net</a:t>
            </a:r>
          </a:p>
        </p:txBody>
      </p:sp>
      <p:grpSp>
        <p:nvGrpSpPr>
          <p:cNvPr id="95" name="Gruppieren 94">
            <a:extLst>
              <a:ext uri="{FF2B5EF4-FFF2-40B4-BE49-F238E27FC236}">
                <a16:creationId xmlns:a16="http://schemas.microsoft.com/office/drawing/2014/main" id="{BA3F15CF-61A4-7F53-83C8-837E38521BE7}"/>
              </a:ext>
            </a:extLst>
          </p:cNvPr>
          <p:cNvGrpSpPr/>
          <p:nvPr/>
        </p:nvGrpSpPr>
        <p:grpSpPr>
          <a:xfrm>
            <a:off x="8207917" y="5231844"/>
            <a:ext cx="1717643" cy="799363"/>
            <a:chOff x="4554249" y="1721366"/>
            <a:chExt cx="7168120" cy="3335924"/>
          </a:xfrm>
        </p:grpSpPr>
        <p:pic>
          <p:nvPicPr>
            <p:cNvPr id="96" name="Grafik 95" descr="Ein Bild, das Metallwaren enthält.&#10;&#10;Automatisch generierte Beschreibung">
              <a:extLst>
                <a:ext uri="{FF2B5EF4-FFF2-40B4-BE49-F238E27FC236}">
                  <a16:creationId xmlns:a16="http://schemas.microsoft.com/office/drawing/2014/main" id="{2DB799B7-61A5-54FE-CB45-A0C2427B357B}"/>
                </a:ext>
              </a:extLst>
            </p:cNvPr>
            <p:cNvPicPr>
              <a:picLocks noChangeAspect="1"/>
            </p:cNvPicPr>
            <p:nvPr/>
          </p:nvPicPr>
          <p:blipFill>
            <a:blip r:embed="rId1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554249" y="1754999"/>
              <a:ext cx="814157" cy="610618"/>
            </a:xfrm>
            <a:prstGeom prst="rect">
              <a:avLst/>
            </a:prstGeom>
          </p:spPr>
        </p:pic>
        <p:pic>
          <p:nvPicPr>
            <p:cNvPr id="97" name="Grafik 96" descr="Ein Bild, das Metallwaren enthält.&#10;&#10;Automatisch generierte Beschreibung">
              <a:extLst>
                <a:ext uri="{FF2B5EF4-FFF2-40B4-BE49-F238E27FC236}">
                  <a16:creationId xmlns:a16="http://schemas.microsoft.com/office/drawing/2014/main" id="{8E9877AB-38C4-6C25-2B9C-0DDCF31CAC59}"/>
                </a:ext>
              </a:extLst>
            </p:cNvPr>
            <p:cNvPicPr>
              <a:picLocks noChangeAspect="1"/>
            </p:cNvPicPr>
            <p:nvPr/>
          </p:nvPicPr>
          <p:blipFill>
            <a:blip r:embed="rId1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0908212" y="1754999"/>
              <a:ext cx="814157" cy="610618"/>
            </a:xfrm>
            <a:prstGeom prst="rect">
              <a:avLst/>
            </a:prstGeom>
          </p:spPr>
        </p:pic>
        <p:pic>
          <p:nvPicPr>
            <p:cNvPr id="98" name="Grafik 97">
              <a:extLst>
                <a:ext uri="{FF2B5EF4-FFF2-40B4-BE49-F238E27FC236}">
                  <a16:creationId xmlns:a16="http://schemas.microsoft.com/office/drawing/2014/main" id="{9468951C-0962-9012-4365-99B75F364C9B}"/>
                </a:ext>
              </a:extLst>
            </p:cNvPr>
            <p:cNvPicPr>
              <a:picLocks noChangeAspect="1"/>
            </p:cNvPicPr>
            <p:nvPr/>
          </p:nvPicPr>
          <p:blipFill>
            <a:blip r:embed="rId18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323506" y="1721366"/>
              <a:ext cx="5618586" cy="2707328"/>
            </a:xfrm>
            <a:prstGeom prst="rect">
              <a:avLst/>
            </a:prstGeom>
          </p:spPr>
        </p:pic>
        <p:pic>
          <p:nvPicPr>
            <p:cNvPr id="99" name="Grafik 98">
              <a:extLst>
                <a:ext uri="{FF2B5EF4-FFF2-40B4-BE49-F238E27FC236}">
                  <a16:creationId xmlns:a16="http://schemas.microsoft.com/office/drawing/2014/main" id="{5717B2B3-E1AE-BA15-8997-281D0D5A7E26}"/>
                </a:ext>
              </a:extLst>
            </p:cNvPr>
            <p:cNvPicPr>
              <a:picLocks noChangeAspect="1"/>
            </p:cNvPicPr>
            <p:nvPr/>
          </p:nvPicPr>
          <p:blipFill>
            <a:blip r:embed="rId19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581072" y="4446672"/>
              <a:ext cx="814157" cy="610618"/>
            </a:xfrm>
            <a:prstGeom prst="rect">
              <a:avLst/>
            </a:prstGeom>
          </p:spPr>
        </p:pic>
      </p:grpSp>
      <p:pic>
        <p:nvPicPr>
          <p:cNvPr id="103" name="Grafik 102">
            <a:extLst>
              <a:ext uri="{FF2B5EF4-FFF2-40B4-BE49-F238E27FC236}">
                <a16:creationId xmlns:a16="http://schemas.microsoft.com/office/drawing/2014/main" id="{F5218157-4099-86F2-D213-52329BD2CE9E}"/>
              </a:ext>
            </a:extLst>
          </p:cNvPr>
          <p:cNvPicPr>
            <a:picLocks noChangeAspect="1"/>
          </p:cNvPicPr>
          <p:nvPr/>
        </p:nvPicPr>
        <p:blipFill>
          <a:blip r:embed="rId2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661679" y="2728562"/>
            <a:ext cx="740798" cy="547215"/>
          </a:xfrm>
          <a:prstGeom prst="rect">
            <a:avLst/>
          </a:prstGeom>
        </p:spPr>
      </p:pic>
      <p:sp>
        <p:nvSpPr>
          <p:cNvPr id="45" name="Textfeld 44">
            <a:extLst>
              <a:ext uri="{FF2B5EF4-FFF2-40B4-BE49-F238E27FC236}">
                <a16:creationId xmlns:a16="http://schemas.microsoft.com/office/drawing/2014/main" id="{6ED7849F-B77B-031F-232B-53F1C0071BD2}"/>
              </a:ext>
            </a:extLst>
          </p:cNvPr>
          <p:cNvSpPr txBox="1"/>
          <p:nvPr/>
        </p:nvSpPr>
        <p:spPr bwMode="gray">
          <a:xfrm>
            <a:off x="228028" y="2668482"/>
            <a:ext cx="1996618" cy="65598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/>
          <a:p>
            <a:pPr algn="ctr"/>
            <a:r>
              <a:rPr lang="de-DE" dirty="0"/>
              <a:t>Histologischer</a:t>
            </a:r>
          </a:p>
          <a:p>
            <a:pPr algn="ctr"/>
            <a:r>
              <a:rPr lang="de-DE" dirty="0"/>
              <a:t> Schnitt</a:t>
            </a: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40559F06-75DC-F590-ACBF-1746796DAE37}"/>
              </a:ext>
            </a:extLst>
          </p:cNvPr>
          <p:cNvSpPr/>
          <p:nvPr/>
        </p:nvSpPr>
        <p:spPr>
          <a:xfrm>
            <a:off x="2926269" y="522617"/>
            <a:ext cx="3100989" cy="3777484"/>
          </a:xfrm>
          <a:prstGeom prst="rect">
            <a:avLst/>
          </a:prstGeom>
          <a:solidFill>
            <a:srgbClr val="FFFFFF">
              <a:alpha val="81961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de-DE" sz="1400" dirty="0">
              <a:solidFill>
                <a:schemeClr val="tx1"/>
              </a:solidFill>
            </a:endParaRP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35FD5557-B201-B2D3-1CD6-27E6DEB3DC45}"/>
              </a:ext>
            </a:extLst>
          </p:cNvPr>
          <p:cNvSpPr/>
          <p:nvPr/>
        </p:nvSpPr>
        <p:spPr>
          <a:xfrm>
            <a:off x="8077272" y="2400101"/>
            <a:ext cx="3696575" cy="3631106"/>
          </a:xfrm>
          <a:prstGeom prst="rect">
            <a:avLst/>
          </a:prstGeom>
          <a:solidFill>
            <a:srgbClr val="FFFFFF">
              <a:alpha val="81961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de-DE" sz="1400" dirty="0">
              <a:solidFill>
                <a:schemeClr val="tx1"/>
              </a:solidFill>
            </a:endParaRP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4BE02391-7D43-4624-A7B9-60362AA7E67E}"/>
              </a:ext>
            </a:extLst>
          </p:cNvPr>
          <p:cNvSpPr/>
          <p:nvPr/>
        </p:nvSpPr>
        <p:spPr>
          <a:xfrm flipV="1">
            <a:off x="2672454" y="2557900"/>
            <a:ext cx="251721" cy="1613080"/>
          </a:xfrm>
          <a:prstGeom prst="rect">
            <a:avLst/>
          </a:prstGeom>
          <a:solidFill>
            <a:srgbClr val="FFFFFF">
              <a:alpha val="81961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de-DE" sz="1400" dirty="0">
              <a:solidFill>
                <a:schemeClr val="tx1"/>
              </a:solidFill>
            </a:endParaRP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1A6DB85A-0EBD-6981-D33F-10FEF1BE881D}"/>
              </a:ext>
            </a:extLst>
          </p:cNvPr>
          <p:cNvSpPr/>
          <p:nvPr/>
        </p:nvSpPr>
        <p:spPr>
          <a:xfrm>
            <a:off x="2747963" y="4300100"/>
            <a:ext cx="3202783" cy="757676"/>
          </a:xfrm>
          <a:prstGeom prst="rect">
            <a:avLst/>
          </a:prstGeom>
          <a:solidFill>
            <a:srgbClr val="FFFFFF">
              <a:alpha val="81961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de-DE" sz="14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1742368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Bildplatzhalter 10" descr="Ein Bild, das Karte enthält.&#10;&#10;Automatisch generierte Beschreibung">
            <a:extLst>
              <a:ext uri="{FF2B5EF4-FFF2-40B4-BE49-F238E27FC236}">
                <a16:creationId xmlns:a16="http://schemas.microsoft.com/office/drawing/2014/main" id="{4464BE21-63DF-4273-2B90-2772FAB447ED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/>
      </p:pic>
      <p:sp>
        <p:nvSpPr>
          <p:cNvPr id="9" name="Textplatzhalter 8">
            <a:extLst>
              <a:ext uri="{FF2B5EF4-FFF2-40B4-BE49-F238E27FC236}">
                <a16:creationId xmlns:a16="http://schemas.microsoft.com/office/drawing/2014/main" id="{63252765-8AAB-0D7D-140D-9A674783D95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275388" y="3149600"/>
            <a:ext cx="5916612" cy="1226207"/>
          </a:xfrm>
        </p:spPr>
        <p:txBody>
          <a:bodyPr/>
          <a:lstStyle/>
          <a:p>
            <a:r>
              <a:rPr lang="de-DE" dirty="0"/>
              <a:t>Einleitung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D3F0887C-465B-A3BF-10C6-02C60E0E7B25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65A82B2D-840F-4167-AD44-C02BC9C87CCB}" type="datetime1">
              <a:rPr lang="de-DE" noProof="0" smtClean="0"/>
              <a:t>15.11.22</a:t>
            </a:fld>
            <a:endParaRPr lang="de-DE" noProof="0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C6CA78DA-5E7F-45E8-B541-F49766676E88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 noProof="0"/>
              <a:t>© Universität zu Lübeck</a:t>
            </a:r>
            <a:endParaRPr lang="de-DE" noProof="0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F1582926-271D-C51B-6C1C-C2199E82499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r>
              <a:rPr lang="de-DE" noProof="0"/>
              <a:t>Seite</a:t>
            </a:r>
            <a:r>
              <a:rPr lang="en-US"/>
              <a:t> </a:t>
            </a:r>
            <a:fld id="{401BA3E4-5E55-4F99-AF09-CC6D6B2539E2}" type="slidenum">
              <a:rPr lang="en-US" smtClean="0"/>
              <a:pPr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1744470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B9F5726-9743-559C-44B7-28BCF753CDA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395588"/>
            <a:ext cx="11233150" cy="374398"/>
          </a:xfrm>
        </p:spPr>
        <p:txBody>
          <a:bodyPr/>
          <a:lstStyle/>
          <a:p>
            <a:r>
              <a:rPr lang="de-DE" dirty="0"/>
              <a:t>Methode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0A4E1061-0C55-7450-F7F3-0ECA40053FB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225054-8F4D-4B67-8803-E473E83FD8A6}" type="datetime1">
              <a:rPr lang="de-DE" noProof="0" smtClean="0"/>
              <a:t>15.11.22</a:t>
            </a:fld>
            <a:endParaRPr lang="de-DE" noProof="0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85026CBD-C28D-1239-FF11-CB093AC93CB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/>
              <a:t>© Universität zu Lübeck</a:t>
            </a:r>
            <a:endParaRPr lang="de-DE" noProof="0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B3D8F5EA-A8A7-1DEA-C1C9-FE439AFE483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 noProof="0"/>
              <a:t>Seite</a:t>
            </a:r>
            <a:r>
              <a:rPr lang="en-US"/>
              <a:t> </a:t>
            </a:r>
            <a:fld id="{401BA3E4-5E55-4F99-AF09-CC6D6B2539E2}" type="slidenum">
              <a:rPr lang="en-US" smtClean="0"/>
              <a:pPr/>
              <a:t>30</a:t>
            </a:fld>
            <a:endParaRPr lang="en-US" dirty="0"/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660676AF-70D0-59AF-4157-1564C600A56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9425" y="778321"/>
            <a:ext cx="11233150" cy="312008"/>
          </a:xfrm>
        </p:spPr>
        <p:txBody>
          <a:bodyPr/>
          <a:lstStyle/>
          <a:p>
            <a:r>
              <a:rPr lang="de-DE" dirty="0"/>
              <a:t>Arterien Segmentierung </a:t>
            </a:r>
            <a:r>
              <a:rPr lang="de-DE" sz="2000" dirty="0"/>
              <a:t>— Ensemble Kombination</a:t>
            </a:r>
            <a:endParaRPr lang="de-DE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3" name="Textplatzhalter 12">
                <a:extLst>
                  <a:ext uri="{FF2B5EF4-FFF2-40B4-BE49-F238E27FC236}">
                    <a16:creationId xmlns:a16="http://schemas.microsoft.com/office/drawing/2014/main" id="{8FAE9A0D-F9B2-6E44-ACDA-6BDAD567765D}"/>
                  </a:ext>
                </a:extLst>
              </p:cNvPr>
              <p:cNvSpPr>
                <a:spLocks noGrp="1"/>
              </p:cNvSpPr>
              <p:nvPr>
                <p:ph type="body" sz="quarter" idx="14"/>
              </p:nvPr>
            </p:nvSpPr>
            <p:spPr>
              <a:xfrm>
                <a:off x="478199" y="1703388"/>
                <a:ext cx="11233150" cy="3536224"/>
              </a:xfrm>
            </p:spPr>
            <p:txBody>
              <a:bodyPr/>
              <a:lstStyle/>
              <a:p>
                <a:pPr lvl="2"/>
                <a:r>
                  <a:rPr lang="de-DE" dirty="0"/>
                  <a:t>Kombination mehrerer Netzwerkausgaben</a:t>
                </a:r>
              </a:p>
              <a:p>
                <a:pPr lvl="3"/>
                <a:r>
                  <a:rPr lang="de-DE" dirty="0"/>
                  <a:t>Robustheit und Fehlertoleranz </a:t>
                </a:r>
              </a:p>
              <a:p>
                <a:pPr lvl="3"/>
                <a:r>
                  <a:rPr lang="de-DE" dirty="0"/>
                  <a:t>Überwinden lokaler Optima</a:t>
                </a:r>
              </a:p>
              <a:p>
                <a:pPr lvl="3"/>
                <a:r>
                  <a:rPr lang="de-DE" dirty="0"/>
                  <a:t>Mehrere Netzwerktrainings</a:t>
                </a:r>
              </a:p>
              <a:p>
                <a:pPr lvl="4"/>
                <a:r>
                  <a:rPr lang="de-DE" dirty="0"/>
                  <a:t>Homogenes und Heterogenes Ensemble</a:t>
                </a:r>
              </a:p>
              <a:p>
                <a:pPr lvl="3"/>
                <a:r>
                  <a:rPr lang="de-DE" dirty="0"/>
                  <a:t>Einzelnes Netzwerktraining</a:t>
                </a:r>
              </a:p>
              <a:p>
                <a:pPr lvl="4"/>
                <a:r>
                  <a:rPr lang="de-DE" dirty="0" err="1"/>
                  <a:t>Implicites</a:t>
                </a:r>
                <a:r>
                  <a:rPr lang="de-DE" dirty="0"/>
                  <a:t> und </a:t>
                </a:r>
                <a:r>
                  <a:rPr lang="de-DE" dirty="0" err="1"/>
                  <a:t>Explicites</a:t>
                </a:r>
                <a:r>
                  <a:rPr lang="de-DE" dirty="0"/>
                  <a:t> Ensemble</a:t>
                </a:r>
              </a:p>
              <a:p>
                <a:pPr lvl="2"/>
                <a:r>
                  <a:rPr lang="de-DE" dirty="0"/>
                  <a:t>Output Maske durch Average</a:t>
                </a:r>
              </a:p>
              <a:p>
                <a:pPr lvl="2"/>
                <a:r>
                  <a:rPr lang="de-DE" dirty="0"/>
                  <a:t>Output Maske durch Überlappen</a:t>
                </a:r>
              </a:p>
              <a:p>
                <a:pPr lvl="3"/>
                <a:r>
                  <a:rPr lang="de-DE" dirty="0"/>
                  <a:t>Konsens von</a:t>
                </a:r>
                <a:r>
                  <a:rPr lang="de-DE" b="0" dirty="0"/>
                  <a:t> </a:t>
                </a:r>
                <a14:m>
                  <m:oMath xmlns:m="http://schemas.openxmlformats.org/officeDocument/2006/math">
                    <m:r>
                      <a:rPr lang="de-DE" b="0" i="1" smtClean="0">
                        <a:latin typeface="Cambria Math" panose="02040503050406030204" pitchFamily="18" charset="0"/>
                      </a:rPr>
                      <m:t>𝑛</m:t>
                    </m:r>
                    <m:r>
                      <a:rPr lang="de-DE" b="0" i="1" smtClean="0">
                        <a:latin typeface="Cambria Math" panose="02040503050406030204" pitchFamily="18" charset="0"/>
                      </a:rPr>
                      <m:t>≥</m:t>
                    </m:r>
                    <m:r>
                      <a:rPr lang="de-DE" b="0" i="1" smtClean="0">
                        <a:latin typeface="Cambria Math" panose="02040503050406030204" pitchFamily="18" charset="0"/>
                      </a:rPr>
                      <m:t>𝛼</m:t>
                    </m:r>
                  </m:oMath>
                </a14:m>
                <a:r>
                  <a:rPr lang="de-DE" dirty="0"/>
                  <a:t> Outputs </a:t>
                </a:r>
              </a:p>
              <a:p>
                <a:pPr lvl="4"/>
                <a:r>
                  <a:rPr lang="de-DE" dirty="0"/>
                  <a:t>Klassifikation des Pixels als Arterie</a:t>
                </a:r>
              </a:p>
              <a:p>
                <a:pPr lvl="4"/>
                <a14:m>
                  <m:oMath xmlns:m="http://schemas.openxmlformats.org/officeDocument/2006/math">
                    <m:r>
                      <a:rPr lang="de-DE" b="0" i="1" smtClean="0">
                        <a:latin typeface="Cambria Math" panose="02040503050406030204" pitchFamily="18" charset="0"/>
                      </a:rPr>
                      <m:t>𝛼</m:t>
                    </m:r>
                  </m:oMath>
                </a14:m>
                <a:r>
                  <a:rPr lang="de-DE" dirty="0"/>
                  <a:t> Hyperparameter zum Feinjustieren</a:t>
                </a:r>
              </a:p>
              <a:p>
                <a:pPr lvl="4"/>
                <a:endParaRPr lang="de-DE" dirty="0"/>
              </a:p>
              <a:p>
                <a:pPr lvl="3"/>
                <a:endParaRPr lang="de-DE" dirty="0"/>
              </a:p>
              <a:p>
                <a:pPr lvl="2"/>
                <a:endParaRPr lang="de-DE" dirty="0"/>
              </a:p>
            </p:txBody>
          </p:sp>
        </mc:Choice>
        <mc:Fallback xmlns="">
          <p:sp>
            <p:nvSpPr>
              <p:cNvPr id="13" name="Textplatzhalter 12">
                <a:extLst>
                  <a:ext uri="{FF2B5EF4-FFF2-40B4-BE49-F238E27FC236}">
                    <a16:creationId xmlns:a16="http://schemas.microsoft.com/office/drawing/2014/main" id="{8FAE9A0D-F9B2-6E44-ACDA-6BDAD567765D}"/>
                  </a:ext>
                </a:extLst>
              </p:cNvPr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type="body" sz="quarter" idx="14"/>
              </p:nvPr>
            </p:nvSpPr>
            <p:spPr>
              <a:xfrm>
                <a:off x="478199" y="1703388"/>
                <a:ext cx="11233150" cy="3536224"/>
              </a:xfrm>
              <a:blipFill>
                <a:blip r:embed="rId3"/>
                <a:stretch>
                  <a:fillRect l="-977" t="-1549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6" name="Grafik 5" descr="Ein Bild, das Silhouette enthält.&#10;&#10;Automatisch generierte Beschreibung">
            <a:extLst>
              <a:ext uri="{FF2B5EF4-FFF2-40B4-BE49-F238E27FC236}">
                <a16:creationId xmlns:a16="http://schemas.microsoft.com/office/drawing/2014/main" id="{A19CC12E-C928-AFE6-4968-0FEED8E49DAD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34834" y="2001097"/>
            <a:ext cx="2103286" cy="1514984"/>
          </a:xfrm>
          <a:prstGeom prst="rect">
            <a:avLst/>
          </a:prstGeom>
          <a:scene3d>
            <a:camera prst="isometricOffAxis2Right"/>
            <a:lightRig rig="threePt" dir="t"/>
          </a:scene3d>
        </p:spPr>
      </p:pic>
      <p:pic>
        <p:nvPicPr>
          <p:cNvPr id="7" name="Grafik 6" descr="Ein Bild, das Silhouette enthält.&#10;&#10;Automatisch generierte Beschreibung">
            <a:extLst>
              <a:ext uri="{FF2B5EF4-FFF2-40B4-BE49-F238E27FC236}">
                <a16:creationId xmlns:a16="http://schemas.microsoft.com/office/drawing/2014/main" id="{7F429E5B-9A1A-6A59-2CB1-27AF59068AE1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937253" y="2001098"/>
            <a:ext cx="2103286" cy="1514984"/>
          </a:xfrm>
          <a:prstGeom prst="rect">
            <a:avLst/>
          </a:prstGeom>
          <a:scene3d>
            <a:camera prst="isometricOffAxis2Right"/>
            <a:lightRig rig="threePt" dir="t"/>
          </a:scene3d>
        </p:spPr>
      </p:pic>
      <p:pic>
        <p:nvPicPr>
          <p:cNvPr id="8" name="Grafik 7" descr="Ein Bild, das Silhouette enthält.&#10;&#10;Automatisch generierte Beschreibung">
            <a:extLst>
              <a:ext uri="{FF2B5EF4-FFF2-40B4-BE49-F238E27FC236}">
                <a16:creationId xmlns:a16="http://schemas.microsoft.com/office/drawing/2014/main" id="{73F3E12C-B032-F330-D053-4F8B4299DE29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39672" y="2001098"/>
            <a:ext cx="2103286" cy="1514984"/>
          </a:xfrm>
          <a:prstGeom prst="rect">
            <a:avLst/>
          </a:prstGeom>
          <a:scene3d>
            <a:camera prst="isometricOffAxis2Right"/>
            <a:lightRig rig="threePt" dir="t"/>
          </a:scene3d>
        </p:spPr>
      </p:pic>
      <p:pic>
        <p:nvPicPr>
          <p:cNvPr id="9" name="Grafik 8" descr="Ein Bild, das Silhouette enthält.&#10;&#10;Automatisch generierte Beschreibung">
            <a:extLst>
              <a:ext uri="{FF2B5EF4-FFF2-40B4-BE49-F238E27FC236}">
                <a16:creationId xmlns:a16="http://schemas.microsoft.com/office/drawing/2014/main" id="{6270D303-7E15-2647-E623-C280BA27CD8B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827537" y="2001097"/>
            <a:ext cx="2103286" cy="1514984"/>
          </a:xfrm>
          <a:prstGeom prst="rect">
            <a:avLst/>
          </a:prstGeom>
          <a:scene3d>
            <a:camera prst="isometricOffAxis2Right"/>
            <a:lightRig rig="threePt" dir="t"/>
          </a:scene3d>
        </p:spPr>
      </p:pic>
      <p:sp>
        <p:nvSpPr>
          <p:cNvPr id="10" name="Textfeld 9">
            <a:extLst>
              <a:ext uri="{FF2B5EF4-FFF2-40B4-BE49-F238E27FC236}">
                <a16:creationId xmlns:a16="http://schemas.microsoft.com/office/drawing/2014/main" id="{7B3A4896-8C66-8C51-F33D-B8B67EC279C6}"/>
              </a:ext>
            </a:extLst>
          </p:cNvPr>
          <p:cNvSpPr txBox="1"/>
          <p:nvPr/>
        </p:nvSpPr>
        <p:spPr>
          <a:xfrm>
            <a:off x="7191496" y="2532623"/>
            <a:ext cx="299892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/>
              <a:t>+</a:t>
            </a: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A6CFD2A2-30EA-0601-B2E2-ED3E1200E537}"/>
              </a:ext>
            </a:extLst>
          </p:cNvPr>
          <p:cNvSpPr txBox="1"/>
          <p:nvPr/>
        </p:nvSpPr>
        <p:spPr>
          <a:xfrm>
            <a:off x="8493916" y="2532623"/>
            <a:ext cx="299891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/>
              <a:t>+</a:t>
            </a:r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5FB1B624-2B1D-113A-A9A4-9D8DF840993A}"/>
              </a:ext>
            </a:extLst>
          </p:cNvPr>
          <p:cNvSpPr txBox="1"/>
          <p:nvPr/>
        </p:nvSpPr>
        <p:spPr>
          <a:xfrm>
            <a:off x="6188968" y="3904433"/>
            <a:ext cx="1153125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dirty="0"/>
              <a:t>Output</a:t>
            </a:r>
          </a:p>
          <a:p>
            <a:pPr algn="ctr"/>
            <a:r>
              <a:rPr lang="en-US" dirty="0"/>
              <a:t>Network 1</a:t>
            </a:r>
          </a:p>
        </p:txBody>
      </p:sp>
      <p:sp>
        <p:nvSpPr>
          <p:cNvPr id="15" name="Textfeld 14">
            <a:extLst>
              <a:ext uri="{FF2B5EF4-FFF2-40B4-BE49-F238E27FC236}">
                <a16:creationId xmlns:a16="http://schemas.microsoft.com/office/drawing/2014/main" id="{90062644-C77A-3471-F30C-F86E500C3752}"/>
              </a:ext>
            </a:extLst>
          </p:cNvPr>
          <p:cNvSpPr txBox="1"/>
          <p:nvPr/>
        </p:nvSpPr>
        <p:spPr>
          <a:xfrm>
            <a:off x="10116931" y="3904432"/>
            <a:ext cx="1477146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dirty="0"/>
              <a:t>Overlapped</a:t>
            </a:r>
          </a:p>
          <a:p>
            <a:pPr algn="ctr"/>
            <a:r>
              <a:rPr lang="en-US" dirty="0"/>
              <a:t>Output</a:t>
            </a:r>
          </a:p>
        </p:txBody>
      </p:sp>
      <p:sp>
        <p:nvSpPr>
          <p:cNvPr id="16" name="Textfeld 15">
            <a:extLst>
              <a:ext uri="{FF2B5EF4-FFF2-40B4-BE49-F238E27FC236}">
                <a16:creationId xmlns:a16="http://schemas.microsoft.com/office/drawing/2014/main" id="{B2380840-846B-DBF8-6191-46CD8877C792}"/>
              </a:ext>
            </a:extLst>
          </p:cNvPr>
          <p:cNvSpPr txBox="1"/>
          <p:nvPr/>
        </p:nvSpPr>
        <p:spPr>
          <a:xfrm>
            <a:off x="7491387" y="3904433"/>
            <a:ext cx="1153125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dirty="0"/>
              <a:t>Output</a:t>
            </a:r>
          </a:p>
          <a:p>
            <a:pPr algn="ctr"/>
            <a:r>
              <a:rPr lang="en-US" dirty="0"/>
              <a:t>Network 2</a:t>
            </a:r>
          </a:p>
        </p:txBody>
      </p:sp>
      <p:sp>
        <p:nvSpPr>
          <p:cNvPr id="17" name="Textfeld 16">
            <a:extLst>
              <a:ext uri="{FF2B5EF4-FFF2-40B4-BE49-F238E27FC236}">
                <a16:creationId xmlns:a16="http://schemas.microsoft.com/office/drawing/2014/main" id="{4646F0FC-FA67-D3E3-30AA-7F6148AFF1E8}"/>
              </a:ext>
            </a:extLst>
          </p:cNvPr>
          <p:cNvSpPr txBox="1"/>
          <p:nvPr/>
        </p:nvSpPr>
        <p:spPr>
          <a:xfrm>
            <a:off x="8793806" y="3904433"/>
            <a:ext cx="1153125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dirty="0"/>
              <a:t>Output</a:t>
            </a:r>
          </a:p>
          <a:p>
            <a:pPr algn="ctr"/>
            <a:r>
              <a:rPr lang="en-US" dirty="0"/>
              <a:t>Network N</a:t>
            </a:r>
          </a:p>
        </p:txBody>
      </p:sp>
      <p:sp>
        <p:nvSpPr>
          <p:cNvPr id="19" name="Textfeld 18">
            <a:extLst>
              <a:ext uri="{FF2B5EF4-FFF2-40B4-BE49-F238E27FC236}">
                <a16:creationId xmlns:a16="http://schemas.microsoft.com/office/drawing/2014/main" id="{104510BE-3C7B-3ACC-9FD8-EEAD0106385B}"/>
              </a:ext>
            </a:extLst>
          </p:cNvPr>
          <p:cNvSpPr txBox="1"/>
          <p:nvPr/>
        </p:nvSpPr>
        <p:spPr>
          <a:xfrm>
            <a:off x="9808473" y="2446018"/>
            <a:ext cx="588816" cy="48438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3600" dirty="0">
                <a:sym typeface="Wingdings" panose="05000000000000000000" pitchFamily="2" charset="2"/>
              </a:rPr>
              <a:t></a:t>
            </a:r>
            <a:endParaRPr lang="en-US" sz="3600" dirty="0"/>
          </a:p>
        </p:txBody>
      </p:sp>
      <p:pic>
        <p:nvPicPr>
          <p:cNvPr id="21" name="Grafik 20">
            <a:extLst>
              <a:ext uri="{FF2B5EF4-FFF2-40B4-BE49-F238E27FC236}">
                <a16:creationId xmlns:a16="http://schemas.microsoft.com/office/drawing/2014/main" id="{AEDE7FC1-4612-82DE-943F-CE61677B9ADB}"/>
              </a:ext>
            </a:extLst>
          </p:cNvPr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21502" y="191192"/>
            <a:ext cx="3744886" cy="1130532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21130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/>
      <p:bldP spid="11" grpId="0"/>
      <p:bldP spid="14" grpId="0"/>
      <p:bldP spid="15" grpId="0"/>
      <p:bldP spid="16" grpId="0"/>
      <p:bldP spid="17" grpId="0"/>
      <p:bldP spid="19" grpId="0"/>
    </p:bld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B9F5726-9743-559C-44B7-28BCF753CDA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395588"/>
            <a:ext cx="11233150" cy="374398"/>
          </a:xfrm>
        </p:spPr>
        <p:txBody>
          <a:bodyPr/>
          <a:lstStyle/>
          <a:p>
            <a:r>
              <a:rPr lang="de-DE" dirty="0"/>
              <a:t>Methode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0A4E1061-0C55-7450-F7F3-0ECA40053FB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225054-8F4D-4B67-8803-E473E83FD8A6}" type="datetime1">
              <a:rPr lang="de-DE" noProof="0" smtClean="0"/>
              <a:t>15.11.22</a:t>
            </a:fld>
            <a:endParaRPr lang="de-DE" noProof="0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85026CBD-C28D-1239-FF11-CB093AC93CB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/>
              <a:t>© Universität zu Lübeck</a:t>
            </a:r>
            <a:endParaRPr lang="de-DE" noProof="0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B3D8F5EA-A8A7-1DEA-C1C9-FE439AFE483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 noProof="0"/>
              <a:t>Seite</a:t>
            </a:r>
            <a:r>
              <a:rPr lang="en-US"/>
              <a:t> </a:t>
            </a:r>
            <a:fld id="{401BA3E4-5E55-4F99-AF09-CC6D6B2539E2}" type="slidenum">
              <a:rPr lang="en-US" smtClean="0"/>
              <a:pPr/>
              <a:t>31</a:t>
            </a:fld>
            <a:endParaRPr lang="en-US" dirty="0"/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660676AF-70D0-59AF-4157-1564C600A56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9425" y="778321"/>
            <a:ext cx="11233150" cy="312008"/>
          </a:xfrm>
        </p:spPr>
        <p:txBody>
          <a:bodyPr/>
          <a:lstStyle/>
          <a:p>
            <a:r>
              <a:rPr lang="de-DE" dirty="0"/>
              <a:t>Arterien Segmentierung </a:t>
            </a:r>
            <a:r>
              <a:rPr lang="de-DE" sz="2000" dirty="0"/>
              <a:t>— Homogenes Ensemble </a:t>
            </a:r>
            <a:endParaRPr lang="de-DE" dirty="0"/>
          </a:p>
        </p:txBody>
      </p:sp>
      <p:sp>
        <p:nvSpPr>
          <p:cNvPr id="90" name="Rechteck: abgerundete Ecken 89">
            <a:extLst>
              <a:ext uri="{FF2B5EF4-FFF2-40B4-BE49-F238E27FC236}">
                <a16:creationId xmlns:a16="http://schemas.microsoft.com/office/drawing/2014/main" id="{C37EC65F-6113-5E83-277F-600E27A77CA7}"/>
              </a:ext>
            </a:extLst>
          </p:cNvPr>
          <p:cNvSpPr/>
          <p:nvPr/>
        </p:nvSpPr>
        <p:spPr>
          <a:xfrm>
            <a:off x="3973607" y="5255753"/>
            <a:ext cx="1021976" cy="487961"/>
          </a:xfrm>
          <a:prstGeom prst="roundRect">
            <a:avLst/>
          </a:prstGeom>
          <a:solidFill>
            <a:schemeClr val="bg2"/>
          </a:solidFill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cxnSp>
        <p:nvCxnSpPr>
          <p:cNvPr id="91" name="Gerade Verbindung mit Pfeil 90">
            <a:extLst>
              <a:ext uri="{FF2B5EF4-FFF2-40B4-BE49-F238E27FC236}">
                <a16:creationId xmlns:a16="http://schemas.microsoft.com/office/drawing/2014/main" id="{1E9503BD-B6B2-E82B-31BB-3F4D9E9A6FC4}"/>
              </a:ext>
            </a:extLst>
          </p:cNvPr>
          <p:cNvCxnSpPr>
            <a:cxnSpLocks/>
            <a:endCxn id="119" idx="0"/>
          </p:cNvCxnSpPr>
          <p:nvPr/>
        </p:nvCxnSpPr>
        <p:spPr>
          <a:xfrm>
            <a:off x="1220730" y="3683938"/>
            <a:ext cx="140" cy="427358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2" name="Gerade Verbindung mit Pfeil 91">
            <a:extLst>
              <a:ext uri="{FF2B5EF4-FFF2-40B4-BE49-F238E27FC236}">
                <a16:creationId xmlns:a16="http://schemas.microsoft.com/office/drawing/2014/main" id="{F449D5EA-9DB3-5300-1105-6ABA3809763C}"/>
              </a:ext>
            </a:extLst>
          </p:cNvPr>
          <p:cNvCxnSpPr>
            <a:cxnSpLocks/>
          </p:cNvCxnSpPr>
          <p:nvPr/>
        </p:nvCxnSpPr>
        <p:spPr>
          <a:xfrm>
            <a:off x="2856851" y="3687788"/>
            <a:ext cx="140" cy="427358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3" name="Gerade Verbindung mit Pfeil 92">
            <a:extLst>
              <a:ext uri="{FF2B5EF4-FFF2-40B4-BE49-F238E27FC236}">
                <a16:creationId xmlns:a16="http://schemas.microsoft.com/office/drawing/2014/main" id="{DABF5225-4EC1-CED2-CB69-579B64629EBF}"/>
              </a:ext>
            </a:extLst>
          </p:cNvPr>
          <p:cNvCxnSpPr>
            <a:cxnSpLocks/>
          </p:cNvCxnSpPr>
          <p:nvPr/>
        </p:nvCxnSpPr>
        <p:spPr>
          <a:xfrm>
            <a:off x="4481204" y="3693498"/>
            <a:ext cx="140" cy="427358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Gerade Verbindung mit Pfeil 93">
            <a:extLst>
              <a:ext uri="{FF2B5EF4-FFF2-40B4-BE49-F238E27FC236}">
                <a16:creationId xmlns:a16="http://schemas.microsoft.com/office/drawing/2014/main" id="{E4F9B8A8-5DAC-7144-6D4C-915EA5535451}"/>
              </a:ext>
            </a:extLst>
          </p:cNvPr>
          <p:cNvCxnSpPr>
            <a:cxnSpLocks/>
          </p:cNvCxnSpPr>
          <p:nvPr/>
        </p:nvCxnSpPr>
        <p:spPr>
          <a:xfrm>
            <a:off x="7765216" y="3681030"/>
            <a:ext cx="140" cy="427358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5" name="Rechteck: abgerundete Ecken 94">
            <a:extLst>
              <a:ext uri="{FF2B5EF4-FFF2-40B4-BE49-F238E27FC236}">
                <a16:creationId xmlns:a16="http://schemas.microsoft.com/office/drawing/2014/main" id="{DAC699FE-B35C-A4A5-8D5E-8F4AC461ECED}"/>
              </a:ext>
            </a:extLst>
          </p:cNvPr>
          <p:cNvSpPr/>
          <p:nvPr/>
        </p:nvSpPr>
        <p:spPr>
          <a:xfrm>
            <a:off x="3989059" y="1907293"/>
            <a:ext cx="960146" cy="416551"/>
          </a:xfrm>
          <a:prstGeom prst="roundRect">
            <a:avLst/>
          </a:prstGeom>
          <a:solidFill>
            <a:schemeClr val="bg2"/>
          </a:solidFill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96" name="Rechteck: abgerundete Ecken 95">
            <a:extLst>
              <a:ext uri="{FF2B5EF4-FFF2-40B4-BE49-F238E27FC236}">
                <a16:creationId xmlns:a16="http://schemas.microsoft.com/office/drawing/2014/main" id="{1B487D78-3C85-AE77-5E7F-E082ACF484BF}"/>
              </a:ext>
            </a:extLst>
          </p:cNvPr>
          <p:cNvSpPr/>
          <p:nvPr/>
        </p:nvSpPr>
        <p:spPr>
          <a:xfrm>
            <a:off x="2189802" y="3241307"/>
            <a:ext cx="1331900" cy="621892"/>
          </a:xfrm>
          <a:prstGeom prst="roundRect">
            <a:avLst/>
          </a:prstGeom>
          <a:solidFill>
            <a:schemeClr val="bg2"/>
          </a:solidFill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97" name="Rechteck: abgerundete Ecken 96">
            <a:extLst>
              <a:ext uri="{FF2B5EF4-FFF2-40B4-BE49-F238E27FC236}">
                <a16:creationId xmlns:a16="http://schemas.microsoft.com/office/drawing/2014/main" id="{08C4FBF3-9784-FCE0-34DF-0F2A24B1BBBD}"/>
              </a:ext>
            </a:extLst>
          </p:cNvPr>
          <p:cNvSpPr/>
          <p:nvPr/>
        </p:nvSpPr>
        <p:spPr>
          <a:xfrm>
            <a:off x="7098165" y="3241307"/>
            <a:ext cx="1331900" cy="621892"/>
          </a:xfrm>
          <a:prstGeom prst="roundRect">
            <a:avLst/>
          </a:prstGeom>
          <a:solidFill>
            <a:schemeClr val="bg2"/>
          </a:solidFill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cxnSp>
        <p:nvCxnSpPr>
          <p:cNvPr id="98" name="Gerade Verbindung mit Pfeil 97">
            <a:extLst>
              <a:ext uri="{FF2B5EF4-FFF2-40B4-BE49-F238E27FC236}">
                <a16:creationId xmlns:a16="http://schemas.microsoft.com/office/drawing/2014/main" id="{461411C4-FDE6-3A79-B557-257D1AF1768B}"/>
              </a:ext>
            </a:extLst>
          </p:cNvPr>
          <p:cNvCxnSpPr>
            <a:cxnSpLocks/>
            <a:stCxn id="95" idx="2"/>
            <a:endCxn id="96" idx="0"/>
          </p:cNvCxnSpPr>
          <p:nvPr/>
        </p:nvCxnSpPr>
        <p:spPr>
          <a:xfrm flipH="1">
            <a:off x="2855752" y="2323844"/>
            <a:ext cx="1613380" cy="917463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" name="Gerade Verbindung mit Pfeil 98">
            <a:extLst>
              <a:ext uri="{FF2B5EF4-FFF2-40B4-BE49-F238E27FC236}">
                <a16:creationId xmlns:a16="http://schemas.microsoft.com/office/drawing/2014/main" id="{2AEB8EAA-3A0E-D2FD-65F6-9D2B1F51FCF5}"/>
              </a:ext>
            </a:extLst>
          </p:cNvPr>
          <p:cNvCxnSpPr>
            <a:cxnSpLocks/>
            <a:stCxn id="95" idx="2"/>
          </p:cNvCxnSpPr>
          <p:nvPr/>
        </p:nvCxnSpPr>
        <p:spPr>
          <a:xfrm>
            <a:off x="4469132" y="2323844"/>
            <a:ext cx="1659963" cy="917464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0" name="Gerade Verbindung mit Pfeil 99">
            <a:extLst>
              <a:ext uri="{FF2B5EF4-FFF2-40B4-BE49-F238E27FC236}">
                <a16:creationId xmlns:a16="http://schemas.microsoft.com/office/drawing/2014/main" id="{94183B38-7386-8EB1-6649-28F65EB8F2D9}"/>
              </a:ext>
            </a:extLst>
          </p:cNvPr>
          <p:cNvCxnSpPr>
            <a:cxnSpLocks/>
            <a:stCxn id="95" idx="2"/>
            <a:endCxn id="101" idx="0"/>
          </p:cNvCxnSpPr>
          <p:nvPr/>
        </p:nvCxnSpPr>
        <p:spPr>
          <a:xfrm>
            <a:off x="4469132" y="2323844"/>
            <a:ext cx="11113" cy="919551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1" name="Rechteck: abgerundete Ecken 100">
            <a:extLst>
              <a:ext uri="{FF2B5EF4-FFF2-40B4-BE49-F238E27FC236}">
                <a16:creationId xmlns:a16="http://schemas.microsoft.com/office/drawing/2014/main" id="{B8F0CC52-F675-E6B2-5B8E-6083096BF857}"/>
              </a:ext>
            </a:extLst>
          </p:cNvPr>
          <p:cNvSpPr/>
          <p:nvPr/>
        </p:nvSpPr>
        <p:spPr>
          <a:xfrm>
            <a:off x="3814295" y="3243395"/>
            <a:ext cx="1331900" cy="621892"/>
          </a:xfrm>
          <a:prstGeom prst="roundRect">
            <a:avLst/>
          </a:prstGeom>
          <a:solidFill>
            <a:schemeClr val="bg2"/>
          </a:solidFill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102" name="Rechteck: abgerundete Ecken 101">
            <a:extLst>
              <a:ext uri="{FF2B5EF4-FFF2-40B4-BE49-F238E27FC236}">
                <a16:creationId xmlns:a16="http://schemas.microsoft.com/office/drawing/2014/main" id="{3A47DA03-C38C-133A-ABE4-9905D862C114}"/>
              </a:ext>
            </a:extLst>
          </p:cNvPr>
          <p:cNvSpPr/>
          <p:nvPr/>
        </p:nvSpPr>
        <p:spPr>
          <a:xfrm>
            <a:off x="553679" y="3241307"/>
            <a:ext cx="1331900" cy="621892"/>
          </a:xfrm>
          <a:prstGeom prst="roundRect">
            <a:avLst/>
          </a:prstGeom>
          <a:solidFill>
            <a:schemeClr val="bg2"/>
          </a:solidFill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cxnSp>
        <p:nvCxnSpPr>
          <p:cNvPr id="103" name="Gerade Verbindung mit Pfeil 102">
            <a:extLst>
              <a:ext uri="{FF2B5EF4-FFF2-40B4-BE49-F238E27FC236}">
                <a16:creationId xmlns:a16="http://schemas.microsoft.com/office/drawing/2014/main" id="{586E86DA-A63B-D3F9-B839-8D193F8E9426}"/>
              </a:ext>
            </a:extLst>
          </p:cNvPr>
          <p:cNvCxnSpPr>
            <a:cxnSpLocks/>
            <a:stCxn id="95" idx="2"/>
            <a:endCxn id="102" idx="0"/>
          </p:cNvCxnSpPr>
          <p:nvPr/>
        </p:nvCxnSpPr>
        <p:spPr>
          <a:xfrm flipH="1">
            <a:off x="1219629" y="2323844"/>
            <a:ext cx="3249503" cy="917463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" name="Gerade Verbindung mit Pfeil 103">
            <a:extLst>
              <a:ext uri="{FF2B5EF4-FFF2-40B4-BE49-F238E27FC236}">
                <a16:creationId xmlns:a16="http://schemas.microsoft.com/office/drawing/2014/main" id="{C4394C2D-2B43-DCC2-8489-B33DD2EC6DAF}"/>
              </a:ext>
            </a:extLst>
          </p:cNvPr>
          <p:cNvCxnSpPr>
            <a:cxnSpLocks/>
            <a:stCxn id="95" idx="2"/>
            <a:endCxn id="97" idx="0"/>
          </p:cNvCxnSpPr>
          <p:nvPr/>
        </p:nvCxnSpPr>
        <p:spPr>
          <a:xfrm>
            <a:off x="4469132" y="2323844"/>
            <a:ext cx="3294983" cy="917463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5" name="Gerade Verbindung mit Pfeil 104">
            <a:extLst>
              <a:ext uri="{FF2B5EF4-FFF2-40B4-BE49-F238E27FC236}">
                <a16:creationId xmlns:a16="http://schemas.microsoft.com/office/drawing/2014/main" id="{BE0302A6-1329-BC05-E757-EE703E3205FA}"/>
              </a:ext>
            </a:extLst>
          </p:cNvPr>
          <p:cNvCxnSpPr>
            <a:cxnSpLocks/>
            <a:endCxn id="90" idx="0"/>
          </p:cNvCxnSpPr>
          <p:nvPr/>
        </p:nvCxnSpPr>
        <p:spPr>
          <a:xfrm>
            <a:off x="1220730" y="4477953"/>
            <a:ext cx="3263865" cy="777800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6" name="Gerade Verbindung mit Pfeil 105">
            <a:extLst>
              <a:ext uri="{FF2B5EF4-FFF2-40B4-BE49-F238E27FC236}">
                <a16:creationId xmlns:a16="http://schemas.microsoft.com/office/drawing/2014/main" id="{00E1566C-5DA2-BC9E-F9D8-1A8D931978E5}"/>
              </a:ext>
            </a:extLst>
          </p:cNvPr>
          <p:cNvCxnSpPr>
            <a:cxnSpLocks/>
            <a:endCxn id="90" idx="0"/>
          </p:cNvCxnSpPr>
          <p:nvPr/>
        </p:nvCxnSpPr>
        <p:spPr>
          <a:xfrm flipH="1">
            <a:off x="4484595" y="4477953"/>
            <a:ext cx="1644499" cy="777800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7" name="Gerade Verbindung mit Pfeil 106">
            <a:extLst>
              <a:ext uri="{FF2B5EF4-FFF2-40B4-BE49-F238E27FC236}">
                <a16:creationId xmlns:a16="http://schemas.microsoft.com/office/drawing/2014/main" id="{8C10ACCE-737F-1EEB-E350-B539F5DF1428}"/>
              </a:ext>
            </a:extLst>
          </p:cNvPr>
          <p:cNvCxnSpPr>
            <a:cxnSpLocks/>
            <a:endCxn id="90" idx="0"/>
          </p:cNvCxnSpPr>
          <p:nvPr/>
        </p:nvCxnSpPr>
        <p:spPr>
          <a:xfrm flipH="1">
            <a:off x="4484595" y="4477953"/>
            <a:ext cx="3280622" cy="777800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8" name="Gerade Verbindung mit Pfeil 107">
            <a:extLst>
              <a:ext uri="{FF2B5EF4-FFF2-40B4-BE49-F238E27FC236}">
                <a16:creationId xmlns:a16="http://schemas.microsoft.com/office/drawing/2014/main" id="{B6BA28F1-4188-82FB-7197-BA17EDCD97F3}"/>
              </a:ext>
            </a:extLst>
          </p:cNvPr>
          <p:cNvCxnSpPr>
            <a:cxnSpLocks/>
            <a:stCxn id="123" idx="2"/>
            <a:endCxn id="90" idx="0"/>
          </p:cNvCxnSpPr>
          <p:nvPr/>
        </p:nvCxnSpPr>
        <p:spPr>
          <a:xfrm>
            <a:off x="4481484" y="4503282"/>
            <a:ext cx="3111" cy="752471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9" name="Gerade Verbindung mit Pfeil 108">
            <a:extLst>
              <a:ext uri="{FF2B5EF4-FFF2-40B4-BE49-F238E27FC236}">
                <a16:creationId xmlns:a16="http://schemas.microsoft.com/office/drawing/2014/main" id="{F2AE65BC-E612-0403-63D2-9109841FC84A}"/>
              </a:ext>
            </a:extLst>
          </p:cNvPr>
          <p:cNvCxnSpPr>
            <a:cxnSpLocks/>
            <a:endCxn id="90" idx="0"/>
          </p:cNvCxnSpPr>
          <p:nvPr/>
        </p:nvCxnSpPr>
        <p:spPr>
          <a:xfrm>
            <a:off x="2856852" y="4477953"/>
            <a:ext cx="1627743" cy="777800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0" name="Rechteck: abgerundete Ecken 109">
            <a:extLst>
              <a:ext uri="{FF2B5EF4-FFF2-40B4-BE49-F238E27FC236}">
                <a16:creationId xmlns:a16="http://schemas.microsoft.com/office/drawing/2014/main" id="{AA3FF72E-37D2-D652-2A16-4888731540B2}"/>
              </a:ext>
            </a:extLst>
          </p:cNvPr>
          <p:cNvSpPr/>
          <p:nvPr/>
        </p:nvSpPr>
        <p:spPr>
          <a:xfrm>
            <a:off x="5583720" y="3241307"/>
            <a:ext cx="1090748" cy="385000"/>
          </a:xfrm>
          <a:prstGeom prst="round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111" name="Textfeld 110">
            <a:extLst>
              <a:ext uri="{FF2B5EF4-FFF2-40B4-BE49-F238E27FC236}">
                <a16:creationId xmlns:a16="http://schemas.microsoft.com/office/drawing/2014/main" id="{158603DC-19A3-9436-04A7-CDDCBEC50A4C}"/>
              </a:ext>
            </a:extLst>
          </p:cNvPr>
          <p:cNvSpPr txBox="1"/>
          <p:nvPr/>
        </p:nvSpPr>
        <p:spPr>
          <a:xfrm>
            <a:off x="554779" y="3261873"/>
            <a:ext cx="1331900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GB" dirty="0"/>
              <a:t>Shuffled Data set 1</a:t>
            </a:r>
            <a:endParaRPr lang="en-US" dirty="0"/>
          </a:p>
        </p:txBody>
      </p:sp>
      <p:sp>
        <p:nvSpPr>
          <p:cNvPr id="112" name="Textfeld 111">
            <a:extLst>
              <a:ext uri="{FF2B5EF4-FFF2-40B4-BE49-F238E27FC236}">
                <a16:creationId xmlns:a16="http://schemas.microsoft.com/office/drawing/2014/main" id="{48379698-EC33-8F25-A9F5-76F38F352058}"/>
              </a:ext>
            </a:extLst>
          </p:cNvPr>
          <p:cNvSpPr txBox="1"/>
          <p:nvPr/>
        </p:nvSpPr>
        <p:spPr>
          <a:xfrm>
            <a:off x="2190901" y="3261873"/>
            <a:ext cx="1331900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GB" dirty="0"/>
              <a:t>Shuffled Data set 2</a:t>
            </a:r>
            <a:endParaRPr lang="en-US" dirty="0"/>
          </a:p>
        </p:txBody>
      </p:sp>
      <p:sp>
        <p:nvSpPr>
          <p:cNvPr id="113" name="Textfeld 112">
            <a:extLst>
              <a:ext uri="{FF2B5EF4-FFF2-40B4-BE49-F238E27FC236}">
                <a16:creationId xmlns:a16="http://schemas.microsoft.com/office/drawing/2014/main" id="{F960728C-6863-B310-6193-DD415B2D37D6}"/>
              </a:ext>
            </a:extLst>
          </p:cNvPr>
          <p:cNvSpPr txBox="1"/>
          <p:nvPr/>
        </p:nvSpPr>
        <p:spPr>
          <a:xfrm>
            <a:off x="3815394" y="3263961"/>
            <a:ext cx="1331900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GB" dirty="0"/>
              <a:t>Shuffled Data set 3</a:t>
            </a:r>
            <a:endParaRPr lang="en-US" dirty="0"/>
          </a:p>
        </p:txBody>
      </p:sp>
      <p:sp>
        <p:nvSpPr>
          <p:cNvPr id="114" name="Textfeld 113">
            <a:extLst>
              <a:ext uri="{FF2B5EF4-FFF2-40B4-BE49-F238E27FC236}">
                <a16:creationId xmlns:a16="http://schemas.microsoft.com/office/drawing/2014/main" id="{0B0B4859-7430-307F-6DF5-EDA5B59733F2}"/>
              </a:ext>
            </a:extLst>
          </p:cNvPr>
          <p:cNvSpPr txBox="1"/>
          <p:nvPr/>
        </p:nvSpPr>
        <p:spPr>
          <a:xfrm>
            <a:off x="5582619" y="3434763"/>
            <a:ext cx="1331900" cy="33824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GB" sz="2100" dirty="0"/>
              <a:t>·······</a:t>
            </a:r>
            <a:endParaRPr lang="en-US" sz="2100" dirty="0"/>
          </a:p>
        </p:txBody>
      </p:sp>
      <p:sp>
        <p:nvSpPr>
          <p:cNvPr id="115" name="Textfeld 114">
            <a:extLst>
              <a:ext uri="{FF2B5EF4-FFF2-40B4-BE49-F238E27FC236}">
                <a16:creationId xmlns:a16="http://schemas.microsoft.com/office/drawing/2014/main" id="{AE4A3577-F2D3-5EB6-C400-D6DE6151E2AF}"/>
              </a:ext>
            </a:extLst>
          </p:cNvPr>
          <p:cNvSpPr txBox="1"/>
          <p:nvPr/>
        </p:nvSpPr>
        <p:spPr>
          <a:xfrm>
            <a:off x="7099266" y="3263231"/>
            <a:ext cx="1331900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GB" dirty="0"/>
              <a:t>Shuffled Data set N</a:t>
            </a:r>
            <a:endParaRPr lang="en-US" dirty="0"/>
          </a:p>
        </p:txBody>
      </p:sp>
      <p:sp>
        <p:nvSpPr>
          <p:cNvPr id="116" name="Rechteck: abgerundete Ecken 115">
            <a:extLst>
              <a:ext uri="{FF2B5EF4-FFF2-40B4-BE49-F238E27FC236}">
                <a16:creationId xmlns:a16="http://schemas.microsoft.com/office/drawing/2014/main" id="{602032F2-D550-C1F2-3B4F-0C58AD16C2B0}"/>
              </a:ext>
            </a:extLst>
          </p:cNvPr>
          <p:cNvSpPr/>
          <p:nvPr/>
        </p:nvSpPr>
        <p:spPr>
          <a:xfrm>
            <a:off x="2311619" y="4111296"/>
            <a:ext cx="1090748" cy="385000"/>
          </a:xfrm>
          <a:prstGeom prst="roundRect">
            <a:avLst/>
          </a:prstGeom>
          <a:solidFill>
            <a:schemeClr val="bg2"/>
          </a:solidFill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117" name="Rechteck: abgerundete Ecken 116">
            <a:extLst>
              <a:ext uri="{FF2B5EF4-FFF2-40B4-BE49-F238E27FC236}">
                <a16:creationId xmlns:a16="http://schemas.microsoft.com/office/drawing/2014/main" id="{15D0DB36-2F34-AE92-FC96-75F8476B032C}"/>
              </a:ext>
            </a:extLst>
          </p:cNvPr>
          <p:cNvSpPr/>
          <p:nvPr/>
        </p:nvSpPr>
        <p:spPr>
          <a:xfrm>
            <a:off x="7219982" y="4111296"/>
            <a:ext cx="1090748" cy="385000"/>
          </a:xfrm>
          <a:prstGeom prst="roundRect">
            <a:avLst/>
          </a:prstGeom>
          <a:solidFill>
            <a:schemeClr val="bg2"/>
          </a:solidFill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118" name="Rechteck: abgerundete Ecken 117">
            <a:extLst>
              <a:ext uri="{FF2B5EF4-FFF2-40B4-BE49-F238E27FC236}">
                <a16:creationId xmlns:a16="http://schemas.microsoft.com/office/drawing/2014/main" id="{3118F08B-B9F9-946E-0880-C933095CC62D}"/>
              </a:ext>
            </a:extLst>
          </p:cNvPr>
          <p:cNvSpPr/>
          <p:nvPr/>
        </p:nvSpPr>
        <p:spPr>
          <a:xfrm>
            <a:off x="3936112" y="4113384"/>
            <a:ext cx="1090748" cy="385000"/>
          </a:xfrm>
          <a:prstGeom prst="roundRect">
            <a:avLst/>
          </a:prstGeom>
          <a:solidFill>
            <a:schemeClr val="bg2"/>
          </a:solidFill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119" name="Rechteck: abgerundete Ecken 118">
            <a:extLst>
              <a:ext uri="{FF2B5EF4-FFF2-40B4-BE49-F238E27FC236}">
                <a16:creationId xmlns:a16="http://schemas.microsoft.com/office/drawing/2014/main" id="{93DAA888-9AD7-FF7A-2D07-8C064391DB18}"/>
              </a:ext>
            </a:extLst>
          </p:cNvPr>
          <p:cNvSpPr/>
          <p:nvPr/>
        </p:nvSpPr>
        <p:spPr>
          <a:xfrm>
            <a:off x="675496" y="4111296"/>
            <a:ext cx="1090748" cy="385000"/>
          </a:xfrm>
          <a:prstGeom prst="roundRect">
            <a:avLst/>
          </a:prstGeom>
          <a:solidFill>
            <a:schemeClr val="bg2"/>
          </a:solidFill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120" name="Rechteck: abgerundete Ecken 119">
            <a:extLst>
              <a:ext uri="{FF2B5EF4-FFF2-40B4-BE49-F238E27FC236}">
                <a16:creationId xmlns:a16="http://schemas.microsoft.com/office/drawing/2014/main" id="{357C984D-FAD3-9621-ABA9-6BD31E508679}"/>
              </a:ext>
            </a:extLst>
          </p:cNvPr>
          <p:cNvSpPr/>
          <p:nvPr/>
        </p:nvSpPr>
        <p:spPr>
          <a:xfrm>
            <a:off x="5583860" y="4111296"/>
            <a:ext cx="1090748" cy="385000"/>
          </a:xfrm>
          <a:prstGeom prst="round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121" name="Textfeld 120">
            <a:extLst>
              <a:ext uri="{FF2B5EF4-FFF2-40B4-BE49-F238E27FC236}">
                <a16:creationId xmlns:a16="http://schemas.microsoft.com/office/drawing/2014/main" id="{36F9442A-D1C0-0A73-2CB8-F3D0C6011336}"/>
              </a:ext>
            </a:extLst>
          </p:cNvPr>
          <p:cNvSpPr txBox="1"/>
          <p:nvPr/>
        </p:nvSpPr>
        <p:spPr>
          <a:xfrm>
            <a:off x="554919" y="4131862"/>
            <a:ext cx="133190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GB" dirty="0"/>
              <a:t>U-net</a:t>
            </a:r>
            <a:endParaRPr lang="en-US" dirty="0"/>
          </a:p>
        </p:txBody>
      </p:sp>
      <p:sp>
        <p:nvSpPr>
          <p:cNvPr id="122" name="Textfeld 121">
            <a:extLst>
              <a:ext uri="{FF2B5EF4-FFF2-40B4-BE49-F238E27FC236}">
                <a16:creationId xmlns:a16="http://schemas.microsoft.com/office/drawing/2014/main" id="{8A5B23C8-C059-2497-4F08-62BA07826BA9}"/>
              </a:ext>
            </a:extLst>
          </p:cNvPr>
          <p:cNvSpPr txBox="1"/>
          <p:nvPr/>
        </p:nvSpPr>
        <p:spPr>
          <a:xfrm>
            <a:off x="2191041" y="4131862"/>
            <a:ext cx="133190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GB" dirty="0"/>
              <a:t>U-net</a:t>
            </a:r>
            <a:endParaRPr lang="en-US" dirty="0"/>
          </a:p>
        </p:txBody>
      </p:sp>
      <p:sp>
        <p:nvSpPr>
          <p:cNvPr id="123" name="Textfeld 122">
            <a:extLst>
              <a:ext uri="{FF2B5EF4-FFF2-40B4-BE49-F238E27FC236}">
                <a16:creationId xmlns:a16="http://schemas.microsoft.com/office/drawing/2014/main" id="{943FBC2A-76E9-C48E-186E-BE0DD171EC2F}"/>
              </a:ext>
            </a:extLst>
          </p:cNvPr>
          <p:cNvSpPr txBox="1"/>
          <p:nvPr/>
        </p:nvSpPr>
        <p:spPr>
          <a:xfrm>
            <a:off x="3815534" y="4133950"/>
            <a:ext cx="133190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GB" dirty="0"/>
              <a:t>U-net</a:t>
            </a:r>
            <a:endParaRPr lang="en-US" dirty="0"/>
          </a:p>
        </p:txBody>
      </p:sp>
      <p:sp>
        <p:nvSpPr>
          <p:cNvPr id="124" name="Textfeld 123">
            <a:extLst>
              <a:ext uri="{FF2B5EF4-FFF2-40B4-BE49-F238E27FC236}">
                <a16:creationId xmlns:a16="http://schemas.microsoft.com/office/drawing/2014/main" id="{779A53F5-9CF3-6A0B-AEC0-D83EF368B4E3}"/>
              </a:ext>
            </a:extLst>
          </p:cNvPr>
          <p:cNvSpPr txBox="1"/>
          <p:nvPr/>
        </p:nvSpPr>
        <p:spPr>
          <a:xfrm>
            <a:off x="5582759" y="4131862"/>
            <a:ext cx="1331900" cy="33824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GB" sz="2100" dirty="0"/>
              <a:t>·······</a:t>
            </a:r>
            <a:endParaRPr lang="en-US" sz="2100" dirty="0"/>
          </a:p>
        </p:txBody>
      </p:sp>
      <p:sp>
        <p:nvSpPr>
          <p:cNvPr id="125" name="Textfeld 124">
            <a:extLst>
              <a:ext uri="{FF2B5EF4-FFF2-40B4-BE49-F238E27FC236}">
                <a16:creationId xmlns:a16="http://schemas.microsoft.com/office/drawing/2014/main" id="{038FE791-6571-7B79-AED4-82BFAC62E6C3}"/>
              </a:ext>
            </a:extLst>
          </p:cNvPr>
          <p:cNvSpPr txBox="1"/>
          <p:nvPr/>
        </p:nvSpPr>
        <p:spPr>
          <a:xfrm>
            <a:off x="7099406" y="4133220"/>
            <a:ext cx="133190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GB" dirty="0"/>
              <a:t>U-net</a:t>
            </a:r>
            <a:endParaRPr lang="en-US" dirty="0"/>
          </a:p>
        </p:txBody>
      </p:sp>
      <p:cxnSp>
        <p:nvCxnSpPr>
          <p:cNvPr id="126" name="Gerade Verbindung mit Pfeil 125">
            <a:extLst>
              <a:ext uri="{FF2B5EF4-FFF2-40B4-BE49-F238E27FC236}">
                <a16:creationId xmlns:a16="http://schemas.microsoft.com/office/drawing/2014/main" id="{80E4D984-EABA-20DB-8D4C-3F2135335852}"/>
              </a:ext>
            </a:extLst>
          </p:cNvPr>
          <p:cNvCxnSpPr>
            <a:cxnSpLocks/>
          </p:cNvCxnSpPr>
          <p:nvPr/>
        </p:nvCxnSpPr>
        <p:spPr>
          <a:xfrm>
            <a:off x="6248569" y="3854702"/>
            <a:ext cx="0" cy="260443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7" name="Textfeld 126">
            <a:extLst>
              <a:ext uri="{FF2B5EF4-FFF2-40B4-BE49-F238E27FC236}">
                <a16:creationId xmlns:a16="http://schemas.microsoft.com/office/drawing/2014/main" id="{E7A9D8B8-7431-9E13-A4B1-EF11C02906F7}"/>
              </a:ext>
            </a:extLst>
          </p:cNvPr>
          <p:cNvSpPr txBox="1"/>
          <p:nvPr/>
        </p:nvSpPr>
        <p:spPr>
          <a:xfrm>
            <a:off x="3485566" y="1936684"/>
            <a:ext cx="1896593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GB" dirty="0"/>
              <a:t>Data Set</a:t>
            </a:r>
            <a:endParaRPr lang="en-US" dirty="0"/>
          </a:p>
        </p:txBody>
      </p:sp>
      <p:sp>
        <p:nvSpPr>
          <p:cNvPr id="128" name="Textfeld 127">
            <a:extLst>
              <a:ext uri="{FF2B5EF4-FFF2-40B4-BE49-F238E27FC236}">
                <a16:creationId xmlns:a16="http://schemas.microsoft.com/office/drawing/2014/main" id="{997BCF97-F186-F4CF-FF40-7E06BF3B497A}"/>
              </a:ext>
            </a:extLst>
          </p:cNvPr>
          <p:cNvSpPr txBox="1"/>
          <p:nvPr/>
        </p:nvSpPr>
        <p:spPr>
          <a:xfrm>
            <a:off x="3807593" y="5319114"/>
            <a:ext cx="1346947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GB" dirty="0"/>
              <a:t>Output</a:t>
            </a:r>
            <a:endParaRPr lang="en-US" dirty="0"/>
          </a:p>
        </p:txBody>
      </p:sp>
      <p:grpSp>
        <p:nvGrpSpPr>
          <p:cNvPr id="134" name="Gruppieren 133">
            <a:extLst>
              <a:ext uri="{FF2B5EF4-FFF2-40B4-BE49-F238E27FC236}">
                <a16:creationId xmlns:a16="http://schemas.microsoft.com/office/drawing/2014/main" id="{C1BDFFF8-4A22-81EE-740F-834883AB1FF3}"/>
              </a:ext>
            </a:extLst>
          </p:cNvPr>
          <p:cNvGrpSpPr/>
          <p:nvPr/>
        </p:nvGrpSpPr>
        <p:grpSpPr>
          <a:xfrm>
            <a:off x="479425" y="1668780"/>
            <a:ext cx="8611235" cy="4189809"/>
            <a:chOff x="479425" y="1668780"/>
            <a:chExt cx="8611235" cy="4189809"/>
          </a:xfrm>
        </p:grpSpPr>
        <p:sp>
          <p:nvSpPr>
            <p:cNvPr id="135" name="Rechteck 134">
              <a:extLst>
                <a:ext uri="{FF2B5EF4-FFF2-40B4-BE49-F238E27FC236}">
                  <a16:creationId xmlns:a16="http://schemas.microsoft.com/office/drawing/2014/main" id="{D666FD29-A93D-4DD0-0CAA-FCD93C8C2DAE}"/>
                </a:ext>
              </a:extLst>
            </p:cNvPr>
            <p:cNvSpPr/>
            <p:nvPr/>
          </p:nvSpPr>
          <p:spPr>
            <a:xfrm>
              <a:off x="479425" y="1668780"/>
              <a:ext cx="8611235" cy="4189809"/>
            </a:xfrm>
            <a:prstGeom prst="rect">
              <a:avLst/>
            </a:prstGeom>
            <a:solidFill>
              <a:srgbClr val="FFFFFF"/>
            </a:solidFill>
            <a:ln w="9525">
              <a:solidFill>
                <a:srgbClr val="FFFF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pPr marL="180000" indent="-180000" algn="l">
                <a:lnSpc>
                  <a:spcPts val="1960"/>
                </a:lnSpc>
                <a:buClr>
                  <a:schemeClr val="accent1"/>
                </a:buClr>
                <a:buFont typeface="Wingdings" panose="05000000000000000000" pitchFamily="2" charset="2"/>
                <a:buChar char="§"/>
              </a:pPr>
              <a:endParaRPr lang="de-DE" sz="1400" dirty="0">
                <a:solidFill>
                  <a:schemeClr val="tx1"/>
                </a:solidFill>
              </a:endParaRPr>
            </a:p>
          </p:txBody>
        </p:sp>
        <p:sp>
          <p:nvSpPr>
            <p:cNvPr id="136" name="Rechteck: abgerundete Ecken 135">
              <a:extLst>
                <a:ext uri="{FF2B5EF4-FFF2-40B4-BE49-F238E27FC236}">
                  <a16:creationId xmlns:a16="http://schemas.microsoft.com/office/drawing/2014/main" id="{23C0999F-9AF3-1C12-ADCC-AD95C827DC89}"/>
                </a:ext>
              </a:extLst>
            </p:cNvPr>
            <p:cNvSpPr/>
            <p:nvPr/>
          </p:nvSpPr>
          <p:spPr>
            <a:xfrm>
              <a:off x="3973607" y="5255753"/>
              <a:ext cx="1021976" cy="487961"/>
            </a:xfrm>
            <a:prstGeom prst="roundRect">
              <a:avLst/>
            </a:prstGeom>
            <a:solidFill>
              <a:schemeClr val="bg2"/>
            </a:solidFill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cxnSp>
          <p:nvCxnSpPr>
            <p:cNvPr id="137" name="Gerade Verbindung mit Pfeil 136">
              <a:extLst>
                <a:ext uri="{FF2B5EF4-FFF2-40B4-BE49-F238E27FC236}">
                  <a16:creationId xmlns:a16="http://schemas.microsoft.com/office/drawing/2014/main" id="{36E843C3-80E0-C7FC-F919-594FC464B4D6}"/>
                </a:ext>
              </a:extLst>
            </p:cNvPr>
            <p:cNvCxnSpPr>
              <a:cxnSpLocks/>
              <a:endCxn id="165" idx="0"/>
            </p:cNvCxnSpPr>
            <p:nvPr/>
          </p:nvCxnSpPr>
          <p:spPr>
            <a:xfrm>
              <a:off x="1220729" y="3201331"/>
              <a:ext cx="141" cy="553612"/>
            </a:xfrm>
            <a:prstGeom prst="straightConnector1">
              <a:avLst/>
            </a:prstGeom>
            <a:ln w="1905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Gerade Verbindung mit Pfeil 137">
              <a:extLst>
                <a:ext uri="{FF2B5EF4-FFF2-40B4-BE49-F238E27FC236}">
                  <a16:creationId xmlns:a16="http://schemas.microsoft.com/office/drawing/2014/main" id="{111188F9-3AF0-A1AD-8161-941EA939CE9A}"/>
                </a:ext>
              </a:extLst>
            </p:cNvPr>
            <p:cNvCxnSpPr>
              <a:cxnSpLocks/>
              <a:endCxn id="162" idx="0"/>
            </p:cNvCxnSpPr>
            <p:nvPr/>
          </p:nvCxnSpPr>
          <p:spPr>
            <a:xfrm>
              <a:off x="2856851" y="3331435"/>
              <a:ext cx="142" cy="423508"/>
            </a:xfrm>
            <a:prstGeom prst="straightConnector1">
              <a:avLst/>
            </a:prstGeom>
            <a:ln w="1905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Gerade Verbindung mit Pfeil 138">
              <a:extLst>
                <a:ext uri="{FF2B5EF4-FFF2-40B4-BE49-F238E27FC236}">
                  <a16:creationId xmlns:a16="http://schemas.microsoft.com/office/drawing/2014/main" id="{32FAC944-BC94-4E26-A4DC-89EEEC047617}"/>
                </a:ext>
              </a:extLst>
            </p:cNvPr>
            <p:cNvCxnSpPr>
              <a:cxnSpLocks/>
              <a:endCxn id="164" idx="0"/>
            </p:cNvCxnSpPr>
            <p:nvPr/>
          </p:nvCxnSpPr>
          <p:spPr>
            <a:xfrm>
              <a:off x="4481204" y="3337145"/>
              <a:ext cx="282" cy="419886"/>
            </a:xfrm>
            <a:prstGeom prst="straightConnector1">
              <a:avLst/>
            </a:prstGeom>
            <a:ln w="1905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Gerade Verbindung mit Pfeil 139">
              <a:extLst>
                <a:ext uri="{FF2B5EF4-FFF2-40B4-BE49-F238E27FC236}">
                  <a16:creationId xmlns:a16="http://schemas.microsoft.com/office/drawing/2014/main" id="{9D0A0C08-ADBC-E7F6-8B52-AD61B786C362}"/>
                </a:ext>
              </a:extLst>
            </p:cNvPr>
            <p:cNvCxnSpPr>
              <a:cxnSpLocks/>
              <a:endCxn id="163" idx="0"/>
            </p:cNvCxnSpPr>
            <p:nvPr/>
          </p:nvCxnSpPr>
          <p:spPr>
            <a:xfrm>
              <a:off x="7765216" y="3324677"/>
              <a:ext cx="140" cy="430266"/>
            </a:xfrm>
            <a:prstGeom prst="straightConnector1">
              <a:avLst/>
            </a:prstGeom>
            <a:ln w="1905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1" name="Rechteck: abgerundete Ecken 140">
              <a:extLst>
                <a:ext uri="{FF2B5EF4-FFF2-40B4-BE49-F238E27FC236}">
                  <a16:creationId xmlns:a16="http://schemas.microsoft.com/office/drawing/2014/main" id="{60237DC6-F1A5-6BF4-0B7A-5C2439C04345}"/>
                </a:ext>
              </a:extLst>
            </p:cNvPr>
            <p:cNvSpPr/>
            <p:nvPr/>
          </p:nvSpPr>
          <p:spPr>
            <a:xfrm>
              <a:off x="3989059" y="1907293"/>
              <a:ext cx="960146" cy="416551"/>
            </a:xfrm>
            <a:prstGeom prst="roundRect">
              <a:avLst/>
            </a:prstGeom>
            <a:solidFill>
              <a:schemeClr val="bg2"/>
            </a:solidFill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142" name="Rechteck: abgerundete Ecken 141">
              <a:extLst>
                <a:ext uri="{FF2B5EF4-FFF2-40B4-BE49-F238E27FC236}">
                  <a16:creationId xmlns:a16="http://schemas.microsoft.com/office/drawing/2014/main" id="{0AA16347-1AD0-4E3F-C420-884BA5D135DB}"/>
                </a:ext>
              </a:extLst>
            </p:cNvPr>
            <p:cNvSpPr/>
            <p:nvPr/>
          </p:nvSpPr>
          <p:spPr>
            <a:xfrm>
              <a:off x="2189802" y="2890787"/>
              <a:ext cx="1331900" cy="621892"/>
            </a:xfrm>
            <a:prstGeom prst="roundRect">
              <a:avLst/>
            </a:prstGeom>
            <a:solidFill>
              <a:schemeClr val="bg2"/>
            </a:solidFill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143" name="Rechteck: abgerundete Ecken 142">
              <a:extLst>
                <a:ext uri="{FF2B5EF4-FFF2-40B4-BE49-F238E27FC236}">
                  <a16:creationId xmlns:a16="http://schemas.microsoft.com/office/drawing/2014/main" id="{E0473883-CA86-800B-5096-F2795CC1252D}"/>
                </a:ext>
              </a:extLst>
            </p:cNvPr>
            <p:cNvSpPr/>
            <p:nvPr/>
          </p:nvSpPr>
          <p:spPr>
            <a:xfrm>
              <a:off x="7098165" y="2890787"/>
              <a:ext cx="1331900" cy="621892"/>
            </a:xfrm>
            <a:prstGeom prst="roundRect">
              <a:avLst/>
            </a:prstGeom>
            <a:solidFill>
              <a:schemeClr val="bg2"/>
            </a:solidFill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cxnSp>
          <p:nvCxnSpPr>
            <p:cNvPr id="144" name="Gerade Verbindung mit Pfeil 143">
              <a:extLst>
                <a:ext uri="{FF2B5EF4-FFF2-40B4-BE49-F238E27FC236}">
                  <a16:creationId xmlns:a16="http://schemas.microsoft.com/office/drawing/2014/main" id="{5E633628-E714-89B2-5066-A77B066C37D5}"/>
                </a:ext>
              </a:extLst>
            </p:cNvPr>
            <p:cNvCxnSpPr>
              <a:cxnSpLocks/>
              <a:stCxn id="141" idx="2"/>
              <a:endCxn id="142" idx="0"/>
            </p:cNvCxnSpPr>
            <p:nvPr/>
          </p:nvCxnSpPr>
          <p:spPr>
            <a:xfrm flipH="1">
              <a:off x="2855752" y="2323844"/>
              <a:ext cx="1613380" cy="566943"/>
            </a:xfrm>
            <a:prstGeom prst="straightConnector1">
              <a:avLst/>
            </a:prstGeom>
            <a:ln w="1905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5" name="Gerade Verbindung mit Pfeil 144">
              <a:extLst>
                <a:ext uri="{FF2B5EF4-FFF2-40B4-BE49-F238E27FC236}">
                  <a16:creationId xmlns:a16="http://schemas.microsoft.com/office/drawing/2014/main" id="{C098450C-B47E-D9DB-95E8-713C6856E5ED}"/>
                </a:ext>
              </a:extLst>
            </p:cNvPr>
            <p:cNvCxnSpPr>
              <a:cxnSpLocks/>
              <a:stCxn id="141" idx="2"/>
              <a:endCxn id="156" idx="0"/>
            </p:cNvCxnSpPr>
            <p:nvPr/>
          </p:nvCxnSpPr>
          <p:spPr>
            <a:xfrm>
              <a:off x="4469132" y="2323844"/>
              <a:ext cx="1659962" cy="566943"/>
            </a:xfrm>
            <a:prstGeom prst="straightConnector1">
              <a:avLst/>
            </a:prstGeom>
            <a:ln w="1905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6" name="Gerade Verbindung mit Pfeil 145">
              <a:extLst>
                <a:ext uri="{FF2B5EF4-FFF2-40B4-BE49-F238E27FC236}">
                  <a16:creationId xmlns:a16="http://schemas.microsoft.com/office/drawing/2014/main" id="{1BD5E639-F23E-C7DF-5133-8F15329EA5AC}"/>
                </a:ext>
              </a:extLst>
            </p:cNvPr>
            <p:cNvCxnSpPr>
              <a:cxnSpLocks/>
              <a:stCxn id="141" idx="2"/>
              <a:endCxn id="147" idx="0"/>
            </p:cNvCxnSpPr>
            <p:nvPr/>
          </p:nvCxnSpPr>
          <p:spPr>
            <a:xfrm>
              <a:off x="4469132" y="2323844"/>
              <a:ext cx="11113" cy="569031"/>
            </a:xfrm>
            <a:prstGeom prst="straightConnector1">
              <a:avLst/>
            </a:prstGeom>
            <a:ln w="1905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7" name="Rechteck: abgerundete Ecken 146">
              <a:extLst>
                <a:ext uri="{FF2B5EF4-FFF2-40B4-BE49-F238E27FC236}">
                  <a16:creationId xmlns:a16="http://schemas.microsoft.com/office/drawing/2014/main" id="{77EF3B9F-2D7F-89B3-05F8-892A7B92EAFA}"/>
                </a:ext>
              </a:extLst>
            </p:cNvPr>
            <p:cNvSpPr/>
            <p:nvPr/>
          </p:nvSpPr>
          <p:spPr>
            <a:xfrm>
              <a:off x="3814295" y="2892875"/>
              <a:ext cx="1331900" cy="621892"/>
            </a:xfrm>
            <a:prstGeom prst="roundRect">
              <a:avLst/>
            </a:prstGeom>
            <a:solidFill>
              <a:schemeClr val="bg2"/>
            </a:solidFill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148" name="Rechteck: abgerundete Ecken 147">
              <a:extLst>
                <a:ext uri="{FF2B5EF4-FFF2-40B4-BE49-F238E27FC236}">
                  <a16:creationId xmlns:a16="http://schemas.microsoft.com/office/drawing/2014/main" id="{4ED73754-113C-37D9-B5B1-6C303AAA584D}"/>
                </a:ext>
              </a:extLst>
            </p:cNvPr>
            <p:cNvSpPr/>
            <p:nvPr/>
          </p:nvSpPr>
          <p:spPr>
            <a:xfrm>
              <a:off x="553679" y="2890787"/>
              <a:ext cx="1331900" cy="621892"/>
            </a:xfrm>
            <a:prstGeom prst="roundRect">
              <a:avLst/>
            </a:prstGeom>
            <a:solidFill>
              <a:schemeClr val="bg2"/>
            </a:solidFill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cxnSp>
          <p:nvCxnSpPr>
            <p:cNvPr id="149" name="Gerade Verbindung mit Pfeil 148">
              <a:extLst>
                <a:ext uri="{FF2B5EF4-FFF2-40B4-BE49-F238E27FC236}">
                  <a16:creationId xmlns:a16="http://schemas.microsoft.com/office/drawing/2014/main" id="{3A1306BF-0ACF-F43A-2321-FBBEC7F29B0B}"/>
                </a:ext>
              </a:extLst>
            </p:cNvPr>
            <p:cNvCxnSpPr>
              <a:cxnSpLocks/>
              <a:stCxn id="141" idx="2"/>
              <a:endCxn id="148" idx="0"/>
            </p:cNvCxnSpPr>
            <p:nvPr/>
          </p:nvCxnSpPr>
          <p:spPr>
            <a:xfrm flipH="1">
              <a:off x="1219629" y="2323844"/>
              <a:ext cx="3249503" cy="566943"/>
            </a:xfrm>
            <a:prstGeom prst="straightConnector1">
              <a:avLst/>
            </a:prstGeom>
            <a:ln w="1905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0" name="Gerade Verbindung mit Pfeil 149">
              <a:extLst>
                <a:ext uri="{FF2B5EF4-FFF2-40B4-BE49-F238E27FC236}">
                  <a16:creationId xmlns:a16="http://schemas.microsoft.com/office/drawing/2014/main" id="{A9984FBF-CB4D-DBB1-34B7-E153243CD29E}"/>
                </a:ext>
              </a:extLst>
            </p:cNvPr>
            <p:cNvCxnSpPr>
              <a:cxnSpLocks/>
              <a:stCxn id="141" idx="2"/>
              <a:endCxn id="143" idx="0"/>
            </p:cNvCxnSpPr>
            <p:nvPr/>
          </p:nvCxnSpPr>
          <p:spPr>
            <a:xfrm>
              <a:off x="4469132" y="2323844"/>
              <a:ext cx="3294983" cy="566943"/>
            </a:xfrm>
            <a:prstGeom prst="straightConnector1">
              <a:avLst/>
            </a:prstGeom>
            <a:ln w="1905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1" name="Gerade Verbindung mit Pfeil 150">
              <a:extLst>
                <a:ext uri="{FF2B5EF4-FFF2-40B4-BE49-F238E27FC236}">
                  <a16:creationId xmlns:a16="http://schemas.microsoft.com/office/drawing/2014/main" id="{DD648496-F470-89BE-7D40-F8E498690C9D}"/>
                </a:ext>
              </a:extLst>
            </p:cNvPr>
            <p:cNvCxnSpPr>
              <a:cxnSpLocks/>
              <a:stCxn id="165" idx="2"/>
              <a:endCxn id="136" idx="0"/>
            </p:cNvCxnSpPr>
            <p:nvPr/>
          </p:nvCxnSpPr>
          <p:spPr>
            <a:xfrm>
              <a:off x="1220870" y="4713169"/>
              <a:ext cx="3263725" cy="542584"/>
            </a:xfrm>
            <a:prstGeom prst="straightConnector1">
              <a:avLst/>
            </a:prstGeom>
            <a:ln w="1905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2" name="Gerade Verbindung mit Pfeil 151">
              <a:extLst>
                <a:ext uri="{FF2B5EF4-FFF2-40B4-BE49-F238E27FC236}">
                  <a16:creationId xmlns:a16="http://schemas.microsoft.com/office/drawing/2014/main" id="{61A99815-6C88-84A3-2418-33F10FBF2A0E}"/>
                </a:ext>
              </a:extLst>
            </p:cNvPr>
            <p:cNvCxnSpPr>
              <a:cxnSpLocks/>
              <a:stCxn id="167" idx="2"/>
              <a:endCxn id="136" idx="0"/>
            </p:cNvCxnSpPr>
            <p:nvPr/>
          </p:nvCxnSpPr>
          <p:spPr>
            <a:xfrm flipH="1">
              <a:off x="4484595" y="4617369"/>
              <a:ext cx="1764114" cy="638384"/>
            </a:xfrm>
            <a:prstGeom prst="straightConnector1">
              <a:avLst/>
            </a:prstGeom>
            <a:ln w="1905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3" name="Gerade Verbindung mit Pfeil 152">
              <a:extLst>
                <a:ext uri="{FF2B5EF4-FFF2-40B4-BE49-F238E27FC236}">
                  <a16:creationId xmlns:a16="http://schemas.microsoft.com/office/drawing/2014/main" id="{E457A4E5-3B05-021B-A1B1-BA864E39DA91}"/>
                </a:ext>
              </a:extLst>
            </p:cNvPr>
            <p:cNvCxnSpPr>
              <a:cxnSpLocks/>
              <a:stCxn id="163" idx="2"/>
              <a:endCxn id="136" idx="0"/>
            </p:cNvCxnSpPr>
            <p:nvPr/>
          </p:nvCxnSpPr>
          <p:spPr>
            <a:xfrm flipH="1">
              <a:off x="4484595" y="4713169"/>
              <a:ext cx="3280761" cy="542584"/>
            </a:xfrm>
            <a:prstGeom prst="straightConnector1">
              <a:avLst/>
            </a:prstGeom>
            <a:ln w="1905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4" name="Gerade Verbindung mit Pfeil 153">
              <a:extLst>
                <a:ext uri="{FF2B5EF4-FFF2-40B4-BE49-F238E27FC236}">
                  <a16:creationId xmlns:a16="http://schemas.microsoft.com/office/drawing/2014/main" id="{FC294471-FE23-79B4-4E6E-2A6C9C760A4A}"/>
                </a:ext>
              </a:extLst>
            </p:cNvPr>
            <p:cNvCxnSpPr>
              <a:cxnSpLocks/>
              <a:stCxn id="164" idx="2"/>
              <a:endCxn id="136" idx="0"/>
            </p:cNvCxnSpPr>
            <p:nvPr/>
          </p:nvCxnSpPr>
          <p:spPr>
            <a:xfrm>
              <a:off x="4481486" y="4715257"/>
              <a:ext cx="3109" cy="540496"/>
            </a:xfrm>
            <a:prstGeom prst="straightConnector1">
              <a:avLst/>
            </a:prstGeom>
            <a:ln w="1905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5" name="Gerade Verbindung mit Pfeil 154">
              <a:extLst>
                <a:ext uri="{FF2B5EF4-FFF2-40B4-BE49-F238E27FC236}">
                  <a16:creationId xmlns:a16="http://schemas.microsoft.com/office/drawing/2014/main" id="{E86B1F5B-AABD-D7DD-C4E8-7F052F847A11}"/>
                </a:ext>
              </a:extLst>
            </p:cNvPr>
            <p:cNvCxnSpPr>
              <a:cxnSpLocks/>
              <a:stCxn id="162" idx="2"/>
              <a:endCxn id="136" idx="0"/>
            </p:cNvCxnSpPr>
            <p:nvPr/>
          </p:nvCxnSpPr>
          <p:spPr>
            <a:xfrm>
              <a:off x="2856993" y="4713169"/>
              <a:ext cx="1627602" cy="542584"/>
            </a:xfrm>
            <a:prstGeom prst="straightConnector1">
              <a:avLst/>
            </a:prstGeom>
            <a:ln w="1905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56" name="Rechteck: abgerundete Ecken 155">
              <a:extLst>
                <a:ext uri="{FF2B5EF4-FFF2-40B4-BE49-F238E27FC236}">
                  <a16:creationId xmlns:a16="http://schemas.microsoft.com/office/drawing/2014/main" id="{8152346D-7EA1-97FE-7D8A-8E8687324924}"/>
                </a:ext>
              </a:extLst>
            </p:cNvPr>
            <p:cNvSpPr/>
            <p:nvPr/>
          </p:nvSpPr>
          <p:spPr>
            <a:xfrm>
              <a:off x="5583720" y="2890787"/>
              <a:ext cx="1090748" cy="385000"/>
            </a:xfrm>
            <a:prstGeom prst="round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157" name="Textfeld 156">
              <a:extLst>
                <a:ext uri="{FF2B5EF4-FFF2-40B4-BE49-F238E27FC236}">
                  <a16:creationId xmlns:a16="http://schemas.microsoft.com/office/drawing/2014/main" id="{4765083B-6DE0-FBE4-F0F5-036C18CFEAE1}"/>
                </a:ext>
              </a:extLst>
            </p:cNvPr>
            <p:cNvSpPr txBox="1"/>
            <p:nvPr/>
          </p:nvSpPr>
          <p:spPr>
            <a:xfrm>
              <a:off x="554779" y="2911353"/>
              <a:ext cx="1331900" cy="64633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GB" dirty="0"/>
                <a:t>Shuffled Data set 1</a:t>
              </a:r>
              <a:endParaRPr lang="en-US" dirty="0"/>
            </a:p>
          </p:txBody>
        </p:sp>
        <p:sp>
          <p:nvSpPr>
            <p:cNvPr id="158" name="Textfeld 157">
              <a:extLst>
                <a:ext uri="{FF2B5EF4-FFF2-40B4-BE49-F238E27FC236}">
                  <a16:creationId xmlns:a16="http://schemas.microsoft.com/office/drawing/2014/main" id="{9D9CBCA6-04BA-4203-2E8B-04B7080886D2}"/>
                </a:ext>
              </a:extLst>
            </p:cNvPr>
            <p:cNvSpPr txBox="1"/>
            <p:nvPr/>
          </p:nvSpPr>
          <p:spPr>
            <a:xfrm>
              <a:off x="2190901" y="2911353"/>
              <a:ext cx="1331900" cy="64633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GB" dirty="0"/>
                <a:t>Shuffled Data set 2</a:t>
              </a:r>
              <a:endParaRPr lang="en-US" dirty="0"/>
            </a:p>
          </p:txBody>
        </p:sp>
        <p:sp>
          <p:nvSpPr>
            <p:cNvPr id="159" name="Textfeld 158">
              <a:extLst>
                <a:ext uri="{FF2B5EF4-FFF2-40B4-BE49-F238E27FC236}">
                  <a16:creationId xmlns:a16="http://schemas.microsoft.com/office/drawing/2014/main" id="{0CB3510A-9FC8-E837-9836-ED86729FF6EC}"/>
                </a:ext>
              </a:extLst>
            </p:cNvPr>
            <p:cNvSpPr txBox="1"/>
            <p:nvPr/>
          </p:nvSpPr>
          <p:spPr>
            <a:xfrm>
              <a:off x="3815394" y="2913441"/>
              <a:ext cx="1331900" cy="64633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GB" dirty="0"/>
                <a:t>Shuffled Data set 3</a:t>
              </a:r>
              <a:endParaRPr lang="en-US" dirty="0"/>
            </a:p>
          </p:txBody>
        </p:sp>
        <p:sp>
          <p:nvSpPr>
            <p:cNvPr id="160" name="Textfeld 159">
              <a:extLst>
                <a:ext uri="{FF2B5EF4-FFF2-40B4-BE49-F238E27FC236}">
                  <a16:creationId xmlns:a16="http://schemas.microsoft.com/office/drawing/2014/main" id="{F5644A53-9DDF-45D3-A593-E1FE9D20EB17}"/>
                </a:ext>
              </a:extLst>
            </p:cNvPr>
            <p:cNvSpPr txBox="1"/>
            <p:nvPr/>
          </p:nvSpPr>
          <p:spPr>
            <a:xfrm>
              <a:off x="5582619" y="3084243"/>
              <a:ext cx="1331900" cy="338246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GB" sz="2100" dirty="0"/>
                <a:t>·······</a:t>
              </a:r>
              <a:endParaRPr lang="en-US" sz="2100" dirty="0"/>
            </a:p>
          </p:txBody>
        </p:sp>
        <p:sp>
          <p:nvSpPr>
            <p:cNvPr id="161" name="Textfeld 160">
              <a:extLst>
                <a:ext uri="{FF2B5EF4-FFF2-40B4-BE49-F238E27FC236}">
                  <a16:creationId xmlns:a16="http://schemas.microsoft.com/office/drawing/2014/main" id="{A3763E95-D352-3656-214C-65CEDD0CD791}"/>
                </a:ext>
              </a:extLst>
            </p:cNvPr>
            <p:cNvSpPr txBox="1"/>
            <p:nvPr/>
          </p:nvSpPr>
          <p:spPr>
            <a:xfrm>
              <a:off x="7099266" y="2912711"/>
              <a:ext cx="1331900" cy="64633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GB" dirty="0"/>
                <a:t>Shuffled Data set N</a:t>
              </a:r>
              <a:endParaRPr lang="en-US" dirty="0"/>
            </a:p>
          </p:txBody>
        </p:sp>
        <p:sp>
          <p:nvSpPr>
            <p:cNvPr id="162" name="Rechteck: abgerundete Ecken 161">
              <a:extLst>
                <a:ext uri="{FF2B5EF4-FFF2-40B4-BE49-F238E27FC236}">
                  <a16:creationId xmlns:a16="http://schemas.microsoft.com/office/drawing/2014/main" id="{21997411-B529-409F-91C3-F9773BD18F9C}"/>
                </a:ext>
              </a:extLst>
            </p:cNvPr>
            <p:cNvSpPr/>
            <p:nvPr/>
          </p:nvSpPr>
          <p:spPr>
            <a:xfrm>
              <a:off x="2311619" y="3754943"/>
              <a:ext cx="1090748" cy="958226"/>
            </a:xfrm>
            <a:prstGeom prst="roundRect">
              <a:avLst/>
            </a:prstGeom>
            <a:solidFill>
              <a:schemeClr val="bg2"/>
            </a:solidFill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163" name="Rechteck: abgerundete Ecken 162">
              <a:extLst>
                <a:ext uri="{FF2B5EF4-FFF2-40B4-BE49-F238E27FC236}">
                  <a16:creationId xmlns:a16="http://schemas.microsoft.com/office/drawing/2014/main" id="{F95F1D4D-62DC-F69D-7409-38DB50745143}"/>
                </a:ext>
              </a:extLst>
            </p:cNvPr>
            <p:cNvSpPr/>
            <p:nvPr/>
          </p:nvSpPr>
          <p:spPr>
            <a:xfrm>
              <a:off x="7219982" y="3754943"/>
              <a:ext cx="1090748" cy="958226"/>
            </a:xfrm>
            <a:prstGeom prst="roundRect">
              <a:avLst/>
            </a:prstGeom>
            <a:solidFill>
              <a:schemeClr val="bg2"/>
            </a:solidFill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164" name="Rechteck: abgerundete Ecken 163">
              <a:extLst>
                <a:ext uri="{FF2B5EF4-FFF2-40B4-BE49-F238E27FC236}">
                  <a16:creationId xmlns:a16="http://schemas.microsoft.com/office/drawing/2014/main" id="{0D16BCD6-03F1-18DF-E3FD-25D4343CB39F}"/>
                </a:ext>
              </a:extLst>
            </p:cNvPr>
            <p:cNvSpPr/>
            <p:nvPr/>
          </p:nvSpPr>
          <p:spPr>
            <a:xfrm>
              <a:off x="3936112" y="3757031"/>
              <a:ext cx="1090748" cy="958226"/>
            </a:xfrm>
            <a:prstGeom prst="roundRect">
              <a:avLst/>
            </a:prstGeom>
            <a:solidFill>
              <a:schemeClr val="bg2"/>
            </a:solidFill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165" name="Rechteck: abgerundete Ecken 164">
              <a:extLst>
                <a:ext uri="{FF2B5EF4-FFF2-40B4-BE49-F238E27FC236}">
                  <a16:creationId xmlns:a16="http://schemas.microsoft.com/office/drawing/2014/main" id="{9AB98789-9608-017C-C789-CA2C51716458}"/>
                </a:ext>
              </a:extLst>
            </p:cNvPr>
            <p:cNvSpPr/>
            <p:nvPr/>
          </p:nvSpPr>
          <p:spPr>
            <a:xfrm>
              <a:off x="675496" y="3754943"/>
              <a:ext cx="1090748" cy="958226"/>
            </a:xfrm>
            <a:prstGeom prst="roundRect">
              <a:avLst/>
            </a:prstGeom>
            <a:solidFill>
              <a:schemeClr val="bg2"/>
            </a:solidFill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166" name="Rechteck: abgerundete Ecken 165">
              <a:extLst>
                <a:ext uri="{FF2B5EF4-FFF2-40B4-BE49-F238E27FC236}">
                  <a16:creationId xmlns:a16="http://schemas.microsoft.com/office/drawing/2014/main" id="{619C3AAF-9579-B38B-FB64-D77D35F40076}"/>
                </a:ext>
              </a:extLst>
            </p:cNvPr>
            <p:cNvSpPr/>
            <p:nvPr/>
          </p:nvSpPr>
          <p:spPr>
            <a:xfrm>
              <a:off x="5583860" y="3754943"/>
              <a:ext cx="1090748" cy="385000"/>
            </a:xfrm>
            <a:prstGeom prst="round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167" name="Textfeld 166">
              <a:extLst>
                <a:ext uri="{FF2B5EF4-FFF2-40B4-BE49-F238E27FC236}">
                  <a16:creationId xmlns:a16="http://schemas.microsoft.com/office/drawing/2014/main" id="{EA06FC61-61CB-CAD5-5682-E653E35DE96A}"/>
                </a:ext>
              </a:extLst>
            </p:cNvPr>
            <p:cNvSpPr txBox="1"/>
            <p:nvPr/>
          </p:nvSpPr>
          <p:spPr>
            <a:xfrm>
              <a:off x="5582759" y="3775509"/>
              <a:ext cx="1331900" cy="338246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GB" sz="2100" dirty="0"/>
                <a:t>·······</a:t>
              </a:r>
              <a:endParaRPr lang="en-US" sz="2100" dirty="0"/>
            </a:p>
          </p:txBody>
        </p:sp>
        <p:cxnSp>
          <p:nvCxnSpPr>
            <p:cNvPr id="168" name="Gerade Verbindung mit Pfeil 167">
              <a:extLst>
                <a:ext uri="{FF2B5EF4-FFF2-40B4-BE49-F238E27FC236}">
                  <a16:creationId xmlns:a16="http://schemas.microsoft.com/office/drawing/2014/main" id="{FC283F6B-8F94-4367-5EC2-C9BE76B2273F}"/>
                </a:ext>
              </a:extLst>
            </p:cNvPr>
            <p:cNvCxnSpPr>
              <a:cxnSpLocks/>
            </p:cNvCxnSpPr>
            <p:nvPr/>
          </p:nvCxnSpPr>
          <p:spPr>
            <a:xfrm>
              <a:off x="6248569" y="3498349"/>
              <a:ext cx="0" cy="260443"/>
            </a:xfrm>
            <a:prstGeom prst="straightConnector1">
              <a:avLst/>
            </a:prstGeom>
            <a:ln w="1905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69" name="Textfeld 168">
              <a:extLst>
                <a:ext uri="{FF2B5EF4-FFF2-40B4-BE49-F238E27FC236}">
                  <a16:creationId xmlns:a16="http://schemas.microsoft.com/office/drawing/2014/main" id="{D7778B0E-2B56-2440-0B94-13B59673F89C}"/>
                </a:ext>
              </a:extLst>
            </p:cNvPr>
            <p:cNvSpPr txBox="1"/>
            <p:nvPr/>
          </p:nvSpPr>
          <p:spPr>
            <a:xfrm>
              <a:off x="3485566" y="1936684"/>
              <a:ext cx="1896593" cy="36933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GB" dirty="0"/>
                <a:t>Data Set</a:t>
              </a:r>
              <a:endParaRPr lang="en-US" dirty="0"/>
            </a:p>
          </p:txBody>
        </p:sp>
        <p:sp>
          <p:nvSpPr>
            <p:cNvPr id="170" name="Textfeld 169">
              <a:extLst>
                <a:ext uri="{FF2B5EF4-FFF2-40B4-BE49-F238E27FC236}">
                  <a16:creationId xmlns:a16="http://schemas.microsoft.com/office/drawing/2014/main" id="{EDBF9989-340E-FCD1-F2AD-BF1C5866EFE1}"/>
                </a:ext>
              </a:extLst>
            </p:cNvPr>
            <p:cNvSpPr txBox="1"/>
            <p:nvPr/>
          </p:nvSpPr>
          <p:spPr>
            <a:xfrm>
              <a:off x="3807593" y="5319114"/>
              <a:ext cx="1346947" cy="36933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GB" dirty="0"/>
                <a:t>Output</a:t>
              </a:r>
              <a:endParaRPr lang="en-US" dirty="0"/>
            </a:p>
          </p:txBody>
        </p:sp>
        <p:pic>
          <p:nvPicPr>
            <p:cNvPr id="171" name="Grafik 170">
              <a:extLst>
                <a:ext uri="{FF2B5EF4-FFF2-40B4-BE49-F238E27FC236}">
                  <a16:creationId xmlns:a16="http://schemas.microsoft.com/office/drawing/2014/main" id="{1CF10836-C622-0B0F-7C8F-A67F820FF66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722618" y="3816376"/>
              <a:ext cx="994021" cy="849700"/>
            </a:xfrm>
            <a:prstGeom prst="rect">
              <a:avLst/>
            </a:prstGeom>
          </p:spPr>
        </p:pic>
        <p:sp>
          <p:nvSpPr>
            <p:cNvPr id="172" name="Rechteck: abgerundete Ecken 171">
              <a:extLst>
                <a:ext uri="{FF2B5EF4-FFF2-40B4-BE49-F238E27FC236}">
                  <a16:creationId xmlns:a16="http://schemas.microsoft.com/office/drawing/2014/main" id="{4BEF2660-B6D5-E07D-C53F-ABE49C3CB512}"/>
                </a:ext>
              </a:extLst>
            </p:cNvPr>
            <p:cNvSpPr/>
            <p:nvPr/>
          </p:nvSpPr>
          <p:spPr>
            <a:xfrm>
              <a:off x="2311619" y="3754943"/>
              <a:ext cx="1090748" cy="958226"/>
            </a:xfrm>
            <a:prstGeom prst="roundRect">
              <a:avLst/>
            </a:prstGeom>
            <a:solidFill>
              <a:schemeClr val="bg2"/>
            </a:solidFill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pic>
          <p:nvPicPr>
            <p:cNvPr id="173" name="Grafik 172">
              <a:extLst>
                <a:ext uri="{FF2B5EF4-FFF2-40B4-BE49-F238E27FC236}">
                  <a16:creationId xmlns:a16="http://schemas.microsoft.com/office/drawing/2014/main" id="{1E0D3A09-CCF0-D2B5-5854-EEE55103772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2358741" y="3816376"/>
              <a:ext cx="994021" cy="849700"/>
            </a:xfrm>
            <a:prstGeom prst="rect">
              <a:avLst/>
            </a:prstGeom>
          </p:spPr>
        </p:pic>
        <p:sp>
          <p:nvSpPr>
            <p:cNvPr id="174" name="Rechteck: abgerundete Ecken 173">
              <a:extLst>
                <a:ext uri="{FF2B5EF4-FFF2-40B4-BE49-F238E27FC236}">
                  <a16:creationId xmlns:a16="http://schemas.microsoft.com/office/drawing/2014/main" id="{37435069-EAFB-2283-555C-5A9566D21CE7}"/>
                </a:ext>
              </a:extLst>
            </p:cNvPr>
            <p:cNvSpPr/>
            <p:nvPr/>
          </p:nvSpPr>
          <p:spPr>
            <a:xfrm>
              <a:off x="3941563" y="3757833"/>
              <a:ext cx="1090748" cy="958226"/>
            </a:xfrm>
            <a:prstGeom prst="roundRect">
              <a:avLst/>
            </a:prstGeom>
            <a:solidFill>
              <a:schemeClr val="bg2"/>
            </a:solidFill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pic>
          <p:nvPicPr>
            <p:cNvPr id="175" name="Grafik 174">
              <a:extLst>
                <a:ext uri="{FF2B5EF4-FFF2-40B4-BE49-F238E27FC236}">
                  <a16:creationId xmlns:a16="http://schemas.microsoft.com/office/drawing/2014/main" id="{68B6AF1A-AE2F-60FF-1FA3-A6804916F68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988685" y="3819266"/>
              <a:ext cx="994021" cy="849700"/>
            </a:xfrm>
            <a:prstGeom prst="rect">
              <a:avLst/>
            </a:prstGeom>
          </p:spPr>
        </p:pic>
        <p:sp>
          <p:nvSpPr>
            <p:cNvPr id="176" name="Rechteck: abgerundete Ecken 175">
              <a:extLst>
                <a:ext uri="{FF2B5EF4-FFF2-40B4-BE49-F238E27FC236}">
                  <a16:creationId xmlns:a16="http://schemas.microsoft.com/office/drawing/2014/main" id="{EF822E34-561B-A65A-B1BE-A56AF2FDDA42}"/>
                </a:ext>
              </a:extLst>
            </p:cNvPr>
            <p:cNvSpPr/>
            <p:nvPr/>
          </p:nvSpPr>
          <p:spPr>
            <a:xfrm>
              <a:off x="7219636" y="3754943"/>
              <a:ext cx="1090748" cy="958226"/>
            </a:xfrm>
            <a:prstGeom prst="roundRect">
              <a:avLst/>
            </a:prstGeom>
            <a:solidFill>
              <a:schemeClr val="bg2"/>
            </a:solidFill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pic>
          <p:nvPicPr>
            <p:cNvPr id="177" name="Grafik 176">
              <a:extLst>
                <a:ext uri="{FF2B5EF4-FFF2-40B4-BE49-F238E27FC236}">
                  <a16:creationId xmlns:a16="http://schemas.microsoft.com/office/drawing/2014/main" id="{07B48DE4-1619-1A47-7037-9151D8A02F1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7266758" y="3816376"/>
              <a:ext cx="994021" cy="849700"/>
            </a:xfrm>
            <a:prstGeom prst="rect">
              <a:avLst/>
            </a:prstGeom>
          </p:spPr>
        </p:pic>
      </p:grpSp>
      <p:pic>
        <p:nvPicPr>
          <p:cNvPr id="6" name="Grafik 5">
            <a:extLst>
              <a:ext uri="{FF2B5EF4-FFF2-40B4-BE49-F238E27FC236}">
                <a16:creationId xmlns:a16="http://schemas.microsoft.com/office/drawing/2014/main" id="{69B6FDB3-59F5-1731-34CC-3887402647DF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21502" y="191192"/>
            <a:ext cx="3744886" cy="1130532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69152303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>
                      <p:stCondLst>
                        <p:cond delay="indefinite"/>
                      </p:stCondLst>
                      <p:childTnLst>
                        <p:par>
                          <p:cTn id="52" fill="hold">
                            <p:stCondLst>
                              <p:cond delay="0"/>
                            </p:stCondLst>
                            <p:childTnLst>
                              <p:par>
                                <p:cTn id="5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7" fill="hold">
                      <p:stCondLst>
                        <p:cond delay="indefinite"/>
                      </p:stCondLst>
                      <p:childTnLst>
                        <p:par>
                          <p:cTn id="68" fill="hold">
                            <p:stCondLst>
                              <p:cond delay="0"/>
                            </p:stCondLst>
                            <p:childTnLst>
                              <p:par>
                                <p:cTn id="6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3" fill="hold">
                      <p:stCondLst>
                        <p:cond delay="indefinite"/>
                      </p:stCondLst>
                      <p:childTnLst>
                        <p:par>
                          <p:cTn id="84" fill="hold">
                            <p:stCondLst>
                              <p:cond delay="0"/>
                            </p:stCondLst>
                            <p:childTnLst>
                              <p:par>
                                <p:cTn id="8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6" grpId="0" animBg="1"/>
      <p:bldP spid="97" grpId="0" animBg="1"/>
      <p:bldP spid="101" grpId="0" animBg="1"/>
      <p:bldP spid="102" grpId="0" animBg="1"/>
      <p:bldP spid="110" grpId="0" animBg="1"/>
      <p:bldP spid="111" grpId="0"/>
      <p:bldP spid="112" grpId="0"/>
      <p:bldP spid="113" grpId="0"/>
      <p:bldP spid="114" grpId="0"/>
      <p:bldP spid="115" grpId="0"/>
      <p:bldP spid="116" grpId="0" animBg="1"/>
      <p:bldP spid="117" grpId="0" animBg="1"/>
      <p:bldP spid="118" grpId="0" animBg="1"/>
      <p:bldP spid="119" grpId="0" animBg="1"/>
      <p:bldP spid="120" grpId="0" animBg="1"/>
      <p:bldP spid="121" grpId="0"/>
      <p:bldP spid="122" grpId="0"/>
      <p:bldP spid="123" grpId="0"/>
      <p:bldP spid="124" grpId="0"/>
      <p:bldP spid="125" grpId="0"/>
    </p:bld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41B1E97-A59B-5EE1-0C59-8F87C40484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395588"/>
            <a:ext cx="11233150" cy="374398"/>
          </a:xfrm>
        </p:spPr>
        <p:txBody>
          <a:bodyPr/>
          <a:lstStyle/>
          <a:p>
            <a:r>
              <a:rPr lang="de-DE" dirty="0"/>
              <a:t>Methode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4BBE4E87-59A0-4A5C-F98E-BA5DC138FC2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5A82B2D-840F-4167-AD44-C02BC9C87CCB}" type="datetime1">
              <a:rPr lang="de-DE" noProof="0" smtClean="0"/>
              <a:t>15.11.22</a:t>
            </a:fld>
            <a:endParaRPr lang="de-DE" noProof="0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2222B4A9-2A41-9E0D-E6DD-125E0384325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/>
              <a:t>© Universität zu Lübeck</a:t>
            </a:r>
            <a:endParaRPr lang="de-DE" noProof="0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AB21B86A-A4AE-54F4-4B55-8E6C5DF8804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 noProof="0"/>
              <a:t>Seite</a:t>
            </a:r>
            <a:r>
              <a:rPr lang="en-US"/>
              <a:t> </a:t>
            </a:r>
            <a:fld id="{401BA3E4-5E55-4F99-AF09-CC6D6B2539E2}" type="slidenum">
              <a:rPr lang="en-US" smtClean="0"/>
              <a:pPr/>
              <a:t>32</a:t>
            </a:fld>
            <a:endParaRPr lang="en-US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394BC78B-B3FC-84EE-A44F-09CDD2B550B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9425" y="778321"/>
            <a:ext cx="11233150" cy="312008"/>
          </a:xfrm>
        </p:spPr>
        <p:txBody>
          <a:bodyPr/>
          <a:lstStyle/>
          <a:p>
            <a:r>
              <a:rPr lang="de-DE" dirty="0"/>
              <a:t>Arterien Segmentierung </a:t>
            </a:r>
            <a:r>
              <a:rPr lang="de-DE" sz="2000" b="0" i="0" kern="1200" dirty="0">
                <a:solidFill>
                  <a:srgbClr val="084653"/>
                </a:solidFill>
                <a:effectLst/>
                <a:latin typeface="Myriad Pro" panose="020B0503030403020204"/>
                <a:ea typeface="+mn-ea"/>
                <a:cs typeface="+mn-cs"/>
              </a:rPr>
              <a:t>—</a:t>
            </a:r>
            <a:r>
              <a:rPr lang="de-DE" dirty="0"/>
              <a:t> Ensemble (Homogen)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4263824A-67C4-422A-B0DE-D70427A9A60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de-DE"/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A42335D0-E291-AE29-B16A-3A3C1AB080A5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8199" y="1703131"/>
            <a:ext cx="3600000" cy="2700000"/>
          </a:xfrm>
          <a:prstGeom prst="rect">
            <a:avLst/>
          </a:prstGeom>
        </p:spPr>
      </p:pic>
      <p:pic>
        <p:nvPicPr>
          <p:cNvPr id="11" name="Grafik 10" descr="Ein Bild, das Silhouette enthält.&#10;&#10;Automatisch generierte Beschreibung">
            <a:extLst>
              <a:ext uri="{FF2B5EF4-FFF2-40B4-BE49-F238E27FC236}">
                <a16:creationId xmlns:a16="http://schemas.microsoft.com/office/drawing/2014/main" id="{D5C801A6-CEA6-B163-FC89-E5F687D5AE99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94774" y="1703131"/>
            <a:ext cx="3600000" cy="2700000"/>
          </a:xfrm>
          <a:prstGeom prst="rect">
            <a:avLst/>
          </a:prstGeom>
        </p:spPr>
      </p:pic>
      <p:pic>
        <p:nvPicPr>
          <p:cNvPr id="15" name="Grafik 14" descr="Ein Bild, das Silhouette enthält.&#10;&#10;Automatisch generierte Beschreibung">
            <a:extLst>
              <a:ext uri="{FF2B5EF4-FFF2-40B4-BE49-F238E27FC236}">
                <a16:creationId xmlns:a16="http://schemas.microsoft.com/office/drawing/2014/main" id="{1873007B-7F8F-840A-DD7A-ECE5BF9ED437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11349" y="1703131"/>
            <a:ext cx="3600000" cy="2700000"/>
          </a:xfrm>
          <a:prstGeom prst="rect">
            <a:avLst/>
          </a:prstGeom>
        </p:spPr>
      </p:pic>
      <p:sp>
        <p:nvSpPr>
          <p:cNvPr id="8" name="Textfeld 7">
            <a:extLst>
              <a:ext uri="{FF2B5EF4-FFF2-40B4-BE49-F238E27FC236}">
                <a16:creationId xmlns:a16="http://schemas.microsoft.com/office/drawing/2014/main" id="{207A89E6-DC60-B237-A581-89138B6EF181}"/>
              </a:ext>
            </a:extLst>
          </p:cNvPr>
          <p:cNvSpPr txBox="1"/>
          <p:nvPr/>
        </p:nvSpPr>
        <p:spPr bwMode="gray">
          <a:xfrm>
            <a:off x="478198" y="4403131"/>
            <a:ext cx="3599999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de-DE" sz="1800" dirty="0"/>
              <a:t>RGB Input</a:t>
            </a:r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86AE1158-A4CC-2091-BC72-1B8ABBC502FE}"/>
              </a:ext>
            </a:extLst>
          </p:cNvPr>
          <p:cNvSpPr txBox="1"/>
          <p:nvPr/>
        </p:nvSpPr>
        <p:spPr bwMode="gray">
          <a:xfrm>
            <a:off x="4294775" y="4403131"/>
            <a:ext cx="3599999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de-DE" sz="1800" dirty="0"/>
              <a:t>GT Mask</a:t>
            </a:r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0F6C8A33-5D37-C7E1-70C1-A616F8D74AA0}"/>
              </a:ext>
            </a:extLst>
          </p:cNvPr>
          <p:cNvSpPr txBox="1"/>
          <p:nvPr/>
        </p:nvSpPr>
        <p:spPr bwMode="gray">
          <a:xfrm>
            <a:off x="8111349" y="4406228"/>
            <a:ext cx="3599999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de-DE" sz="1800" dirty="0" err="1"/>
              <a:t>Overlap</a:t>
            </a:r>
            <a:r>
              <a:rPr lang="de-DE" sz="1800" dirty="0"/>
              <a:t> </a:t>
            </a:r>
            <a:r>
              <a:rPr lang="de-DE" sz="1800" dirty="0" err="1"/>
              <a:t>Pred</a:t>
            </a:r>
            <a:endParaRPr lang="de-DE" sz="1800" dirty="0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5771BE70-14E0-9674-0AD4-51CD6E7B75F7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11346" y="1703131"/>
            <a:ext cx="3600000" cy="2700000"/>
          </a:xfrm>
          <a:prstGeom prst="rect">
            <a:avLst/>
          </a:prstGeom>
        </p:spPr>
      </p:pic>
      <p:pic>
        <p:nvPicPr>
          <p:cNvPr id="14" name="Grafik 13" descr="Ein Bild, das Silhouette enthält.&#10;&#10;Automatisch generierte Beschreibung">
            <a:extLst>
              <a:ext uri="{FF2B5EF4-FFF2-40B4-BE49-F238E27FC236}">
                <a16:creationId xmlns:a16="http://schemas.microsoft.com/office/drawing/2014/main" id="{3D1AB0DD-BB63-9E38-70AC-D06CED124CF0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94771" y="1703131"/>
            <a:ext cx="3600000" cy="2700000"/>
          </a:xfrm>
          <a:prstGeom prst="rect">
            <a:avLst/>
          </a:prstGeom>
        </p:spPr>
      </p:pic>
      <p:pic>
        <p:nvPicPr>
          <p:cNvPr id="16" name="Grafik 15" descr="Ein Bild, das Text, Gewebe enthält.&#10;&#10;Automatisch generierte Beschreibung">
            <a:extLst>
              <a:ext uri="{FF2B5EF4-FFF2-40B4-BE49-F238E27FC236}">
                <a16:creationId xmlns:a16="http://schemas.microsoft.com/office/drawing/2014/main" id="{73E82BED-58EF-3247-25E7-C3E6156F411D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8196" y="1703131"/>
            <a:ext cx="3600000" cy="2700000"/>
          </a:xfrm>
          <a:prstGeom prst="rect">
            <a:avLst/>
          </a:prstGeom>
        </p:spPr>
      </p:pic>
      <p:pic>
        <p:nvPicPr>
          <p:cNvPr id="17" name="Grafik 16">
            <a:extLst>
              <a:ext uri="{FF2B5EF4-FFF2-40B4-BE49-F238E27FC236}">
                <a16:creationId xmlns:a16="http://schemas.microsoft.com/office/drawing/2014/main" id="{85CF5A6B-85ED-0D83-10FF-A3CE06E5461A}"/>
              </a:ext>
            </a:extLst>
          </p:cNvPr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21502" y="191192"/>
            <a:ext cx="3744886" cy="1130532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9151911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  <p:bldP spid="10" grpId="0"/>
      <p:bldP spid="12" grpId="0"/>
    </p:bld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B9F5726-9743-559C-44B7-28BCF753CDA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395588"/>
            <a:ext cx="11233150" cy="374398"/>
          </a:xfrm>
        </p:spPr>
        <p:txBody>
          <a:bodyPr/>
          <a:lstStyle/>
          <a:p>
            <a:r>
              <a:rPr lang="de-DE" dirty="0"/>
              <a:t>Methode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0A4E1061-0C55-7450-F7F3-0ECA40053FB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225054-8F4D-4B67-8803-E473E83FD8A6}" type="datetime1">
              <a:rPr lang="de-DE" noProof="0" smtClean="0"/>
              <a:t>15.11.22</a:t>
            </a:fld>
            <a:endParaRPr lang="de-DE" noProof="0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85026CBD-C28D-1239-FF11-CB093AC93CB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/>
              <a:t>© Universität zu Lübeck</a:t>
            </a:r>
            <a:endParaRPr lang="de-DE" noProof="0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B3D8F5EA-A8A7-1DEA-C1C9-FE439AFE483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 noProof="0"/>
              <a:t>Seite</a:t>
            </a:r>
            <a:r>
              <a:rPr lang="en-US"/>
              <a:t> </a:t>
            </a:r>
            <a:fld id="{401BA3E4-5E55-4F99-AF09-CC6D6B2539E2}" type="slidenum">
              <a:rPr lang="en-US" smtClean="0"/>
              <a:pPr/>
              <a:t>33</a:t>
            </a:fld>
            <a:endParaRPr lang="en-US" dirty="0"/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660676AF-70D0-59AF-4157-1564C600A56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9425" y="778321"/>
            <a:ext cx="11233150" cy="312008"/>
          </a:xfrm>
        </p:spPr>
        <p:txBody>
          <a:bodyPr/>
          <a:lstStyle/>
          <a:p>
            <a:r>
              <a:rPr lang="de-DE" dirty="0"/>
              <a:t>Arterien Segmentierung </a:t>
            </a:r>
            <a:r>
              <a:rPr lang="de-DE" sz="2000" dirty="0"/>
              <a:t>— Heterogenes Ensemble </a:t>
            </a:r>
            <a:endParaRPr lang="de-DE" dirty="0"/>
          </a:p>
        </p:txBody>
      </p:sp>
      <p:sp>
        <p:nvSpPr>
          <p:cNvPr id="43" name="Rechteck: abgerundete Ecken 42">
            <a:extLst>
              <a:ext uri="{FF2B5EF4-FFF2-40B4-BE49-F238E27FC236}">
                <a16:creationId xmlns:a16="http://schemas.microsoft.com/office/drawing/2014/main" id="{EE496C91-B5C4-65C6-3215-D919192CDC14}"/>
              </a:ext>
            </a:extLst>
          </p:cNvPr>
          <p:cNvSpPr/>
          <p:nvPr/>
        </p:nvSpPr>
        <p:spPr>
          <a:xfrm>
            <a:off x="2108048" y="3651489"/>
            <a:ext cx="1471931" cy="487961"/>
          </a:xfrm>
          <a:prstGeom prst="roundRect">
            <a:avLst/>
          </a:prstGeom>
          <a:solidFill>
            <a:schemeClr val="bg2"/>
          </a:solidFill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Textfeld 43">
            <a:extLst>
              <a:ext uri="{FF2B5EF4-FFF2-40B4-BE49-F238E27FC236}">
                <a16:creationId xmlns:a16="http://schemas.microsoft.com/office/drawing/2014/main" id="{7AE1E523-A56B-84DB-5715-9B51A99955B3}"/>
              </a:ext>
            </a:extLst>
          </p:cNvPr>
          <p:cNvSpPr txBox="1"/>
          <p:nvPr/>
        </p:nvSpPr>
        <p:spPr>
          <a:xfrm>
            <a:off x="1878244" y="3707157"/>
            <a:ext cx="1952819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GB" dirty="0"/>
              <a:t>U-Net++</a:t>
            </a:r>
            <a:endParaRPr lang="en-US" dirty="0"/>
          </a:p>
        </p:txBody>
      </p:sp>
      <p:sp>
        <p:nvSpPr>
          <p:cNvPr id="45" name="Rechteck: abgerundete Ecken 44">
            <a:extLst>
              <a:ext uri="{FF2B5EF4-FFF2-40B4-BE49-F238E27FC236}">
                <a16:creationId xmlns:a16="http://schemas.microsoft.com/office/drawing/2014/main" id="{A728D65E-09A3-945E-037A-C1C1A584E56E}"/>
              </a:ext>
            </a:extLst>
          </p:cNvPr>
          <p:cNvSpPr/>
          <p:nvPr/>
        </p:nvSpPr>
        <p:spPr>
          <a:xfrm>
            <a:off x="5796025" y="3651489"/>
            <a:ext cx="674413" cy="487961"/>
          </a:xfrm>
          <a:prstGeom prst="roundRect">
            <a:avLst/>
          </a:prstGeom>
          <a:solidFill>
            <a:schemeClr val="bg2"/>
          </a:solidFill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6" name="Rechteck: abgerundete Ecken 45">
            <a:extLst>
              <a:ext uri="{FF2B5EF4-FFF2-40B4-BE49-F238E27FC236}">
                <a16:creationId xmlns:a16="http://schemas.microsoft.com/office/drawing/2014/main" id="{CABBD18B-7590-AF41-980D-163EF08A6FB2}"/>
              </a:ext>
            </a:extLst>
          </p:cNvPr>
          <p:cNvSpPr/>
          <p:nvPr/>
        </p:nvSpPr>
        <p:spPr>
          <a:xfrm>
            <a:off x="3989059" y="1908923"/>
            <a:ext cx="960146" cy="416551"/>
          </a:xfrm>
          <a:prstGeom prst="roundRect">
            <a:avLst/>
          </a:prstGeom>
          <a:solidFill>
            <a:schemeClr val="bg2"/>
          </a:solidFill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7" name="Rechteck: abgerundete Ecken 46">
            <a:extLst>
              <a:ext uri="{FF2B5EF4-FFF2-40B4-BE49-F238E27FC236}">
                <a16:creationId xmlns:a16="http://schemas.microsoft.com/office/drawing/2014/main" id="{0DCA3DDE-8CB0-2EAA-81F8-27E3E2CB92DF}"/>
              </a:ext>
            </a:extLst>
          </p:cNvPr>
          <p:cNvSpPr/>
          <p:nvPr/>
        </p:nvSpPr>
        <p:spPr>
          <a:xfrm>
            <a:off x="7397751" y="3651489"/>
            <a:ext cx="876300" cy="487961"/>
          </a:xfrm>
          <a:prstGeom prst="roundRect">
            <a:avLst/>
          </a:prstGeom>
          <a:solidFill>
            <a:schemeClr val="bg2"/>
          </a:solidFill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8" name="Rechteck: abgerundete Ecken 47">
            <a:extLst>
              <a:ext uri="{FF2B5EF4-FFF2-40B4-BE49-F238E27FC236}">
                <a16:creationId xmlns:a16="http://schemas.microsoft.com/office/drawing/2014/main" id="{4FF0944B-6E48-B49F-9970-BBEB80121B19}"/>
              </a:ext>
            </a:extLst>
          </p:cNvPr>
          <p:cNvSpPr/>
          <p:nvPr/>
        </p:nvSpPr>
        <p:spPr>
          <a:xfrm>
            <a:off x="3973606" y="5255753"/>
            <a:ext cx="1021976" cy="487961"/>
          </a:xfrm>
          <a:prstGeom prst="roundRect">
            <a:avLst/>
          </a:prstGeom>
          <a:solidFill>
            <a:schemeClr val="bg2"/>
          </a:solidFill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49" name="Gerade Verbindung mit Pfeil 48">
            <a:extLst>
              <a:ext uri="{FF2B5EF4-FFF2-40B4-BE49-F238E27FC236}">
                <a16:creationId xmlns:a16="http://schemas.microsoft.com/office/drawing/2014/main" id="{B709D0EB-158D-0FF1-EE99-E23CB5722A40}"/>
              </a:ext>
            </a:extLst>
          </p:cNvPr>
          <p:cNvCxnSpPr>
            <a:cxnSpLocks/>
            <a:stCxn id="46" idx="2"/>
            <a:endCxn id="43" idx="0"/>
          </p:cNvCxnSpPr>
          <p:nvPr/>
        </p:nvCxnSpPr>
        <p:spPr>
          <a:xfrm flipH="1">
            <a:off x="2844014" y="2325474"/>
            <a:ext cx="1625118" cy="1326015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Gerade Verbindung mit Pfeil 49">
            <a:extLst>
              <a:ext uri="{FF2B5EF4-FFF2-40B4-BE49-F238E27FC236}">
                <a16:creationId xmlns:a16="http://schemas.microsoft.com/office/drawing/2014/main" id="{D5EDEEBE-0E63-8780-BF60-C1A502827FB9}"/>
              </a:ext>
            </a:extLst>
          </p:cNvPr>
          <p:cNvCxnSpPr>
            <a:cxnSpLocks/>
            <a:stCxn id="46" idx="2"/>
            <a:endCxn id="45" idx="0"/>
          </p:cNvCxnSpPr>
          <p:nvPr/>
        </p:nvCxnSpPr>
        <p:spPr>
          <a:xfrm>
            <a:off x="4469132" y="2325474"/>
            <a:ext cx="1664100" cy="1326015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Gerade Verbindung mit Pfeil 50">
            <a:extLst>
              <a:ext uri="{FF2B5EF4-FFF2-40B4-BE49-F238E27FC236}">
                <a16:creationId xmlns:a16="http://schemas.microsoft.com/office/drawing/2014/main" id="{14B54B5A-D8AE-C01C-E2DF-0377111D3112}"/>
              </a:ext>
            </a:extLst>
          </p:cNvPr>
          <p:cNvCxnSpPr>
            <a:cxnSpLocks/>
            <a:stCxn id="46" idx="2"/>
            <a:endCxn id="52" idx="0"/>
          </p:cNvCxnSpPr>
          <p:nvPr/>
        </p:nvCxnSpPr>
        <p:spPr>
          <a:xfrm>
            <a:off x="4469132" y="2325474"/>
            <a:ext cx="11936" cy="1326014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Rechteck: abgerundete Ecken 51">
            <a:extLst>
              <a:ext uri="{FF2B5EF4-FFF2-40B4-BE49-F238E27FC236}">
                <a16:creationId xmlns:a16="http://schemas.microsoft.com/office/drawing/2014/main" id="{D15002B5-CBA6-9B1A-F039-218C883E2F14}"/>
              </a:ext>
            </a:extLst>
          </p:cNvPr>
          <p:cNvSpPr/>
          <p:nvPr/>
        </p:nvSpPr>
        <p:spPr>
          <a:xfrm>
            <a:off x="4125499" y="3651488"/>
            <a:ext cx="711137" cy="487961"/>
          </a:xfrm>
          <a:prstGeom prst="roundRect">
            <a:avLst/>
          </a:prstGeom>
          <a:solidFill>
            <a:schemeClr val="bg2"/>
          </a:solidFill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3" name="Rechteck: abgerundete Ecken 52">
            <a:extLst>
              <a:ext uri="{FF2B5EF4-FFF2-40B4-BE49-F238E27FC236}">
                <a16:creationId xmlns:a16="http://schemas.microsoft.com/office/drawing/2014/main" id="{7AE82D02-2293-5D73-B8F0-5C85F75BB702}"/>
              </a:ext>
            </a:extLst>
          </p:cNvPr>
          <p:cNvSpPr/>
          <p:nvPr/>
        </p:nvSpPr>
        <p:spPr>
          <a:xfrm>
            <a:off x="600756" y="3651489"/>
            <a:ext cx="1108661" cy="487961"/>
          </a:xfrm>
          <a:prstGeom prst="roundRect">
            <a:avLst/>
          </a:prstGeom>
          <a:solidFill>
            <a:schemeClr val="bg2"/>
          </a:solidFill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54" name="Gerade Verbindung mit Pfeil 53">
            <a:extLst>
              <a:ext uri="{FF2B5EF4-FFF2-40B4-BE49-F238E27FC236}">
                <a16:creationId xmlns:a16="http://schemas.microsoft.com/office/drawing/2014/main" id="{5F1C0E36-DB19-3DF5-2AFA-36A43EF9DD33}"/>
              </a:ext>
            </a:extLst>
          </p:cNvPr>
          <p:cNvCxnSpPr>
            <a:cxnSpLocks/>
            <a:stCxn id="46" idx="2"/>
            <a:endCxn id="53" idx="0"/>
          </p:cNvCxnSpPr>
          <p:nvPr/>
        </p:nvCxnSpPr>
        <p:spPr>
          <a:xfrm flipH="1">
            <a:off x="1155087" y="2325474"/>
            <a:ext cx="3314045" cy="1326015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Gerade Verbindung mit Pfeil 54">
            <a:extLst>
              <a:ext uri="{FF2B5EF4-FFF2-40B4-BE49-F238E27FC236}">
                <a16:creationId xmlns:a16="http://schemas.microsoft.com/office/drawing/2014/main" id="{B850B1A2-2D84-80AE-5D2C-CF17A6917A07}"/>
              </a:ext>
            </a:extLst>
          </p:cNvPr>
          <p:cNvCxnSpPr>
            <a:cxnSpLocks/>
            <a:stCxn id="46" idx="2"/>
            <a:endCxn id="47" idx="0"/>
          </p:cNvCxnSpPr>
          <p:nvPr/>
        </p:nvCxnSpPr>
        <p:spPr>
          <a:xfrm>
            <a:off x="4469132" y="2325474"/>
            <a:ext cx="3366769" cy="1326015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Gerade Verbindung mit Pfeil 55">
            <a:extLst>
              <a:ext uri="{FF2B5EF4-FFF2-40B4-BE49-F238E27FC236}">
                <a16:creationId xmlns:a16="http://schemas.microsoft.com/office/drawing/2014/main" id="{988245E0-5F68-0562-74BE-1674ED820476}"/>
              </a:ext>
            </a:extLst>
          </p:cNvPr>
          <p:cNvCxnSpPr>
            <a:cxnSpLocks/>
            <a:stCxn id="53" idx="2"/>
            <a:endCxn id="48" idx="0"/>
          </p:cNvCxnSpPr>
          <p:nvPr/>
        </p:nvCxnSpPr>
        <p:spPr>
          <a:xfrm>
            <a:off x="1155087" y="4139450"/>
            <a:ext cx="3329507" cy="1116303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Gerade Verbindung mit Pfeil 56">
            <a:extLst>
              <a:ext uri="{FF2B5EF4-FFF2-40B4-BE49-F238E27FC236}">
                <a16:creationId xmlns:a16="http://schemas.microsoft.com/office/drawing/2014/main" id="{1A1BF97A-B587-BE93-E1BB-FDA7860DB3C9}"/>
              </a:ext>
            </a:extLst>
          </p:cNvPr>
          <p:cNvCxnSpPr>
            <a:cxnSpLocks/>
            <a:stCxn id="45" idx="2"/>
            <a:endCxn id="48" idx="0"/>
          </p:cNvCxnSpPr>
          <p:nvPr/>
        </p:nvCxnSpPr>
        <p:spPr>
          <a:xfrm flipH="1">
            <a:off x="4484594" y="4139450"/>
            <a:ext cx="1648638" cy="1116303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Gerade Verbindung mit Pfeil 57">
            <a:extLst>
              <a:ext uri="{FF2B5EF4-FFF2-40B4-BE49-F238E27FC236}">
                <a16:creationId xmlns:a16="http://schemas.microsoft.com/office/drawing/2014/main" id="{3B3759A9-C949-7F01-F46A-F4A7A915D31A}"/>
              </a:ext>
            </a:extLst>
          </p:cNvPr>
          <p:cNvCxnSpPr>
            <a:cxnSpLocks/>
            <a:stCxn id="47" idx="2"/>
            <a:endCxn id="48" idx="0"/>
          </p:cNvCxnSpPr>
          <p:nvPr/>
        </p:nvCxnSpPr>
        <p:spPr>
          <a:xfrm flipH="1">
            <a:off x="4484594" y="4139450"/>
            <a:ext cx="3351307" cy="1116303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Gerade Verbindung mit Pfeil 58">
            <a:extLst>
              <a:ext uri="{FF2B5EF4-FFF2-40B4-BE49-F238E27FC236}">
                <a16:creationId xmlns:a16="http://schemas.microsoft.com/office/drawing/2014/main" id="{DE31AA0E-0389-2A1D-E8F5-B803C702FD2A}"/>
              </a:ext>
            </a:extLst>
          </p:cNvPr>
          <p:cNvCxnSpPr>
            <a:cxnSpLocks/>
            <a:stCxn id="52" idx="2"/>
            <a:endCxn id="48" idx="0"/>
          </p:cNvCxnSpPr>
          <p:nvPr/>
        </p:nvCxnSpPr>
        <p:spPr>
          <a:xfrm>
            <a:off x="4481068" y="4139449"/>
            <a:ext cx="3526" cy="1116304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Gerade Verbindung mit Pfeil 59">
            <a:extLst>
              <a:ext uri="{FF2B5EF4-FFF2-40B4-BE49-F238E27FC236}">
                <a16:creationId xmlns:a16="http://schemas.microsoft.com/office/drawing/2014/main" id="{1DFF82F9-E81B-779F-D603-EB21312F326C}"/>
              </a:ext>
            </a:extLst>
          </p:cNvPr>
          <p:cNvCxnSpPr>
            <a:cxnSpLocks/>
            <a:stCxn id="43" idx="2"/>
            <a:endCxn id="48" idx="0"/>
          </p:cNvCxnSpPr>
          <p:nvPr/>
        </p:nvCxnSpPr>
        <p:spPr>
          <a:xfrm>
            <a:off x="2844014" y="4139450"/>
            <a:ext cx="1640580" cy="1116303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Textfeld 60">
            <a:extLst>
              <a:ext uri="{FF2B5EF4-FFF2-40B4-BE49-F238E27FC236}">
                <a16:creationId xmlns:a16="http://schemas.microsoft.com/office/drawing/2014/main" id="{035682A3-4800-F306-AE47-8761FE96D8EB}"/>
              </a:ext>
            </a:extLst>
          </p:cNvPr>
          <p:cNvSpPr txBox="1"/>
          <p:nvPr/>
        </p:nvSpPr>
        <p:spPr>
          <a:xfrm>
            <a:off x="433231" y="3711796"/>
            <a:ext cx="1353773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GB" dirty="0"/>
              <a:t>U-Net</a:t>
            </a:r>
            <a:endParaRPr lang="en-US" dirty="0"/>
          </a:p>
        </p:txBody>
      </p:sp>
      <p:sp>
        <p:nvSpPr>
          <p:cNvPr id="62" name="Textfeld 61">
            <a:extLst>
              <a:ext uri="{FF2B5EF4-FFF2-40B4-BE49-F238E27FC236}">
                <a16:creationId xmlns:a16="http://schemas.microsoft.com/office/drawing/2014/main" id="{A5E4F71B-98B8-8A29-6644-21E134285450}"/>
              </a:ext>
            </a:extLst>
          </p:cNvPr>
          <p:cNvSpPr txBox="1"/>
          <p:nvPr/>
        </p:nvSpPr>
        <p:spPr>
          <a:xfrm>
            <a:off x="3485566" y="1936684"/>
            <a:ext cx="1896593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GB" dirty="0"/>
              <a:t>Data Set</a:t>
            </a:r>
            <a:endParaRPr lang="en-US" dirty="0"/>
          </a:p>
        </p:txBody>
      </p:sp>
      <p:sp>
        <p:nvSpPr>
          <p:cNvPr id="63" name="Textfeld 62">
            <a:extLst>
              <a:ext uri="{FF2B5EF4-FFF2-40B4-BE49-F238E27FC236}">
                <a16:creationId xmlns:a16="http://schemas.microsoft.com/office/drawing/2014/main" id="{BE560A22-3EE7-5F10-51E1-DDFD5C5506AE}"/>
              </a:ext>
            </a:extLst>
          </p:cNvPr>
          <p:cNvSpPr txBox="1"/>
          <p:nvPr/>
        </p:nvSpPr>
        <p:spPr>
          <a:xfrm>
            <a:off x="3792246" y="3714448"/>
            <a:ext cx="1353773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GB" dirty="0"/>
              <a:t>PAN</a:t>
            </a:r>
            <a:endParaRPr lang="en-US" dirty="0"/>
          </a:p>
        </p:txBody>
      </p:sp>
      <p:sp>
        <p:nvSpPr>
          <p:cNvPr id="64" name="Textfeld 63">
            <a:extLst>
              <a:ext uri="{FF2B5EF4-FFF2-40B4-BE49-F238E27FC236}">
                <a16:creationId xmlns:a16="http://schemas.microsoft.com/office/drawing/2014/main" id="{048B7579-5956-E7E5-50CE-0FDC7595C75C}"/>
              </a:ext>
            </a:extLst>
          </p:cNvPr>
          <p:cNvSpPr txBox="1"/>
          <p:nvPr/>
        </p:nvSpPr>
        <p:spPr>
          <a:xfrm>
            <a:off x="5455107" y="3707157"/>
            <a:ext cx="1353773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GB" dirty="0"/>
              <a:t>FPN</a:t>
            </a:r>
            <a:endParaRPr lang="en-US" dirty="0"/>
          </a:p>
        </p:txBody>
      </p:sp>
      <p:sp>
        <p:nvSpPr>
          <p:cNvPr id="65" name="Textfeld 64">
            <a:extLst>
              <a:ext uri="{FF2B5EF4-FFF2-40B4-BE49-F238E27FC236}">
                <a16:creationId xmlns:a16="http://schemas.microsoft.com/office/drawing/2014/main" id="{61DE1A23-BCE3-1CA7-1461-405670C78DB6}"/>
              </a:ext>
            </a:extLst>
          </p:cNvPr>
          <p:cNvSpPr txBox="1"/>
          <p:nvPr/>
        </p:nvSpPr>
        <p:spPr>
          <a:xfrm>
            <a:off x="7159014" y="3707157"/>
            <a:ext cx="1353773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GB" dirty="0"/>
              <a:t>PSPN</a:t>
            </a:r>
            <a:endParaRPr lang="en-US" dirty="0"/>
          </a:p>
        </p:txBody>
      </p:sp>
      <p:sp>
        <p:nvSpPr>
          <p:cNvPr id="66" name="Textfeld 65">
            <a:extLst>
              <a:ext uri="{FF2B5EF4-FFF2-40B4-BE49-F238E27FC236}">
                <a16:creationId xmlns:a16="http://schemas.microsoft.com/office/drawing/2014/main" id="{EB29F53E-71BF-A32E-9E0F-8F102FACFEDF}"/>
              </a:ext>
            </a:extLst>
          </p:cNvPr>
          <p:cNvSpPr txBox="1"/>
          <p:nvPr/>
        </p:nvSpPr>
        <p:spPr>
          <a:xfrm>
            <a:off x="3807593" y="5319114"/>
            <a:ext cx="1346947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GB" dirty="0"/>
              <a:t>Output</a:t>
            </a:r>
            <a:endParaRPr lang="en-US" dirty="0"/>
          </a:p>
        </p:txBody>
      </p:sp>
      <p:grpSp>
        <p:nvGrpSpPr>
          <p:cNvPr id="157" name="Gruppieren 156">
            <a:extLst>
              <a:ext uri="{FF2B5EF4-FFF2-40B4-BE49-F238E27FC236}">
                <a16:creationId xmlns:a16="http://schemas.microsoft.com/office/drawing/2014/main" id="{FEB85248-B0A1-7C0F-77DA-32A6E015AA0C}"/>
              </a:ext>
            </a:extLst>
          </p:cNvPr>
          <p:cNvGrpSpPr/>
          <p:nvPr/>
        </p:nvGrpSpPr>
        <p:grpSpPr>
          <a:xfrm>
            <a:off x="454213" y="1602247"/>
            <a:ext cx="8629275" cy="4301012"/>
            <a:chOff x="454213" y="1602247"/>
            <a:chExt cx="8629275" cy="4301012"/>
          </a:xfrm>
        </p:grpSpPr>
        <p:sp>
          <p:nvSpPr>
            <p:cNvPr id="158" name="Rechteck: abgerundete Ecken 157">
              <a:extLst>
                <a:ext uri="{FF2B5EF4-FFF2-40B4-BE49-F238E27FC236}">
                  <a16:creationId xmlns:a16="http://schemas.microsoft.com/office/drawing/2014/main" id="{2FB9B825-EED3-5813-F28C-73E7732E65F2}"/>
                </a:ext>
              </a:extLst>
            </p:cNvPr>
            <p:cNvSpPr/>
            <p:nvPr/>
          </p:nvSpPr>
          <p:spPr>
            <a:xfrm>
              <a:off x="2108048" y="3651489"/>
              <a:ext cx="1471931" cy="487961"/>
            </a:xfrm>
            <a:prstGeom prst="roundRect">
              <a:avLst/>
            </a:prstGeom>
            <a:solidFill>
              <a:schemeClr val="bg2"/>
            </a:solidFill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9" name="Textfeld 158">
              <a:extLst>
                <a:ext uri="{FF2B5EF4-FFF2-40B4-BE49-F238E27FC236}">
                  <a16:creationId xmlns:a16="http://schemas.microsoft.com/office/drawing/2014/main" id="{80D4FAED-70EB-0B9D-789F-11841E6D5AD7}"/>
                </a:ext>
              </a:extLst>
            </p:cNvPr>
            <p:cNvSpPr txBox="1"/>
            <p:nvPr/>
          </p:nvSpPr>
          <p:spPr>
            <a:xfrm>
              <a:off x="1871417" y="3649798"/>
              <a:ext cx="1952819" cy="52322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GB" sz="2800" dirty="0"/>
                <a:t>U-Net++</a:t>
              </a:r>
              <a:endParaRPr lang="en-US" sz="2800" dirty="0"/>
            </a:p>
          </p:txBody>
        </p:sp>
        <p:sp>
          <p:nvSpPr>
            <p:cNvPr id="160" name="Rechteck: abgerundete Ecken 159">
              <a:extLst>
                <a:ext uri="{FF2B5EF4-FFF2-40B4-BE49-F238E27FC236}">
                  <a16:creationId xmlns:a16="http://schemas.microsoft.com/office/drawing/2014/main" id="{AB8DDEBE-B57D-EC28-B97D-EF565C24EFC0}"/>
                </a:ext>
              </a:extLst>
            </p:cNvPr>
            <p:cNvSpPr/>
            <p:nvPr/>
          </p:nvSpPr>
          <p:spPr>
            <a:xfrm>
              <a:off x="5796025" y="3651489"/>
              <a:ext cx="674413" cy="487961"/>
            </a:xfrm>
            <a:prstGeom prst="roundRect">
              <a:avLst/>
            </a:prstGeom>
            <a:solidFill>
              <a:schemeClr val="bg2"/>
            </a:solidFill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1" name="Rechteck: abgerundete Ecken 160">
              <a:extLst>
                <a:ext uri="{FF2B5EF4-FFF2-40B4-BE49-F238E27FC236}">
                  <a16:creationId xmlns:a16="http://schemas.microsoft.com/office/drawing/2014/main" id="{7D620FB4-6A81-01F8-2385-73D3893CA8F3}"/>
                </a:ext>
              </a:extLst>
            </p:cNvPr>
            <p:cNvSpPr/>
            <p:nvPr/>
          </p:nvSpPr>
          <p:spPr>
            <a:xfrm>
              <a:off x="3579979" y="1707516"/>
              <a:ext cx="1802180" cy="827668"/>
            </a:xfrm>
            <a:prstGeom prst="roundRect">
              <a:avLst/>
            </a:prstGeom>
            <a:solidFill>
              <a:schemeClr val="bg2"/>
            </a:solidFill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2" name="Rechteck: abgerundete Ecken 161">
              <a:extLst>
                <a:ext uri="{FF2B5EF4-FFF2-40B4-BE49-F238E27FC236}">
                  <a16:creationId xmlns:a16="http://schemas.microsoft.com/office/drawing/2014/main" id="{C145D65E-ABFA-7DBF-9E08-1F4F380D2F5A}"/>
                </a:ext>
              </a:extLst>
            </p:cNvPr>
            <p:cNvSpPr/>
            <p:nvPr/>
          </p:nvSpPr>
          <p:spPr>
            <a:xfrm>
              <a:off x="7397751" y="3651489"/>
              <a:ext cx="876300" cy="487961"/>
            </a:xfrm>
            <a:prstGeom prst="roundRect">
              <a:avLst/>
            </a:prstGeom>
            <a:solidFill>
              <a:schemeClr val="bg2"/>
            </a:solidFill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3" name="Rechteck: abgerundete Ecken 162">
              <a:extLst>
                <a:ext uri="{FF2B5EF4-FFF2-40B4-BE49-F238E27FC236}">
                  <a16:creationId xmlns:a16="http://schemas.microsoft.com/office/drawing/2014/main" id="{1B7C6BB0-7475-7BB5-4AF5-42A831C3E7F8}"/>
                </a:ext>
              </a:extLst>
            </p:cNvPr>
            <p:cNvSpPr/>
            <p:nvPr/>
          </p:nvSpPr>
          <p:spPr>
            <a:xfrm>
              <a:off x="3114899" y="5255753"/>
              <a:ext cx="2732338" cy="487961"/>
            </a:xfrm>
            <a:prstGeom prst="roundRect">
              <a:avLst/>
            </a:prstGeom>
            <a:solidFill>
              <a:schemeClr val="bg2"/>
            </a:solidFill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164" name="Gerade Verbindung mit Pfeil 163">
              <a:extLst>
                <a:ext uri="{FF2B5EF4-FFF2-40B4-BE49-F238E27FC236}">
                  <a16:creationId xmlns:a16="http://schemas.microsoft.com/office/drawing/2014/main" id="{A7889F06-C9F4-3DEA-3FEA-43D014E7A9F6}"/>
                </a:ext>
              </a:extLst>
            </p:cNvPr>
            <p:cNvCxnSpPr>
              <a:cxnSpLocks/>
              <a:stCxn id="161" idx="2"/>
              <a:endCxn id="158" idx="0"/>
            </p:cNvCxnSpPr>
            <p:nvPr/>
          </p:nvCxnSpPr>
          <p:spPr>
            <a:xfrm flipH="1">
              <a:off x="2844014" y="2535184"/>
              <a:ext cx="1637055" cy="1116305"/>
            </a:xfrm>
            <a:prstGeom prst="straightConnector1">
              <a:avLst/>
            </a:prstGeom>
            <a:ln w="1905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5" name="Gerade Verbindung mit Pfeil 164">
              <a:extLst>
                <a:ext uri="{FF2B5EF4-FFF2-40B4-BE49-F238E27FC236}">
                  <a16:creationId xmlns:a16="http://schemas.microsoft.com/office/drawing/2014/main" id="{386F0D9F-C4F8-09CC-1EC3-ED107ACBDBE9}"/>
                </a:ext>
              </a:extLst>
            </p:cNvPr>
            <p:cNvCxnSpPr>
              <a:cxnSpLocks/>
              <a:stCxn id="161" idx="2"/>
              <a:endCxn id="160" idx="0"/>
            </p:cNvCxnSpPr>
            <p:nvPr/>
          </p:nvCxnSpPr>
          <p:spPr>
            <a:xfrm>
              <a:off x="4481069" y="2535184"/>
              <a:ext cx="1652163" cy="1116305"/>
            </a:xfrm>
            <a:prstGeom prst="straightConnector1">
              <a:avLst/>
            </a:prstGeom>
            <a:ln w="1905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6" name="Gerade Verbindung mit Pfeil 165">
              <a:extLst>
                <a:ext uri="{FF2B5EF4-FFF2-40B4-BE49-F238E27FC236}">
                  <a16:creationId xmlns:a16="http://schemas.microsoft.com/office/drawing/2014/main" id="{01CD44F4-E08B-5A40-2CAF-EEA977AE6B7E}"/>
                </a:ext>
              </a:extLst>
            </p:cNvPr>
            <p:cNvCxnSpPr>
              <a:cxnSpLocks/>
              <a:stCxn id="161" idx="2"/>
              <a:endCxn id="167" idx="0"/>
            </p:cNvCxnSpPr>
            <p:nvPr/>
          </p:nvCxnSpPr>
          <p:spPr>
            <a:xfrm flipH="1">
              <a:off x="4481068" y="2535184"/>
              <a:ext cx="1" cy="1116304"/>
            </a:xfrm>
            <a:prstGeom prst="straightConnector1">
              <a:avLst/>
            </a:prstGeom>
            <a:ln w="1905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67" name="Rechteck: abgerundete Ecken 166">
              <a:extLst>
                <a:ext uri="{FF2B5EF4-FFF2-40B4-BE49-F238E27FC236}">
                  <a16:creationId xmlns:a16="http://schemas.microsoft.com/office/drawing/2014/main" id="{2A9732C7-8B9F-DCD0-5A39-F5C09034B317}"/>
                </a:ext>
              </a:extLst>
            </p:cNvPr>
            <p:cNvSpPr/>
            <p:nvPr/>
          </p:nvSpPr>
          <p:spPr>
            <a:xfrm>
              <a:off x="4125499" y="3651488"/>
              <a:ext cx="711137" cy="487961"/>
            </a:xfrm>
            <a:prstGeom prst="roundRect">
              <a:avLst/>
            </a:prstGeom>
            <a:solidFill>
              <a:schemeClr val="bg2"/>
            </a:solidFill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8" name="Rechteck: abgerundete Ecken 167">
              <a:extLst>
                <a:ext uri="{FF2B5EF4-FFF2-40B4-BE49-F238E27FC236}">
                  <a16:creationId xmlns:a16="http://schemas.microsoft.com/office/drawing/2014/main" id="{03D266FC-CE41-3990-CEC5-4336A680A4F4}"/>
                </a:ext>
              </a:extLst>
            </p:cNvPr>
            <p:cNvSpPr/>
            <p:nvPr/>
          </p:nvSpPr>
          <p:spPr>
            <a:xfrm>
              <a:off x="600756" y="3651489"/>
              <a:ext cx="1108661" cy="487961"/>
            </a:xfrm>
            <a:prstGeom prst="roundRect">
              <a:avLst/>
            </a:prstGeom>
            <a:solidFill>
              <a:schemeClr val="bg2"/>
            </a:solidFill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169" name="Gerade Verbindung mit Pfeil 168">
              <a:extLst>
                <a:ext uri="{FF2B5EF4-FFF2-40B4-BE49-F238E27FC236}">
                  <a16:creationId xmlns:a16="http://schemas.microsoft.com/office/drawing/2014/main" id="{FFD714F7-34B9-BEA4-438B-49EB56ED97D5}"/>
                </a:ext>
              </a:extLst>
            </p:cNvPr>
            <p:cNvCxnSpPr>
              <a:cxnSpLocks/>
              <a:stCxn id="161" idx="2"/>
              <a:endCxn id="168" idx="0"/>
            </p:cNvCxnSpPr>
            <p:nvPr/>
          </p:nvCxnSpPr>
          <p:spPr>
            <a:xfrm flipH="1">
              <a:off x="1155087" y="2535184"/>
              <a:ext cx="3325983" cy="1116304"/>
            </a:xfrm>
            <a:prstGeom prst="straightConnector1">
              <a:avLst/>
            </a:prstGeom>
            <a:ln w="1905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0" name="Gerade Verbindung mit Pfeil 169">
              <a:extLst>
                <a:ext uri="{FF2B5EF4-FFF2-40B4-BE49-F238E27FC236}">
                  <a16:creationId xmlns:a16="http://schemas.microsoft.com/office/drawing/2014/main" id="{47F2C097-29B9-EBA3-8F3F-20180DE11C65}"/>
                </a:ext>
              </a:extLst>
            </p:cNvPr>
            <p:cNvCxnSpPr>
              <a:cxnSpLocks/>
              <a:stCxn id="161" idx="2"/>
              <a:endCxn id="162" idx="0"/>
            </p:cNvCxnSpPr>
            <p:nvPr/>
          </p:nvCxnSpPr>
          <p:spPr>
            <a:xfrm>
              <a:off x="4481069" y="2535184"/>
              <a:ext cx="3354832" cy="1116305"/>
            </a:xfrm>
            <a:prstGeom prst="straightConnector1">
              <a:avLst/>
            </a:prstGeom>
            <a:ln w="1905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1" name="Gerade Verbindung mit Pfeil 170">
              <a:extLst>
                <a:ext uri="{FF2B5EF4-FFF2-40B4-BE49-F238E27FC236}">
                  <a16:creationId xmlns:a16="http://schemas.microsoft.com/office/drawing/2014/main" id="{E5889E6B-4493-BD0F-3F0A-346C9FF7D7FE}"/>
                </a:ext>
              </a:extLst>
            </p:cNvPr>
            <p:cNvCxnSpPr>
              <a:cxnSpLocks/>
              <a:stCxn id="168" idx="2"/>
              <a:endCxn id="163" idx="0"/>
            </p:cNvCxnSpPr>
            <p:nvPr/>
          </p:nvCxnSpPr>
          <p:spPr>
            <a:xfrm>
              <a:off x="1155087" y="4139449"/>
              <a:ext cx="3325982" cy="1116304"/>
            </a:xfrm>
            <a:prstGeom prst="straightConnector1">
              <a:avLst/>
            </a:prstGeom>
            <a:ln w="1905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2" name="Gerade Verbindung mit Pfeil 171">
              <a:extLst>
                <a:ext uri="{FF2B5EF4-FFF2-40B4-BE49-F238E27FC236}">
                  <a16:creationId xmlns:a16="http://schemas.microsoft.com/office/drawing/2014/main" id="{08811848-B790-65BD-3D14-598D3E1E9F4A}"/>
                </a:ext>
              </a:extLst>
            </p:cNvPr>
            <p:cNvCxnSpPr>
              <a:cxnSpLocks/>
              <a:stCxn id="160" idx="2"/>
              <a:endCxn id="163" idx="0"/>
            </p:cNvCxnSpPr>
            <p:nvPr/>
          </p:nvCxnSpPr>
          <p:spPr>
            <a:xfrm flipH="1">
              <a:off x="4481068" y="4139450"/>
              <a:ext cx="1652164" cy="1116303"/>
            </a:xfrm>
            <a:prstGeom prst="straightConnector1">
              <a:avLst/>
            </a:prstGeom>
            <a:ln w="1905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3" name="Gerade Verbindung mit Pfeil 172">
              <a:extLst>
                <a:ext uri="{FF2B5EF4-FFF2-40B4-BE49-F238E27FC236}">
                  <a16:creationId xmlns:a16="http://schemas.microsoft.com/office/drawing/2014/main" id="{38F2D676-9E85-0798-00A3-6F0952DD6EC4}"/>
                </a:ext>
              </a:extLst>
            </p:cNvPr>
            <p:cNvCxnSpPr>
              <a:cxnSpLocks/>
              <a:stCxn id="162" idx="2"/>
              <a:endCxn id="163" idx="0"/>
            </p:cNvCxnSpPr>
            <p:nvPr/>
          </p:nvCxnSpPr>
          <p:spPr>
            <a:xfrm flipH="1">
              <a:off x="4481068" y="4139450"/>
              <a:ext cx="3354833" cy="1116303"/>
            </a:xfrm>
            <a:prstGeom prst="straightConnector1">
              <a:avLst/>
            </a:prstGeom>
            <a:ln w="1905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4" name="Gerade Verbindung mit Pfeil 173">
              <a:extLst>
                <a:ext uri="{FF2B5EF4-FFF2-40B4-BE49-F238E27FC236}">
                  <a16:creationId xmlns:a16="http://schemas.microsoft.com/office/drawing/2014/main" id="{712A4524-EF7E-FBE9-61BD-ED415F06F953}"/>
                </a:ext>
              </a:extLst>
            </p:cNvPr>
            <p:cNvCxnSpPr>
              <a:cxnSpLocks/>
              <a:stCxn id="167" idx="2"/>
              <a:endCxn id="163" idx="0"/>
            </p:cNvCxnSpPr>
            <p:nvPr/>
          </p:nvCxnSpPr>
          <p:spPr>
            <a:xfrm>
              <a:off x="4481068" y="4139449"/>
              <a:ext cx="0" cy="1116304"/>
            </a:xfrm>
            <a:prstGeom prst="straightConnector1">
              <a:avLst/>
            </a:prstGeom>
            <a:ln w="1905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5" name="Gerade Verbindung mit Pfeil 174">
              <a:extLst>
                <a:ext uri="{FF2B5EF4-FFF2-40B4-BE49-F238E27FC236}">
                  <a16:creationId xmlns:a16="http://schemas.microsoft.com/office/drawing/2014/main" id="{66F787D6-B963-EC3D-F2FB-4A7BBC14027D}"/>
                </a:ext>
              </a:extLst>
            </p:cNvPr>
            <p:cNvCxnSpPr>
              <a:cxnSpLocks/>
              <a:stCxn id="158" idx="2"/>
              <a:endCxn id="163" idx="0"/>
            </p:cNvCxnSpPr>
            <p:nvPr/>
          </p:nvCxnSpPr>
          <p:spPr>
            <a:xfrm>
              <a:off x="2844014" y="4139450"/>
              <a:ext cx="1637054" cy="1116303"/>
            </a:xfrm>
            <a:prstGeom prst="straightConnector1">
              <a:avLst/>
            </a:prstGeom>
            <a:ln w="1905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6" name="Textfeld 175">
              <a:extLst>
                <a:ext uri="{FF2B5EF4-FFF2-40B4-BE49-F238E27FC236}">
                  <a16:creationId xmlns:a16="http://schemas.microsoft.com/office/drawing/2014/main" id="{4494D18E-9127-7F78-1344-365421E9DEA3}"/>
                </a:ext>
              </a:extLst>
            </p:cNvPr>
            <p:cNvSpPr txBox="1"/>
            <p:nvPr/>
          </p:nvSpPr>
          <p:spPr>
            <a:xfrm>
              <a:off x="454213" y="3657448"/>
              <a:ext cx="1353773" cy="404886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GB" sz="2800" dirty="0"/>
                <a:t>U-Net</a:t>
              </a:r>
              <a:endParaRPr lang="en-US" sz="2800" dirty="0"/>
            </a:p>
          </p:txBody>
        </p:sp>
        <p:sp>
          <p:nvSpPr>
            <p:cNvPr id="177" name="Textfeld 176">
              <a:extLst>
                <a:ext uri="{FF2B5EF4-FFF2-40B4-BE49-F238E27FC236}">
                  <a16:creationId xmlns:a16="http://schemas.microsoft.com/office/drawing/2014/main" id="{C26FAD9E-431C-11DE-23F3-DB0970AFF5EB}"/>
                </a:ext>
              </a:extLst>
            </p:cNvPr>
            <p:cNvSpPr txBox="1"/>
            <p:nvPr/>
          </p:nvSpPr>
          <p:spPr>
            <a:xfrm>
              <a:off x="3485567" y="1828962"/>
              <a:ext cx="1896593" cy="58477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GB" sz="3200" dirty="0"/>
                <a:t>Data Set</a:t>
              </a:r>
              <a:endParaRPr lang="en-US" sz="3200" dirty="0"/>
            </a:p>
          </p:txBody>
        </p:sp>
        <p:sp>
          <p:nvSpPr>
            <p:cNvPr id="178" name="Textfeld 177">
              <a:extLst>
                <a:ext uri="{FF2B5EF4-FFF2-40B4-BE49-F238E27FC236}">
                  <a16:creationId xmlns:a16="http://schemas.microsoft.com/office/drawing/2014/main" id="{3095D906-1253-E392-3337-C5D5AAE98ED6}"/>
                </a:ext>
              </a:extLst>
            </p:cNvPr>
            <p:cNvSpPr txBox="1"/>
            <p:nvPr/>
          </p:nvSpPr>
          <p:spPr>
            <a:xfrm>
              <a:off x="3811006" y="3640036"/>
              <a:ext cx="1353773" cy="404886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GB" sz="2800" dirty="0"/>
                <a:t>PAN</a:t>
              </a:r>
              <a:endParaRPr lang="en-US" sz="2800" dirty="0"/>
            </a:p>
          </p:txBody>
        </p:sp>
        <p:sp>
          <p:nvSpPr>
            <p:cNvPr id="179" name="Textfeld 178">
              <a:extLst>
                <a:ext uri="{FF2B5EF4-FFF2-40B4-BE49-F238E27FC236}">
                  <a16:creationId xmlns:a16="http://schemas.microsoft.com/office/drawing/2014/main" id="{614519A0-BDC4-F0A9-2773-6E5CDAFB57A5}"/>
                </a:ext>
              </a:extLst>
            </p:cNvPr>
            <p:cNvSpPr txBox="1"/>
            <p:nvPr/>
          </p:nvSpPr>
          <p:spPr>
            <a:xfrm>
              <a:off x="5467168" y="3654091"/>
              <a:ext cx="1353773" cy="404886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GB" sz="2800" dirty="0"/>
                <a:t>FPN</a:t>
              </a:r>
              <a:endParaRPr lang="en-US" sz="2800" dirty="0"/>
            </a:p>
          </p:txBody>
        </p:sp>
        <p:sp>
          <p:nvSpPr>
            <p:cNvPr id="180" name="Textfeld 179">
              <a:extLst>
                <a:ext uri="{FF2B5EF4-FFF2-40B4-BE49-F238E27FC236}">
                  <a16:creationId xmlns:a16="http://schemas.microsoft.com/office/drawing/2014/main" id="{14F2718E-39D8-3540-D87D-DBCA74F89BD1}"/>
                </a:ext>
              </a:extLst>
            </p:cNvPr>
            <p:cNvSpPr txBox="1"/>
            <p:nvPr/>
          </p:nvSpPr>
          <p:spPr>
            <a:xfrm>
              <a:off x="7154149" y="3630477"/>
              <a:ext cx="1353773" cy="404886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GB" sz="2800" dirty="0"/>
                <a:t>PSPN</a:t>
              </a:r>
              <a:endParaRPr lang="en-US" sz="2800" dirty="0"/>
            </a:p>
          </p:txBody>
        </p:sp>
        <p:sp>
          <p:nvSpPr>
            <p:cNvPr id="181" name="Textfeld 180">
              <a:extLst>
                <a:ext uri="{FF2B5EF4-FFF2-40B4-BE49-F238E27FC236}">
                  <a16:creationId xmlns:a16="http://schemas.microsoft.com/office/drawing/2014/main" id="{930DE629-ED0C-18FD-BB02-CFB886F99DDB}"/>
                </a:ext>
              </a:extLst>
            </p:cNvPr>
            <p:cNvSpPr txBox="1"/>
            <p:nvPr/>
          </p:nvSpPr>
          <p:spPr>
            <a:xfrm>
              <a:off x="3811006" y="5281819"/>
              <a:ext cx="1346947" cy="404886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GB" sz="2800" dirty="0"/>
                <a:t>Output</a:t>
              </a:r>
              <a:endParaRPr lang="en-US" sz="2800" dirty="0"/>
            </a:p>
          </p:txBody>
        </p:sp>
        <p:sp>
          <p:nvSpPr>
            <p:cNvPr id="182" name="Rechteck 181">
              <a:extLst>
                <a:ext uri="{FF2B5EF4-FFF2-40B4-BE49-F238E27FC236}">
                  <a16:creationId xmlns:a16="http://schemas.microsoft.com/office/drawing/2014/main" id="{1EFA6806-6FCA-E5CF-0817-7597FB1A19DA}"/>
                </a:ext>
              </a:extLst>
            </p:cNvPr>
            <p:cNvSpPr/>
            <p:nvPr/>
          </p:nvSpPr>
          <p:spPr>
            <a:xfrm>
              <a:off x="479425" y="1602247"/>
              <a:ext cx="8604063" cy="4301012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rgbClr val="FFFF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pPr marL="180000" indent="-180000" algn="l">
                <a:lnSpc>
                  <a:spcPts val="1960"/>
                </a:lnSpc>
                <a:buClr>
                  <a:schemeClr val="accent1"/>
                </a:buClr>
                <a:buFont typeface="Wingdings" panose="05000000000000000000" pitchFamily="2" charset="2"/>
                <a:buChar char="§"/>
              </a:pPr>
              <a:endParaRPr lang="de-DE" sz="1400" dirty="0">
                <a:solidFill>
                  <a:schemeClr val="tx1"/>
                </a:solidFill>
              </a:endParaRPr>
            </a:p>
          </p:txBody>
        </p:sp>
        <p:sp>
          <p:nvSpPr>
            <p:cNvPr id="183" name="Rechteck: abgerundete Ecken 182">
              <a:extLst>
                <a:ext uri="{FF2B5EF4-FFF2-40B4-BE49-F238E27FC236}">
                  <a16:creationId xmlns:a16="http://schemas.microsoft.com/office/drawing/2014/main" id="{EF8C093E-2D35-2E5E-AB46-C3479FB9C442}"/>
                </a:ext>
              </a:extLst>
            </p:cNvPr>
            <p:cNvSpPr/>
            <p:nvPr/>
          </p:nvSpPr>
          <p:spPr>
            <a:xfrm>
              <a:off x="2106024" y="3474248"/>
              <a:ext cx="1344750" cy="977841"/>
            </a:xfrm>
            <a:prstGeom prst="roundRect">
              <a:avLst/>
            </a:prstGeom>
            <a:solidFill>
              <a:schemeClr val="bg2"/>
            </a:solidFill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84" name="Rechteck: abgerundete Ecken 183">
              <a:extLst>
                <a:ext uri="{FF2B5EF4-FFF2-40B4-BE49-F238E27FC236}">
                  <a16:creationId xmlns:a16="http://schemas.microsoft.com/office/drawing/2014/main" id="{2B3EE0AF-E097-473C-77F0-BB01CABE024D}"/>
                </a:ext>
              </a:extLst>
            </p:cNvPr>
            <p:cNvSpPr/>
            <p:nvPr/>
          </p:nvSpPr>
          <p:spPr>
            <a:xfrm>
              <a:off x="5541067" y="3531532"/>
              <a:ext cx="1462702" cy="786650"/>
            </a:xfrm>
            <a:prstGeom prst="roundRect">
              <a:avLst/>
            </a:prstGeom>
            <a:solidFill>
              <a:schemeClr val="bg2"/>
            </a:solidFill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85" name="Rechteck: abgerundete Ecken 184">
              <a:extLst>
                <a:ext uri="{FF2B5EF4-FFF2-40B4-BE49-F238E27FC236}">
                  <a16:creationId xmlns:a16="http://schemas.microsoft.com/office/drawing/2014/main" id="{B69F12B3-EDF9-99B6-1192-C974B2BCB365}"/>
                </a:ext>
              </a:extLst>
            </p:cNvPr>
            <p:cNvSpPr/>
            <p:nvPr/>
          </p:nvSpPr>
          <p:spPr>
            <a:xfrm>
              <a:off x="3989057" y="1907182"/>
              <a:ext cx="960147" cy="416551"/>
            </a:xfrm>
            <a:prstGeom prst="roundRect">
              <a:avLst/>
            </a:prstGeom>
            <a:solidFill>
              <a:schemeClr val="bg2"/>
            </a:solidFill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86" name="Rechteck: abgerundete Ecken 185">
              <a:extLst>
                <a:ext uri="{FF2B5EF4-FFF2-40B4-BE49-F238E27FC236}">
                  <a16:creationId xmlns:a16="http://schemas.microsoft.com/office/drawing/2014/main" id="{28E85201-C557-C879-AE9F-D22D81418688}"/>
                </a:ext>
              </a:extLst>
            </p:cNvPr>
            <p:cNvSpPr/>
            <p:nvPr/>
          </p:nvSpPr>
          <p:spPr>
            <a:xfrm>
              <a:off x="7085117" y="3589376"/>
              <a:ext cx="1725508" cy="604005"/>
            </a:xfrm>
            <a:prstGeom prst="roundRect">
              <a:avLst/>
            </a:prstGeom>
            <a:solidFill>
              <a:schemeClr val="bg2"/>
            </a:solidFill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87" name="Rechteck: abgerundete Ecken 186">
              <a:extLst>
                <a:ext uri="{FF2B5EF4-FFF2-40B4-BE49-F238E27FC236}">
                  <a16:creationId xmlns:a16="http://schemas.microsoft.com/office/drawing/2014/main" id="{138D3DD7-47FA-41F4-56F6-3983C65CBC44}"/>
                </a:ext>
              </a:extLst>
            </p:cNvPr>
            <p:cNvSpPr/>
            <p:nvPr/>
          </p:nvSpPr>
          <p:spPr>
            <a:xfrm>
              <a:off x="3970193" y="5255753"/>
              <a:ext cx="1025389" cy="487961"/>
            </a:xfrm>
            <a:prstGeom prst="roundRect">
              <a:avLst/>
            </a:prstGeom>
            <a:solidFill>
              <a:schemeClr val="bg2"/>
            </a:solidFill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188" name="Gerade Verbindung mit Pfeil 187">
              <a:extLst>
                <a:ext uri="{FF2B5EF4-FFF2-40B4-BE49-F238E27FC236}">
                  <a16:creationId xmlns:a16="http://schemas.microsoft.com/office/drawing/2014/main" id="{6C182BDF-EC86-5164-A8F2-FDC809756EB0}"/>
                </a:ext>
              </a:extLst>
            </p:cNvPr>
            <p:cNvCxnSpPr>
              <a:cxnSpLocks/>
              <a:stCxn id="185" idx="2"/>
              <a:endCxn id="183" idx="0"/>
            </p:cNvCxnSpPr>
            <p:nvPr/>
          </p:nvCxnSpPr>
          <p:spPr>
            <a:xfrm flipH="1">
              <a:off x="2778399" y="2323733"/>
              <a:ext cx="1690732" cy="1150515"/>
            </a:xfrm>
            <a:prstGeom prst="straightConnector1">
              <a:avLst/>
            </a:prstGeom>
            <a:ln w="1905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9" name="Gerade Verbindung mit Pfeil 188">
              <a:extLst>
                <a:ext uri="{FF2B5EF4-FFF2-40B4-BE49-F238E27FC236}">
                  <a16:creationId xmlns:a16="http://schemas.microsoft.com/office/drawing/2014/main" id="{9093F1F6-C7DE-4EC8-DF5D-6AFA7F44DB2F}"/>
                </a:ext>
              </a:extLst>
            </p:cNvPr>
            <p:cNvCxnSpPr>
              <a:cxnSpLocks/>
              <a:stCxn id="185" idx="2"/>
              <a:endCxn id="184" idx="0"/>
            </p:cNvCxnSpPr>
            <p:nvPr/>
          </p:nvCxnSpPr>
          <p:spPr>
            <a:xfrm>
              <a:off x="4469131" y="2323733"/>
              <a:ext cx="1803287" cy="1207799"/>
            </a:xfrm>
            <a:prstGeom prst="straightConnector1">
              <a:avLst/>
            </a:prstGeom>
            <a:ln w="1905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0" name="Gerade Verbindung mit Pfeil 189">
              <a:extLst>
                <a:ext uri="{FF2B5EF4-FFF2-40B4-BE49-F238E27FC236}">
                  <a16:creationId xmlns:a16="http://schemas.microsoft.com/office/drawing/2014/main" id="{FA4691BA-FAAC-D4B5-247E-E7664431529C}"/>
                </a:ext>
              </a:extLst>
            </p:cNvPr>
            <p:cNvCxnSpPr>
              <a:cxnSpLocks/>
              <a:stCxn id="185" idx="2"/>
              <a:endCxn id="191" idx="0"/>
            </p:cNvCxnSpPr>
            <p:nvPr/>
          </p:nvCxnSpPr>
          <p:spPr>
            <a:xfrm>
              <a:off x="4469131" y="2323733"/>
              <a:ext cx="15070" cy="1181842"/>
            </a:xfrm>
            <a:prstGeom prst="straightConnector1">
              <a:avLst/>
            </a:prstGeom>
            <a:ln w="1905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91" name="Rechteck: abgerundete Ecken 190">
              <a:extLst>
                <a:ext uri="{FF2B5EF4-FFF2-40B4-BE49-F238E27FC236}">
                  <a16:creationId xmlns:a16="http://schemas.microsoft.com/office/drawing/2014/main" id="{E25A2A2B-0622-33E6-F877-D331BA0EBE6B}"/>
                </a:ext>
              </a:extLst>
            </p:cNvPr>
            <p:cNvSpPr/>
            <p:nvPr/>
          </p:nvSpPr>
          <p:spPr>
            <a:xfrm>
              <a:off x="3532755" y="3505575"/>
              <a:ext cx="1902892" cy="803664"/>
            </a:xfrm>
            <a:prstGeom prst="roundRect">
              <a:avLst/>
            </a:prstGeom>
            <a:solidFill>
              <a:schemeClr val="bg2"/>
            </a:solidFill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92" name="Rechteck: abgerundete Ecken 191">
              <a:extLst>
                <a:ext uri="{FF2B5EF4-FFF2-40B4-BE49-F238E27FC236}">
                  <a16:creationId xmlns:a16="http://schemas.microsoft.com/office/drawing/2014/main" id="{A0CBC4E3-8A4C-E71E-4234-49148A14CD41}"/>
                </a:ext>
              </a:extLst>
            </p:cNvPr>
            <p:cNvSpPr/>
            <p:nvPr/>
          </p:nvSpPr>
          <p:spPr>
            <a:xfrm>
              <a:off x="600756" y="3352801"/>
              <a:ext cx="1229330" cy="1116302"/>
            </a:xfrm>
            <a:prstGeom prst="roundRect">
              <a:avLst/>
            </a:prstGeom>
            <a:solidFill>
              <a:schemeClr val="bg2"/>
            </a:solidFill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193" name="Gerade Verbindung mit Pfeil 192">
              <a:extLst>
                <a:ext uri="{FF2B5EF4-FFF2-40B4-BE49-F238E27FC236}">
                  <a16:creationId xmlns:a16="http://schemas.microsoft.com/office/drawing/2014/main" id="{DDE3D353-9C2A-A52F-F6AF-F517270BFF24}"/>
                </a:ext>
              </a:extLst>
            </p:cNvPr>
            <p:cNvCxnSpPr>
              <a:cxnSpLocks/>
              <a:stCxn id="185" idx="2"/>
              <a:endCxn id="192" idx="0"/>
            </p:cNvCxnSpPr>
            <p:nvPr/>
          </p:nvCxnSpPr>
          <p:spPr>
            <a:xfrm flipH="1">
              <a:off x="1215421" y="2323733"/>
              <a:ext cx="3253710" cy="1029068"/>
            </a:xfrm>
            <a:prstGeom prst="straightConnector1">
              <a:avLst/>
            </a:prstGeom>
            <a:ln w="1905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4" name="Gerade Verbindung mit Pfeil 193">
              <a:extLst>
                <a:ext uri="{FF2B5EF4-FFF2-40B4-BE49-F238E27FC236}">
                  <a16:creationId xmlns:a16="http://schemas.microsoft.com/office/drawing/2014/main" id="{DEA93BAB-6214-3911-1A3B-9372EE3693D5}"/>
                </a:ext>
              </a:extLst>
            </p:cNvPr>
            <p:cNvCxnSpPr>
              <a:cxnSpLocks/>
              <a:stCxn id="185" idx="2"/>
              <a:endCxn id="186" idx="0"/>
            </p:cNvCxnSpPr>
            <p:nvPr/>
          </p:nvCxnSpPr>
          <p:spPr>
            <a:xfrm>
              <a:off x="4469131" y="2323733"/>
              <a:ext cx="3478740" cy="1265643"/>
            </a:xfrm>
            <a:prstGeom prst="straightConnector1">
              <a:avLst/>
            </a:prstGeom>
            <a:ln w="1905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5" name="Gerade Verbindung mit Pfeil 194">
              <a:extLst>
                <a:ext uri="{FF2B5EF4-FFF2-40B4-BE49-F238E27FC236}">
                  <a16:creationId xmlns:a16="http://schemas.microsoft.com/office/drawing/2014/main" id="{8D9E821D-4E41-2FD1-2CF2-AE788B1AF3C9}"/>
                </a:ext>
              </a:extLst>
            </p:cNvPr>
            <p:cNvCxnSpPr>
              <a:cxnSpLocks/>
              <a:stCxn id="192" idx="2"/>
              <a:endCxn id="187" idx="0"/>
            </p:cNvCxnSpPr>
            <p:nvPr/>
          </p:nvCxnSpPr>
          <p:spPr>
            <a:xfrm>
              <a:off x="1215421" y="4469103"/>
              <a:ext cx="3267467" cy="786650"/>
            </a:xfrm>
            <a:prstGeom prst="straightConnector1">
              <a:avLst/>
            </a:prstGeom>
            <a:ln w="1905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6" name="Gerade Verbindung mit Pfeil 195">
              <a:extLst>
                <a:ext uri="{FF2B5EF4-FFF2-40B4-BE49-F238E27FC236}">
                  <a16:creationId xmlns:a16="http://schemas.microsoft.com/office/drawing/2014/main" id="{4EA9D9CD-AF8B-B8B8-579E-7964BC12429E}"/>
                </a:ext>
              </a:extLst>
            </p:cNvPr>
            <p:cNvCxnSpPr>
              <a:cxnSpLocks/>
              <a:stCxn id="184" idx="2"/>
              <a:endCxn id="187" idx="0"/>
            </p:cNvCxnSpPr>
            <p:nvPr/>
          </p:nvCxnSpPr>
          <p:spPr>
            <a:xfrm flipH="1">
              <a:off x="4482888" y="4318182"/>
              <a:ext cx="1789530" cy="937571"/>
            </a:xfrm>
            <a:prstGeom prst="straightConnector1">
              <a:avLst/>
            </a:prstGeom>
            <a:ln w="1905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7" name="Gerade Verbindung mit Pfeil 196">
              <a:extLst>
                <a:ext uri="{FF2B5EF4-FFF2-40B4-BE49-F238E27FC236}">
                  <a16:creationId xmlns:a16="http://schemas.microsoft.com/office/drawing/2014/main" id="{AAEA24EA-4821-735D-C35D-844F88F0983C}"/>
                </a:ext>
              </a:extLst>
            </p:cNvPr>
            <p:cNvCxnSpPr>
              <a:cxnSpLocks/>
              <a:stCxn id="186" idx="2"/>
              <a:endCxn id="187" idx="0"/>
            </p:cNvCxnSpPr>
            <p:nvPr/>
          </p:nvCxnSpPr>
          <p:spPr>
            <a:xfrm flipH="1">
              <a:off x="4482888" y="4193381"/>
              <a:ext cx="3464983" cy="1062372"/>
            </a:xfrm>
            <a:prstGeom prst="straightConnector1">
              <a:avLst/>
            </a:prstGeom>
            <a:ln w="1905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8" name="Gerade Verbindung mit Pfeil 197">
              <a:extLst>
                <a:ext uri="{FF2B5EF4-FFF2-40B4-BE49-F238E27FC236}">
                  <a16:creationId xmlns:a16="http://schemas.microsoft.com/office/drawing/2014/main" id="{32FA1E2D-1911-C3CF-8DAB-101EBD2272EA}"/>
                </a:ext>
              </a:extLst>
            </p:cNvPr>
            <p:cNvCxnSpPr>
              <a:cxnSpLocks/>
              <a:stCxn id="191" idx="2"/>
              <a:endCxn id="187" idx="0"/>
            </p:cNvCxnSpPr>
            <p:nvPr/>
          </p:nvCxnSpPr>
          <p:spPr>
            <a:xfrm flipH="1">
              <a:off x="4482888" y="4309239"/>
              <a:ext cx="1313" cy="946514"/>
            </a:xfrm>
            <a:prstGeom prst="straightConnector1">
              <a:avLst/>
            </a:prstGeom>
            <a:ln w="1905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9" name="Gerade Verbindung mit Pfeil 198">
              <a:extLst>
                <a:ext uri="{FF2B5EF4-FFF2-40B4-BE49-F238E27FC236}">
                  <a16:creationId xmlns:a16="http://schemas.microsoft.com/office/drawing/2014/main" id="{6CA2AE48-0CC5-703C-94C1-0260BB625374}"/>
                </a:ext>
              </a:extLst>
            </p:cNvPr>
            <p:cNvCxnSpPr>
              <a:cxnSpLocks/>
              <a:stCxn id="183" idx="2"/>
              <a:endCxn id="187" idx="0"/>
            </p:cNvCxnSpPr>
            <p:nvPr/>
          </p:nvCxnSpPr>
          <p:spPr>
            <a:xfrm>
              <a:off x="2778399" y="4452089"/>
              <a:ext cx="1704489" cy="803664"/>
            </a:xfrm>
            <a:prstGeom prst="straightConnector1">
              <a:avLst/>
            </a:prstGeom>
            <a:ln w="1905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200" name="Grafik 199">
              <a:extLst>
                <a:ext uri="{FF2B5EF4-FFF2-40B4-BE49-F238E27FC236}">
                  <a16:creationId xmlns:a16="http://schemas.microsoft.com/office/drawing/2014/main" id="{EE26BB81-7995-0461-F128-C3966C710C17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613255" y="3589376"/>
              <a:ext cx="1310339" cy="670963"/>
            </a:xfrm>
            <a:prstGeom prst="rect">
              <a:avLst/>
            </a:prstGeom>
          </p:spPr>
        </p:pic>
        <p:pic>
          <p:nvPicPr>
            <p:cNvPr id="201" name="Grafik 200">
              <a:extLst>
                <a:ext uri="{FF2B5EF4-FFF2-40B4-BE49-F238E27FC236}">
                  <a16:creationId xmlns:a16="http://schemas.microsoft.com/office/drawing/2014/main" id="{D995555D-8C24-B1BE-0B22-32BF93B6AF0C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566017" y="3610524"/>
              <a:ext cx="1830101" cy="628667"/>
            </a:xfrm>
            <a:prstGeom prst="rect">
              <a:avLst/>
            </a:prstGeom>
          </p:spPr>
        </p:pic>
        <p:pic>
          <p:nvPicPr>
            <p:cNvPr id="202" name="Grafik 201">
              <a:extLst>
                <a:ext uri="{FF2B5EF4-FFF2-40B4-BE49-F238E27FC236}">
                  <a16:creationId xmlns:a16="http://schemas.microsoft.com/office/drawing/2014/main" id="{0A8321F5-5E62-99AF-E11E-BCE2CFF74AE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657302" y="3429000"/>
              <a:ext cx="1099311" cy="939703"/>
            </a:xfrm>
            <a:prstGeom prst="rect">
              <a:avLst/>
            </a:prstGeom>
          </p:spPr>
        </p:pic>
        <p:pic>
          <p:nvPicPr>
            <p:cNvPr id="203" name="Grafik 202">
              <a:extLst>
                <a:ext uri="{FF2B5EF4-FFF2-40B4-BE49-F238E27FC236}">
                  <a16:creationId xmlns:a16="http://schemas.microsoft.com/office/drawing/2014/main" id="{D4459DF0-54ED-922C-2655-59AAA45429DF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2165268" y="3564425"/>
              <a:ext cx="1241085" cy="822147"/>
            </a:xfrm>
            <a:prstGeom prst="rect">
              <a:avLst/>
            </a:prstGeom>
          </p:spPr>
        </p:pic>
        <p:pic>
          <p:nvPicPr>
            <p:cNvPr id="204" name="Grafik 203">
              <a:extLst>
                <a:ext uri="{FF2B5EF4-FFF2-40B4-BE49-F238E27FC236}">
                  <a16:creationId xmlns:a16="http://schemas.microsoft.com/office/drawing/2014/main" id="{53A5FDD3-832E-171E-7C4A-5D67634FD612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109189" y="3652979"/>
              <a:ext cx="1675568" cy="480871"/>
            </a:xfrm>
            <a:prstGeom prst="rect">
              <a:avLst/>
            </a:prstGeom>
          </p:spPr>
        </p:pic>
        <p:sp>
          <p:nvSpPr>
            <p:cNvPr id="205" name="Rechteck: abgerundete Ecken 204">
              <a:extLst>
                <a:ext uri="{FF2B5EF4-FFF2-40B4-BE49-F238E27FC236}">
                  <a16:creationId xmlns:a16="http://schemas.microsoft.com/office/drawing/2014/main" id="{3641A418-BB0A-64DE-D968-0B5FCDFCFF12}"/>
                </a:ext>
              </a:extLst>
            </p:cNvPr>
            <p:cNvSpPr/>
            <p:nvPr/>
          </p:nvSpPr>
          <p:spPr>
            <a:xfrm>
              <a:off x="3989059" y="1908923"/>
              <a:ext cx="960146" cy="416551"/>
            </a:xfrm>
            <a:prstGeom prst="roundRect">
              <a:avLst/>
            </a:prstGeom>
            <a:solidFill>
              <a:schemeClr val="bg2"/>
            </a:solidFill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06" name="Rechteck: abgerundete Ecken 205">
              <a:extLst>
                <a:ext uri="{FF2B5EF4-FFF2-40B4-BE49-F238E27FC236}">
                  <a16:creationId xmlns:a16="http://schemas.microsoft.com/office/drawing/2014/main" id="{1DC9915F-7D22-8AE6-EFCF-DC469C44F0D0}"/>
                </a:ext>
              </a:extLst>
            </p:cNvPr>
            <p:cNvSpPr/>
            <p:nvPr/>
          </p:nvSpPr>
          <p:spPr>
            <a:xfrm>
              <a:off x="3973606" y="5255753"/>
              <a:ext cx="1021976" cy="487961"/>
            </a:xfrm>
            <a:prstGeom prst="roundRect">
              <a:avLst/>
            </a:prstGeom>
            <a:solidFill>
              <a:schemeClr val="bg2"/>
            </a:solidFill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07" name="Textfeld 206">
              <a:extLst>
                <a:ext uri="{FF2B5EF4-FFF2-40B4-BE49-F238E27FC236}">
                  <a16:creationId xmlns:a16="http://schemas.microsoft.com/office/drawing/2014/main" id="{3FE293E3-4D82-2D62-27D4-287CFFCF4ECD}"/>
                </a:ext>
              </a:extLst>
            </p:cNvPr>
            <p:cNvSpPr txBox="1"/>
            <p:nvPr/>
          </p:nvSpPr>
          <p:spPr>
            <a:xfrm>
              <a:off x="3485566" y="1936684"/>
              <a:ext cx="1896593" cy="36933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GB" dirty="0"/>
                <a:t>Data Set</a:t>
              </a:r>
              <a:endParaRPr lang="en-US" dirty="0"/>
            </a:p>
          </p:txBody>
        </p:sp>
        <p:sp>
          <p:nvSpPr>
            <p:cNvPr id="208" name="Textfeld 207">
              <a:extLst>
                <a:ext uri="{FF2B5EF4-FFF2-40B4-BE49-F238E27FC236}">
                  <a16:creationId xmlns:a16="http://schemas.microsoft.com/office/drawing/2014/main" id="{56F2ADEE-B827-ABDF-9030-CB9680F80778}"/>
                </a:ext>
              </a:extLst>
            </p:cNvPr>
            <p:cNvSpPr txBox="1"/>
            <p:nvPr/>
          </p:nvSpPr>
          <p:spPr>
            <a:xfrm>
              <a:off x="3807593" y="5319114"/>
              <a:ext cx="1346947" cy="36933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GB" dirty="0"/>
                <a:t>Output</a:t>
              </a:r>
              <a:endParaRPr lang="en-US" dirty="0"/>
            </a:p>
          </p:txBody>
        </p:sp>
      </p:grpSp>
      <p:pic>
        <p:nvPicPr>
          <p:cNvPr id="6" name="Grafik 5">
            <a:extLst>
              <a:ext uri="{FF2B5EF4-FFF2-40B4-BE49-F238E27FC236}">
                <a16:creationId xmlns:a16="http://schemas.microsoft.com/office/drawing/2014/main" id="{BF3690FD-3F49-BF5F-36E8-CB3DF7FF82DD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21502" y="191192"/>
            <a:ext cx="3744886" cy="1130532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45683296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3" fill="hold">
                      <p:stCondLst>
                        <p:cond delay="indefinite"/>
                      </p:stCondLst>
                      <p:childTnLst>
                        <p:par>
                          <p:cTn id="54" fill="hold">
                            <p:stCondLst>
                              <p:cond delay="0"/>
                            </p:stCondLst>
                            <p:childTnLst>
                              <p:par>
                                <p:cTn id="5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3" grpId="0" animBg="1"/>
      <p:bldP spid="44" grpId="0"/>
      <p:bldP spid="45" grpId="0" animBg="1"/>
      <p:bldP spid="47" grpId="0" animBg="1"/>
      <p:bldP spid="52" grpId="0" animBg="1"/>
      <p:bldP spid="53" grpId="0" animBg="1"/>
      <p:bldP spid="61" grpId="0"/>
      <p:bldP spid="63" grpId="0"/>
      <p:bldP spid="64" grpId="0"/>
      <p:bldP spid="65" grpId="0"/>
    </p:bld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79C72D2-EA25-7EC6-0EEB-F4677A49F38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395588"/>
            <a:ext cx="11233150" cy="374398"/>
          </a:xfrm>
        </p:spPr>
        <p:txBody>
          <a:bodyPr/>
          <a:lstStyle/>
          <a:p>
            <a:r>
              <a:rPr lang="de-DE" dirty="0"/>
              <a:t>Methode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4F842DF3-3B7A-05F8-9608-E685B3E47CE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5A82B2D-840F-4167-AD44-C02BC9C87CCB}" type="datetime1">
              <a:rPr lang="de-DE" noProof="0" smtClean="0"/>
              <a:t>15.11.22</a:t>
            </a:fld>
            <a:endParaRPr lang="de-DE" noProof="0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9107231-4D6A-AF50-1DE0-B6930DA6B4F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/>
              <a:t>© Universität zu Lübeck</a:t>
            </a:r>
            <a:endParaRPr lang="de-DE" noProof="0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D116C36F-8E2A-A0C9-EBDC-314D08731D6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 noProof="0"/>
              <a:t>Seite</a:t>
            </a:r>
            <a:r>
              <a:rPr lang="en-US"/>
              <a:t> </a:t>
            </a:r>
            <a:fld id="{401BA3E4-5E55-4F99-AF09-CC6D6B2539E2}" type="slidenum">
              <a:rPr lang="en-US" smtClean="0"/>
              <a:pPr/>
              <a:t>34</a:t>
            </a:fld>
            <a:endParaRPr lang="en-US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93D435FC-CF8C-D23E-0F3D-80577D7A216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9425" y="778321"/>
            <a:ext cx="11233150" cy="312008"/>
          </a:xfrm>
        </p:spPr>
        <p:txBody>
          <a:bodyPr/>
          <a:lstStyle/>
          <a:p>
            <a:r>
              <a:rPr lang="de-DE" dirty="0"/>
              <a:t>Arterien Segmentierung </a:t>
            </a:r>
            <a:r>
              <a:rPr lang="de-DE" sz="2000" b="0" i="0" kern="1200" dirty="0">
                <a:solidFill>
                  <a:srgbClr val="084653"/>
                </a:solidFill>
                <a:effectLst/>
                <a:latin typeface="Myriad Pro" panose="020B0503030403020204"/>
                <a:ea typeface="+mn-ea"/>
                <a:cs typeface="+mn-cs"/>
              </a:rPr>
              <a:t>—</a:t>
            </a:r>
            <a:r>
              <a:rPr lang="de-DE" dirty="0"/>
              <a:t> Ensemble (Heterogen)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9D5C16EF-E99F-1957-135A-3E04C33E2A7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de-DE"/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7B3F070D-36BC-AF6E-95B8-0C0AA7BBE976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8198" y="1703388"/>
            <a:ext cx="7200000" cy="3845963"/>
          </a:xfrm>
          <a:prstGeom prst="rect">
            <a:avLst/>
          </a:prstGeom>
        </p:spPr>
      </p:pic>
      <p:pic>
        <p:nvPicPr>
          <p:cNvPr id="8" name="Grafik 7">
            <a:extLst>
              <a:ext uri="{FF2B5EF4-FFF2-40B4-BE49-F238E27FC236}">
                <a16:creationId xmlns:a16="http://schemas.microsoft.com/office/drawing/2014/main" id="{CAFD20AE-172D-A5C7-4E9A-A5055CF29629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21502" y="191192"/>
            <a:ext cx="3744886" cy="1130532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4162205899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3" name="Grafik 92">
            <a:extLst>
              <a:ext uri="{FF2B5EF4-FFF2-40B4-BE49-F238E27FC236}">
                <a16:creationId xmlns:a16="http://schemas.microsoft.com/office/drawing/2014/main" id="{61306971-BA35-8684-12ED-500F495385A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78198" y="1698185"/>
            <a:ext cx="7200000" cy="3834921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FB9F5726-9743-559C-44B7-28BCF753CDA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395588"/>
            <a:ext cx="11233150" cy="374398"/>
          </a:xfrm>
        </p:spPr>
        <p:txBody>
          <a:bodyPr/>
          <a:lstStyle/>
          <a:p>
            <a:r>
              <a:rPr lang="de-DE" dirty="0"/>
              <a:t>Methode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0A4E1061-0C55-7450-F7F3-0ECA40053FB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225054-8F4D-4B67-8803-E473E83FD8A6}" type="datetime1">
              <a:rPr lang="de-DE" noProof="0" smtClean="0"/>
              <a:t>15.11.22</a:t>
            </a:fld>
            <a:endParaRPr lang="de-DE" noProof="0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85026CBD-C28D-1239-FF11-CB093AC93CB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/>
              <a:t>© Universität zu Lübeck</a:t>
            </a:r>
            <a:endParaRPr lang="de-DE" noProof="0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B3D8F5EA-A8A7-1DEA-C1C9-FE439AFE483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 noProof="0"/>
              <a:t>Seite</a:t>
            </a:r>
            <a:r>
              <a:rPr lang="en-US"/>
              <a:t> </a:t>
            </a:r>
            <a:fld id="{401BA3E4-5E55-4F99-AF09-CC6D6B2539E2}" type="slidenum">
              <a:rPr lang="en-US" smtClean="0"/>
              <a:pPr/>
              <a:t>35</a:t>
            </a:fld>
            <a:endParaRPr lang="en-US" dirty="0"/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660676AF-70D0-59AF-4157-1564C600A56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9425" y="778321"/>
            <a:ext cx="11233150" cy="312008"/>
          </a:xfrm>
        </p:spPr>
        <p:txBody>
          <a:bodyPr/>
          <a:lstStyle/>
          <a:p>
            <a:r>
              <a:rPr lang="de-DE" dirty="0"/>
              <a:t>Arterien Segmentierung </a:t>
            </a:r>
            <a:r>
              <a:rPr lang="de-DE" sz="2000" dirty="0"/>
              <a:t>— Snapshot Ensemble</a:t>
            </a:r>
            <a:endParaRPr lang="de-DE" dirty="0"/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8FAE9A0D-F9B2-6E44-ACDA-6BDAD567765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de-DE" dirty="0"/>
          </a:p>
        </p:txBody>
      </p:sp>
      <p:pic>
        <p:nvPicPr>
          <p:cNvPr id="15" name="Grafik 14">
            <a:extLst>
              <a:ext uri="{FF2B5EF4-FFF2-40B4-BE49-F238E27FC236}">
                <a16:creationId xmlns:a16="http://schemas.microsoft.com/office/drawing/2014/main" id="{B366554F-5FFA-1CE2-64EF-BE07010AE072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156656" y="5016846"/>
            <a:ext cx="661340" cy="565321"/>
          </a:xfrm>
          <a:prstGeom prst="rect">
            <a:avLst/>
          </a:prstGeom>
        </p:spPr>
      </p:pic>
      <p:cxnSp>
        <p:nvCxnSpPr>
          <p:cNvPr id="16" name="Gerade Verbindung mit Pfeil 15">
            <a:extLst>
              <a:ext uri="{FF2B5EF4-FFF2-40B4-BE49-F238E27FC236}">
                <a16:creationId xmlns:a16="http://schemas.microsoft.com/office/drawing/2014/main" id="{8F94E6F8-4CDB-12C8-83AB-88CC6A0682D2}"/>
              </a:ext>
            </a:extLst>
          </p:cNvPr>
          <p:cNvCxnSpPr>
            <a:cxnSpLocks/>
          </p:cNvCxnSpPr>
          <p:nvPr/>
        </p:nvCxnSpPr>
        <p:spPr>
          <a:xfrm>
            <a:off x="2487326" y="4724035"/>
            <a:ext cx="0" cy="324561"/>
          </a:xfrm>
          <a:prstGeom prst="straightConnector1">
            <a:avLst/>
          </a:prstGeom>
          <a:ln w="34925">
            <a:solidFill>
              <a:schemeClr val="bg2"/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5" name="Gerade Verbindung mit Pfeil 124">
            <a:extLst>
              <a:ext uri="{FF2B5EF4-FFF2-40B4-BE49-F238E27FC236}">
                <a16:creationId xmlns:a16="http://schemas.microsoft.com/office/drawing/2014/main" id="{24C011DD-65C4-A922-8676-8ED69596D4DE}"/>
              </a:ext>
            </a:extLst>
          </p:cNvPr>
          <p:cNvCxnSpPr>
            <a:cxnSpLocks/>
            <a:stCxn id="15" idx="2"/>
            <a:endCxn id="130" idx="1"/>
          </p:cNvCxnSpPr>
          <p:nvPr/>
        </p:nvCxnSpPr>
        <p:spPr>
          <a:xfrm>
            <a:off x="2487326" y="5582167"/>
            <a:ext cx="1771333" cy="291884"/>
          </a:xfrm>
          <a:prstGeom prst="straightConnector1">
            <a:avLst/>
          </a:prstGeom>
          <a:ln w="34925">
            <a:solidFill>
              <a:schemeClr val="bg2"/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6" name="Gerade Verbindung mit Pfeil 125">
            <a:extLst>
              <a:ext uri="{FF2B5EF4-FFF2-40B4-BE49-F238E27FC236}">
                <a16:creationId xmlns:a16="http://schemas.microsoft.com/office/drawing/2014/main" id="{3CE0EC72-C0CC-1651-6EE2-AC6A3F6AE9CA}"/>
              </a:ext>
            </a:extLst>
          </p:cNvPr>
          <p:cNvCxnSpPr>
            <a:cxnSpLocks/>
            <a:stCxn id="65" idx="2"/>
            <a:endCxn id="130" idx="1"/>
          </p:cNvCxnSpPr>
          <p:nvPr/>
        </p:nvCxnSpPr>
        <p:spPr>
          <a:xfrm>
            <a:off x="3628487" y="5582167"/>
            <a:ext cx="630172" cy="291884"/>
          </a:xfrm>
          <a:prstGeom prst="straightConnector1">
            <a:avLst/>
          </a:prstGeom>
          <a:ln w="34925">
            <a:solidFill>
              <a:schemeClr val="bg2"/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7" name="Gerade Verbindung mit Pfeil 126">
            <a:extLst>
              <a:ext uri="{FF2B5EF4-FFF2-40B4-BE49-F238E27FC236}">
                <a16:creationId xmlns:a16="http://schemas.microsoft.com/office/drawing/2014/main" id="{31ED0E7E-DA5B-0607-31BD-5BA3FDC08E1E}"/>
              </a:ext>
            </a:extLst>
          </p:cNvPr>
          <p:cNvCxnSpPr>
            <a:cxnSpLocks/>
            <a:stCxn id="67" idx="2"/>
            <a:endCxn id="130" idx="0"/>
          </p:cNvCxnSpPr>
          <p:nvPr/>
        </p:nvCxnSpPr>
        <p:spPr>
          <a:xfrm>
            <a:off x="4769647" y="5586360"/>
            <a:ext cx="0" cy="95104"/>
          </a:xfrm>
          <a:prstGeom prst="straightConnector1">
            <a:avLst/>
          </a:prstGeom>
          <a:ln w="34925">
            <a:solidFill>
              <a:schemeClr val="bg2"/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8" name="Gerade Verbindung mit Pfeil 127">
            <a:extLst>
              <a:ext uri="{FF2B5EF4-FFF2-40B4-BE49-F238E27FC236}">
                <a16:creationId xmlns:a16="http://schemas.microsoft.com/office/drawing/2014/main" id="{3C14DE06-C43C-2448-89C4-A21F1D971E24}"/>
              </a:ext>
            </a:extLst>
          </p:cNvPr>
          <p:cNvCxnSpPr>
            <a:cxnSpLocks/>
            <a:stCxn id="69" idx="2"/>
            <a:endCxn id="130" idx="3"/>
          </p:cNvCxnSpPr>
          <p:nvPr/>
        </p:nvCxnSpPr>
        <p:spPr>
          <a:xfrm flipH="1">
            <a:off x="5280635" y="5583598"/>
            <a:ext cx="630173" cy="290453"/>
          </a:xfrm>
          <a:prstGeom prst="straightConnector1">
            <a:avLst/>
          </a:prstGeom>
          <a:ln w="34925">
            <a:solidFill>
              <a:schemeClr val="bg2"/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9" name="Gerade Verbindung mit Pfeil 128">
            <a:extLst>
              <a:ext uri="{FF2B5EF4-FFF2-40B4-BE49-F238E27FC236}">
                <a16:creationId xmlns:a16="http://schemas.microsoft.com/office/drawing/2014/main" id="{BC2CAFB2-7719-E168-6758-E2F9F407D644}"/>
              </a:ext>
            </a:extLst>
          </p:cNvPr>
          <p:cNvCxnSpPr>
            <a:cxnSpLocks/>
            <a:stCxn id="71" idx="2"/>
            <a:endCxn id="130" idx="3"/>
          </p:cNvCxnSpPr>
          <p:nvPr/>
        </p:nvCxnSpPr>
        <p:spPr>
          <a:xfrm flipH="1">
            <a:off x="5280635" y="5582167"/>
            <a:ext cx="1717358" cy="291884"/>
          </a:xfrm>
          <a:prstGeom prst="straightConnector1">
            <a:avLst/>
          </a:prstGeom>
          <a:ln w="34925">
            <a:solidFill>
              <a:schemeClr val="bg2"/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3" name="Gruppieren 62">
            <a:extLst>
              <a:ext uri="{FF2B5EF4-FFF2-40B4-BE49-F238E27FC236}">
                <a16:creationId xmlns:a16="http://schemas.microsoft.com/office/drawing/2014/main" id="{935A3E05-2BF6-4BB1-0B3E-0550898B8B1B}"/>
              </a:ext>
            </a:extLst>
          </p:cNvPr>
          <p:cNvGrpSpPr/>
          <p:nvPr/>
        </p:nvGrpSpPr>
        <p:grpSpPr>
          <a:xfrm>
            <a:off x="4096174" y="5681464"/>
            <a:ext cx="1346947" cy="385173"/>
            <a:chOff x="4096174" y="5661581"/>
            <a:chExt cx="1346947" cy="487961"/>
          </a:xfrm>
        </p:grpSpPr>
        <p:sp>
          <p:nvSpPr>
            <p:cNvPr id="130" name="Rechteck: abgerundete Ecken 129">
              <a:extLst>
                <a:ext uri="{FF2B5EF4-FFF2-40B4-BE49-F238E27FC236}">
                  <a16:creationId xmlns:a16="http://schemas.microsoft.com/office/drawing/2014/main" id="{4E63387B-67D4-22FF-55AB-43E6DB2AFEC2}"/>
                </a:ext>
              </a:extLst>
            </p:cNvPr>
            <p:cNvSpPr/>
            <p:nvPr/>
          </p:nvSpPr>
          <p:spPr>
            <a:xfrm>
              <a:off x="4258659" y="5661581"/>
              <a:ext cx="1021976" cy="487961"/>
            </a:xfrm>
            <a:prstGeom prst="roundRect">
              <a:avLst/>
            </a:prstGeom>
            <a:solidFill>
              <a:schemeClr val="bg2"/>
            </a:solidFill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1" name="Textfeld 130">
              <a:extLst>
                <a:ext uri="{FF2B5EF4-FFF2-40B4-BE49-F238E27FC236}">
                  <a16:creationId xmlns:a16="http://schemas.microsoft.com/office/drawing/2014/main" id="{F4878A2A-4BD9-D203-5429-8F0AB2BA4E65}"/>
                </a:ext>
              </a:extLst>
            </p:cNvPr>
            <p:cNvSpPr txBox="1"/>
            <p:nvPr/>
          </p:nvSpPr>
          <p:spPr>
            <a:xfrm>
              <a:off x="4096174" y="5676685"/>
              <a:ext cx="1346947" cy="36933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GB" dirty="0"/>
                <a:t>Output</a:t>
              </a:r>
              <a:endParaRPr lang="en-US" dirty="0"/>
            </a:p>
          </p:txBody>
        </p:sp>
      </p:grpSp>
      <p:pic>
        <p:nvPicPr>
          <p:cNvPr id="65" name="Grafik 64">
            <a:extLst>
              <a:ext uri="{FF2B5EF4-FFF2-40B4-BE49-F238E27FC236}">
                <a16:creationId xmlns:a16="http://schemas.microsoft.com/office/drawing/2014/main" id="{090A9DE8-E0B8-8A20-8061-7AAEAD408065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297817" y="5016846"/>
            <a:ext cx="661340" cy="565321"/>
          </a:xfrm>
          <a:prstGeom prst="rect">
            <a:avLst/>
          </a:prstGeom>
        </p:spPr>
      </p:pic>
      <p:cxnSp>
        <p:nvCxnSpPr>
          <p:cNvPr id="66" name="Gerade Verbindung mit Pfeil 65">
            <a:extLst>
              <a:ext uri="{FF2B5EF4-FFF2-40B4-BE49-F238E27FC236}">
                <a16:creationId xmlns:a16="http://schemas.microsoft.com/office/drawing/2014/main" id="{08C1DC57-74C6-3E4D-4368-9268E4C73585}"/>
              </a:ext>
            </a:extLst>
          </p:cNvPr>
          <p:cNvCxnSpPr>
            <a:cxnSpLocks/>
          </p:cNvCxnSpPr>
          <p:nvPr/>
        </p:nvCxnSpPr>
        <p:spPr>
          <a:xfrm>
            <a:off x="3628487" y="4724035"/>
            <a:ext cx="0" cy="324561"/>
          </a:xfrm>
          <a:prstGeom prst="straightConnector1">
            <a:avLst/>
          </a:prstGeom>
          <a:ln w="34925">
            <a:solidFill>
              <a:schemeClr val="bg2"/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7" name="Grafik 66">
            <a:extLst>
              <a:ext uri="{FF2B5EF4-FFF2-40B4-BE49-F238E27FC236}">
                <a16:creationId xmlns:a16="http://schemas.microsoft.com/office/drawing/2014/main" id="{3E2A09ED-3B68-D7B5-005A-7F05089AC845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438977" y="5021039"/>
            <a:ext cx="661340" cy="565321"/>
          </a:xfrm>
          <a:prstGeom prst="rect">
            <a:avLst/>
          </a:prstGeom>
        </p:spPr>
      </p:pic>
      <p:cxnSp>
        <p:nvCxnSpPr>
          <p:cNvPr id="68" name="Gerade Verbindung mit Pfeil 67">
            <a:extLst>
              <a:ext uri="{FF2B5EF4-FFF2-40B4-BE49-F238E27FC236}">
                <a16:creationId xmlns:a16="http://schemas.microsoft.com/office/drawing/2014/main" id="{B4624235-2DC8-AC27-329F-A94B19828657}"/>
              </a:ext>
            </a:extLst>
          </p:cNvPr>
          <p:cNvCxnSpPr>
            <a:cxnSpLocks/>
          </p:cNvCxnSpPr>
          <p:nvPr/>
        </p:nvCxnSpPr>
        <p:spPr>
          <a:xfrm>
            <a:off x="4769647" y="4728228"/>
            <a:ext cx="0" cy="324561"/>
          </a:xfrm>
          <a:prstGeom prst="straightConnector1">
            <a:avLst/>
          </a:prstGeom>
          <a:ln w="34925">
            <a:solidFill>
              <a:schemeClr val="bg2"/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9" name="Grafik 68">
            <a:extLst>
              <a:ext uri="{FF2B5EF4-FFF2-40B4-BE49-F238E27FC236}">
                <a16:creationId xmlns:a16="http://schemas.microsoft.com/office/drawing/2014/main" id="{28F01409-FFCB-9784-5AA0-4F6BE6216C89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580138" y="5018277"/>
            <a:ext cx="661340" cy="565321"/>
          </a:xfrm>
          <a:prstGeom prst="rect">
            <a:avLst/>
          </a:prstGeom>
        </p:spPr>
      </p:pic>
      <p:cxnSp>
        <p:nvCxnSpPr>
          <p:cNvPr id="70" name="Gerade Verbindung mit Pfeil 69">
            <a:extLst>
              <a:ext uri="{FF2B5EF4-FFF2-40B4-BE49-F238E27FC236}">
                <a16:creationId xmlns:a16="http://schemas.microsoft.com/office/drawing/2014/main" id="{322F3847-3815-F2D4-938F-D01748C99FB7}"/>
              </a:ext>
            </a:extLst>
          </p:cNvPr>
          <p:cNvCxnSpPr>
            <a:cxnSpLocks/>
          </p:cNvCxnSpPr>
          <p:nvPr/>
        </p:nvCxnSpPr>
        <p:spPr>
          <a:xfrm>
            <a:off x="5910808" y="4725466"/>
            <a:ext cx="0" cy="324561"/>
          </a:xfrm>
          <a:prstGeom prst="straightConnector1">
            <a:avLst/>
          </a:prstGeom>
          <a:ln w="34925">
            <a:solidFill>
              <a:schemeClr val="bg2"/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1" name="Grafik 70">
            <a:extLst>
              <a:ext uri="{FF2B5EF4-FFF2-40B4-BE49-F238E27FC236}">
                <a16:creationId xmlns:a16="http://schemas.microsoft.com/office/drawing/2014/main" id="{0F6C0BEE-5596-5B02-F416-3F8DCB875D97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667323" y="5016846"/>
            <a:ext cx="661340" cy="565321"/>
          </a:xfrm>
          <a:prstGeom prst="rect">
            <a:avLst/>
          </a:prstGeom>
        </p:spPr>
      </p:pic>
      <p:cxnSp>
        <p:nvCxnSpPr>
          <p:cNvPr id="72" name="Gerade Verbindung mit Pfeil 71">
            <a:extLst>
              <a:ext uri="{FF2B5EF4-FFF2-40B4-BE49-F238E27FC236}">
                <a16:creationId xmlns:a16="http://schemas.microsoft.com/office/drawing/2014/main" id="{C643A33A-C6DA-548E-F6D5-23A2BC8E3006}"/>
              </a:ext>
            </a:extLst>
          </p:cNvPr>
          <p:cNvCxnSpPr>
            <a:cxnSpLocks/>
          </p:cNvCxnSpPr>
          <p:nvPr/>
        </p:nvCxnSpPr>
        <p:spPr>
          <a:xfrm>
            <a:off x="6997993" y="4724035"/>
            <a:ext cx="0" cy="324561"/>
          </a:xfrm>
          <a:prstGeom prst="straightConnector1">
            <a:avLst/>
          </a:prstGeom>
          <a:ln w="34925">
            <a:solidFill>
              <a:schemeClr val="bg2"/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1" name="Grafik 90">
            <a:extLst>
              <a:ext uri="{FF2B5EF4-FFF2-40B4-BE49-F238E27FC236}">
                <a16:creationId xmlns:a16="http://schemas.microsoft.com/office/drawing/2014/main" id="{233B041B-B16A-917D-B1FB-C6F805591C5C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21502" y="191192"/>
            <a:ext cx="3744886" cy="1130532"/>
          </a:xfrm>
          <a:prstGeom prst="rect">
            <a:avLst/>
          </a:prstGeom>
          <a:noFill/>
        </p:spPr>
      </p:pic>
      <p:sp>
        <p:nvSpPr>
          <p:cNvPr id="8" name="Textplatzhalter 9">
            <a:extLst>
              <a:ext uri="{FF2B5EF4-FFF2-40B4-BE49-F238E27FC236}">
                <a16:creationId xmlns:a16="http://schemas.microsoft.com/office/drawing/2014/main" id="{49A44A24-E7BF-FF01-5A63-829E1D6AC70E}"/>
              </a:ext>
            </a:extLst>
          </p:cNvPr>
          <p:cNvSpPr txBox="1">
            <a:spLocks/>
          </p:cNvSpPr>
          <p:nvPr/>
        </p:nvSpPr>
        <p:spPr bwMode="gray">
          <a:xfrm>
            <a:off x="4116749" y="6149879"/>
            <a:ext cx="7594600" cy="35779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1600" b="1" i="0" kern="1200">
                <a:solidFill>
                  <a:schemeClr val="accent1"/>
                </a:solidFill>
                <a:latin typeface="Myriad Pro" panose="020B0503030403020204" pitchFamily="34" charset="0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1400" b="0" i="0" kern="120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1" i="0" kern="120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+mn-cs"/>
              </a:defRPr>
            </a:lvl3pPr>
            <a:lvl4pPr marL="18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b="0" i="0" kern="120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+mn-cs"/>
              </a:defRPr>
            </a:lvl4pPr>
            <a:lvl5pPr marL="36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b="0" i="0" kern="120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b="0" i="0" kern="120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+mn-cs"/>
              </a:defRPr>
            </a:lvl6pPr>
            <a:lvl7pPr marL="216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buFont typeface="+mj-lt"/>
              <a:buAutoNum type="arabicPeriod"/>
              <a:defRPr sz="1400" b="0" i="0" kern="120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lphaLcParenR"/>
              <a:defRPr sz="1400" b="0" i="0" kern="120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+mn-cs"/>
              </a:defRPr>
            </a:lvl8pPr>
            <a:lvl9pPr marL="648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romanLcPeriod"/>
              <a:defRPr sz="1400" b="0" i="0" kern="120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+mn-cs"/>
              </a:defRPr>
            </a:lvl9pPr>
          </a:lstStyle>
          <a:p>
            <a:pPr lvl="1"/>
            <a:r>
              <a:rPr lang="en-US" sz="1100" dirty="0"/>
              <a:t>G. Huang, Y. Li, G. Pleiss, Z. Liu, J. E. Hopcroft, and K. Q. Weinberger. Snapshot Ensembles: Train 1, get M for Free. International Conference on Learning Representations, 2017.</a:t>
            </a:r>
            <a:endParaRPr lang="de-DE" sz="1000" dirty="0"/>
          </a:p>
        </p:txBody>
      </p:sp>
    </p:spTree>
    <p:extLst>
      <p:ext uri="{BB962C8B-B14F-4D97-AF65-F5344CB8AC3E}">
        <p14:creationId xmlns:p14="http://schemas.microsoft.com/office/powerpoint/2010/main" val="394217259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79C72D2-EA25-7EC6-0EEB-F4677A49F38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395588"/>
            <a:ext cx="11233150" cy="374398"/>
          </a:xfrm>
        </p:spPr>
        <p:txBody>
          <a:bodyPr/>
          <a:lstStyle/>
          <a:p>
            <a:r>
              <a:rPr lang="de-DE" dirty="0"/>
              <a:t>Methode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4F842DF3-3B7A-05F8-9608-E685B3E47CE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5A82B2D-840F-4167-AD44-C02BC9C87CCB}" type="datetime1">
              <a:rPr lang="de-DE" noProof="0" smtClean="0"/>
              <a:t>15.11.22</a:t>
            </a:fld>
            <a:endParaRPr lang="de-DE" noProof="0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9107231-4D6A-AF50-1DE0-B6930DA6B4F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/>
              <a:t>© Universität zu Lübeck</a:t>
            </a:r>
            <a:endParaRPr lang="de-DE" noProof="0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D116C36F-8E2A-A0C9-EBDC-314D08731D6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 noProof="0"/>
              <a:t>Seite</a:t>
            </a:r>
            <a:r>
              <a:rPr lang="en-US"/>
              <a:t> </a:t>
            </a:r>
            <a:fld id="{401BA3E4-5E55-4F99-AF09-CC6D6B2539E2}" type="slidenum">
              <a:rPr lang="en-US" smtClean="0"/>
              <a:pPr/>
              <a:t>36</a:t>
            </a:fld>
            <a:endParaRPr lang="en-US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93D435FC-CF8C-D23E-0F3D-80577D7A216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9425" y="778321"/>
            <a:ext cx="11233150" cy="312008"/>
          </a:xfrm>
        </p:spPr>
        <p:txBody>
          <a:bodyPr/>
          <a:lstStyle/>
          <a:p>
            <a:r>
              <a:rPr lang="de-DE" dirty="0"/>
              <a:t>Arterien Segmentierung </a:t>
            </a:r>
            <a:r>
              <a:rPr lang="de-DE" sz="2000" b="0" i="0" kern="1200" dirty="0">
                <a:solidFill>
                  <a:srgbClr val="084653"/>
                </a:solidFill>
                <a:effectLst/>
                <a:latin typeface="Myriad Pro" panose="020B0503030403020204"/>
                <a:ea typeface="+mn-ea"/>
                <a:cs typeface="+mn-cs"/>
              </a:rPr>
              <a:t>— </a:t>
            </a:r>
            <a:r>
              <a:rPr lang="de-DE" dirty="0"/>
              <a:t>Ensemble (Explicit)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9D5C16EF-E99F-1957-135A-3E04C33E2A7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de-DE"/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230B8CCF-0ECD-A0BA-7D00-6B2AFADFA964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21502" y="191192"/>
            <a:ext cx="3744886" cy="1130532"/>
          </a:xfrm>
          <a:prstGeom prst="rect">
            <a:avLst/>
          </a:prstGeom>
          <a:noFill/>
        </p:spPr>
      </p:pic>
      <p:pic>
        <p:nvPicPr>
          <p:cNvPr id="12" name="Grafik 11">
            <a:extLst>
              <a:ext uri="{FF2B5EF4-FFF2-40B4-BE49-F238E27FC236}">
                <a16:creationId xmlns:a16="http://schemas.microsoft.com/office/drawing/2014/main" id="{41274CE1-362C-B756-6823-23D6FF267095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8199" y="1703388"/>
            <a:ext cx="7200000" cy="3845963"/>
          </a:xfrm>
          <a:prstGeom prst="rect">
            <a:avLst/>
          </a:prstGeom>
        </p:spPr>
      </p:pic>
      <p:pic>
        <p:nvPicPr>
          <p:cNvPr id="14" name="Grafik 13">
            <a:extLst>
              <a:ext uri="{FF2B5EF4-FFF2-40B4-BE49-F238E27FC236}">
                <a16:creationId xmlns:a16="http://schemas.microsoft.com/office/drawing/2014/main" id="{C4F7AAD1-8FCD-2022-A8FB-2805C554D3F5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8199" y="1703388"/>
            <a:ext cx="7200000" cy="38459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7406121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79C72D2-EA25-7EC6-0EEB-F4677A49F38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395588"/>
            <a:ext cx="11233150" cy="374398"/>
          </a:xfrm>
        </p:spPr>
        <p:txBody>
          <a:bodyPr/>
          <a:lstStyle/>
          <a:p>
            <a:r>
              <a:rPr lang="de-DE" dirty="0"/>
              <a:t>Methode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4F842DF3-3B7A-05F8-9608-E685B3E47CE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5A82B2D-840F-4167-AD44-C02BC9C87CCB}" type="datetime1">
              <a:rPr lang="de-DE" noProof="0" smtClean="0"/>
              <a:t>15.11.22</a:t>
            </a:fld>
            <a:endParaRPr lang="de-DE" noProof="0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9107231-4D6A-AF50-1DE0-B6930DA6B4F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/>
              <a:t>© Universität zu Lübeck</a:t>
            </a:r>
            <a:endParaRPr lang="de-DE" noProof="0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D116C36F-8E2A-A0C9-EBDC-314D08731D6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 noProof="0"/>
              <a:t>Seite</a:t>
            </a:r>
            <a:r>
              <a:rPr lang="en-US"/>
              <a:t> </a:t>
            </a:r>
            <a:fld id="{401BA3E4-5E55-4F99-AF09-CC6D6B2539E2}" type="slidenum">
              <a:rPr lang="en-US" smtClean="0"/>
              <a:pPr/>
              <a:t>37</a:t>
            </a:fld>
            <a:endParaRPr lang="en-US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93D435FC-CF8C-D23E-0F3D-80577D7A216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9425" y="778321"/>
            <a:ext cx="11233150" cy="312008"/>
          </a:xfrm>
        </p:spPr>
        <p:txBody>
          <a:bodyPr/>
          <a:lstStyle/>
          <a:p>
            <a:r>
              <a:rPr lang="de-DE" dirty="0"/>
              <a:t>Arterien Segmentierung </a:t>
            </a:r>
            <a:r>
              <a:rPr lang="de-DE" sz="2000" b="0" i="0" kern="1200" dirty="0">
                <a:solidFill>
                  <a:srgbClr val="084653"/>
                </a:solidFill>
                <a:effectLst/>
                <a:latin typeface="Myriad Pro" panose="020B0503030403020204"/>
                <a:ea typeface="+mn-ea"/>
                <a:cs typeface="+mn-cs"/>
              </a:rPr>
              <a:t>—</a:t>
            </a:r>
            <a:r>
              <a:rPr lang="de-DE" dirty="0"/>
              <a:t> Ensemble (Explicit)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9D5C16EF-E99F-1957-135A-3E04C33E2A7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de-DE"/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3E8F8B79-3FAE-B6E6-992C-D3EEE5BF34F7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8198" y="1703388"/>
            <a:ext cx="7200000" cy="3845963"/>
          </a:xfrm>
          <a:prstGeom prst="rect">
            <a:avLst/>
          </a:prstGeom>
        </p:spPr>
      </p:pic>
      <p:pic>
        <p:nvPicPr>
          <p:cNvPr id="8" name="Grafik 7">
            <a:extLst>
              <a:ext uri="{FF2B5EF4-FFF2-40B4-BE49-F238E27FC236}">
                <a16:creationId xmlns:a16="http://schemas.microsoft.com/office/drawing/2014/main" id="{38215E71-150E-D73A-F7FA-C1F9A2025264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21502" y="191192"/>
            <a:ext cx="3744886" cy="1130532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973467814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7DEEBE0-EF0B-27AA-B274-0209FC7036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395588"/>
            <a:ext cx="11233150" cy="374398"/>
          </a:xfrm>
        </p:spPr>
        <p:txBody>
          <a:bodyPr/>
          <a:lstStyle/>
          <a:p>
            <a:r>
              <a:rPr lang="de-DE" dirty="0"/>
              <a:t>Methode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EDC1F917-1CA4-7D1D-E253-5C335F92A20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5A82B2D-840F-4167-AD44-C02BC9C87CCB}" type="datetime1">
              <a:rPr lang="de-DE" noProof="0" smtClean="0"/>
              <a:t>15.11.22</a:t>
            </a:fld>
            <a:endParaRPr lang="de-DE" noProof="0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B030176C-BB13-6C66-39E9-FE1A19710B7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/>
              <a:t>© Universität zu Lübeck</a:t>
            </a:r>
            <a:endParaRPr lang="de-DE" noProof="0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1CBB5CAC-680E-944E-B2AF-4F5BD437328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 noProof="0"/>
              <a:t>Seite</a:t>
            </a:r>
            <a:r>
              <a:rPr lang="en-US"/>
              <a:t> </a:t>
            </a:r>
            <a:fld id="{401BA3E4-5E55-4F99-AF09-CC6D6B2539E2}" type="slidenum">
              <a:rPr lang="en-US" smtClean="0"/>
              <a:pPr/>
              <a:t>38</a:t>
            </a:fld>
            <a:endParaRPr lang="en-US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3EAA2E6-3ACA-7E83-66B1-DE6C03BDBF5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9425" y="778321"/>
            <a:ext cx="11233150" cy="312008"/>
          </a:xfrm>
        </p:spPr>
        <p:txBody>
          <a:bodyPr/>
          <a:lstStyle/>
          <a:p>
            <a:r>
              <a:rPr lang="de-DE" dirty="0"/>
              <a:t>Arterien Segmentierung </a:t>
            </a:r>
            <a:r>
              <a:rPr lang="de-DE" sz="2000" b="0" i="0" kern="1200" dirty="0">
                <a:solidFill>
                  <a:srgbClr val="084653"/>
                </a:solidFill>
                <a:effectLst/>
                <a:latin typeface="Myriad Pro" panose="020B0503030403020204"/>
                <a:ea typeface="+mn-ea"/>
                <a:cs typeface="+mn-cs"/>
              </a:rPr>
              <a:t>—</a:t>
            </a:r>
            <a:r>
              <a:rPr lang="de-DE" dirty="0"/>
              <a:t> Ensemble (Explicit)</a:t>
            </a: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4E6B8B88-3E12-14E8-4DF1-23C0DAEF856D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627942" y="1703388"/>
            <a:ext cx="2400000" cy="1800000"/>
          </a:xfrm>
          <a:prstGeom prst="rect">
            <a:avLst/>
          </a:prstGeom>
        </p:spPr>
      </p:pic>
      <p:pic>
        <p:nvPicPr>
          <p:cNvPr id="9" name="Grafik 8" descr="Ein Bild, das Text, Gewebe, Porzellan enthält.&#10;&#10;Automatisch generierte Beschreibung">
            <a:extLst>
              <a:ext uri="{FF2B5EF4-FFF2-40B4-BE49-F238E27FC236}">
                <a16:creationId xmlns:a16="http://schemas.microsoft.com/office/drawing/2014/main" id="{2A2DD416-0BFC-D902-961F-3D1FD0ABFB84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8199" y="1703388"/>
            <a:ext cx="2400000" cy="1800000"/>
          </a:xfrm>
          <a:prstGeom prst="rect">
            <a:avLst/>
          </a:prstGeom>
        </p:spPr>
      </p:pic>
      <p:pic>
        <p:nvPicPr>
          <p:cNvPr id="10" name="Grafik 9" descr="Ein Bild, das Silhouette enthält.&#10;&#10;Automatisch generierte Beschreibung">
            <a:extLst>
              <a:ext uri="{FF2B5EF4-FFF2-40B4-BE49-F238E27FC236}">
                <a16:creationId xmlns:a16="http://schemas.microsoft.com/office/drawing/2014/main" id="{17D8E063-8898-02B8-2DB2-F255DB7E5E36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8199" y="3957733"/>
            <a:ext cx="2400000" cy="1800000"/>
          </a:xfrm>
          <a:prstGeom prst="rect">
            <a:avLst/>
          </a:prstGeom>
        </p:spPr>
      </p:pic>
      <p:pic>
        <p:nvPicPr>
          <p:cNvPr id="11" name="Grafik 10" descr="Ein Bild, das Silhouette enthält.&#10;&#10;Automatisch generierte Beschreibung">
            <a:extLst>
              <a:ext uri="{FF2B5EF4-FFF2-40B4-BE49-F238E27FC236}">
                <a16:creationId xmlns:a16="http://schemas.microsoft.com/office/drawing/2014/main" id="{5BB2BEB5-AEE8-1DA8-89E7-7302506A4004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627942" y="3957733"/>
            <a:ext cx="2400000" cy="1800000"/>
          </a:xfrm>
          <a:prstGeom prst="rect">
            <a:avLst/>
          </a:prstGeom>
        </p:spPr>
      </p:pic>
      <p:sp>
        <p:nvSpPr>
          <p:cNvPr id="12" name="Textfeld 11">
            <a:extLst>
              <a:ext uri="{FF2B5EF4-FFF2-40B4-BE49-F238E27FC236}">
                <a16:creationId xmlns:a16="http://schemas.microsoft.com/office/drawing/2014/main" id="{62A9B45A-E51E-032D-2910-0BCA5E3649F6}"/>
              </a:ext>
            </a:extLst>
          </p:cNvPr>
          <p:cNvSpPr txBox="1"/>
          <p:nvPr/>
        </p:nvSpPr>
        <p:spPr bwMode="gray">
          <a:xfrm>
            <a:off x="478199" y="3503388"/>
            <a:ext cx="2400000" cy="3816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de-DE" sz="1800" dirty="0"/>
              <a:t>RGB Input</a:t>
            </a:r>
          </a:p>
        </p:txBody>
      </p:sp>
      <p:sp>
        <p:nvSpPr>
          <p:cNvPr id="13" name="Textfeld 12">
            <a:extLst>
              <a:ext uri="{FF2B5EF4-FFF2-40B4-BE49-F238E27FC236}">
                <a16:creationId xmlns:a16="http://schemas.microsoft.com/office/drawing/2014/main" id="{AD7FE0C6-9EAC-2327-58AF-3B3A4940AF50}"/>
              </a:ext>
            </a:extLst>
          </p:cNvPr>
          <p:cNvSpPr txBox="1"/>
          <p:nvPr/>
        </p:nvSpPr>
        <p:spPr bwMode="gray">
          <a:xfrm>
            <a:off x="3627942" y="3503388"/>
            <a:ext cx="2400000" cy="3816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de-DE" sz="1800" dirty="0"/>
              <a:t>GT Mask</a:t>
            </a:r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D8672BBE-031D-6F4F-B35A-6D0D71B19EEE}"/>
              </a:ext>
            </a:extLst>
          </p:cNvPr>
          <p:cNvSpPr txBox="1"/>
          <p:nvPr/>
        </p:nvSpPr>
        <p:spPr bwMode="gray">
          <a:xfrm>
            <a:off x="478199" y="5762319"/>
            <a:ext cx="2400000" cy="3816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de-DE" sz="1800" dirty="0" err="1"/>
              <a:t>Overlap</a:t>
            </a:r>
            <a:r>
              <a:rPr lang="de-DE" sz="1800" dirty="0"/>
              <a:t> </a:t>
            </a:r>
            <a:r>
              <a:rPr lang="de-DE" sz="1800" dirty="0" err="1"/>
              <a:t>Pred</a:t>
            </a:r>
            <a:endParaRPr lang="de-DE" sz="1800" dirty="0"/>
          </a:p>
        </p:txBody>
      </p:sp>
      <p:sp>
        <p:nvSpPr>
          <p:cNvPr id="15" name="Textfeld 14">
            <a:extLst>
              <a:ext uri="{FF2B5EF4-FFF2-40B4-BE49-F238E27FC236}">
                <a16:creationId xmlns:a16="http://schemas.microsoft.com/office/drawing/2014/main" id="{E54242F8-95C7-9A14-F1E9-9F6872B48EA2}"/>
              </a:ext>
            </a:extLst>
          </p:cNvPr>
          <p:cNvSpPr txBox="1"/>
          <p:nvPr/>
        </p:nvSpPr>
        <p:spPr bwMode="gray">
          <a:xfrm>
            <a:off x="3517165" y="5765819"/>
            <a:ext cx="262155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de-DE" sz="1800" dirty="0"/>
              <a:t>Single-Network Output</a:t>
            </a:r>
          </a:p>
        </p:txBody>
      </p:sp>
      <p:pic>
        <p:nvPicPr>
          <p:cNvPr id="20" name="Grafik 19" descr="Ein Bild, das Silhouette enthält.&#10;&#10;Automatisch generierte Beschreibung">
            <a:extLst>
              <a:ext uri="{FF2B5EF4-FFF2-40B4-BE49-F238E27FC236}">
                <a16:creationId xmlns:a16="http://schemas.microsoft.com/office/drawing/2014/main" id="{00BF6357-44C8-FC8B-72E7-00CD85D22C6D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3281" y="3961057"/>
            <a:ext cx="2400000" cy="1800000"/>
          </a:xfrm>
          <a:prstGeom prst="rect">
            <a:avLst/>
          </a:prstGeom>
        </p:spPr>
      </p:pic>
      <p:pic>
        <p:nvPicPr>
          <p:cNvPr id="21" name="Grafik 20" descr="Ein Bild, das Silhouette enthält.&#10;&#10;Automatisch generierte Beschreibung">
            <a:extLst>
              <a:ext uri="{FF2B5EF4-FFF2-40B4-BE49-F238E27FC236}">
                <a16:creationId xmlns:a16="http://schemas.microsoft.com/office/drawing/2014/main" id="{AE7DBBD4-C69C-DDB1-78A9-54EAF5AE317E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627942" y="3961057"/>
            <a:ext cx="2400000" cy="1800000"/>
          </a:xfrm>
          <a:prstGeom prst="rect">
            <a:avLst/>
          </a:prstGeom>
        </p:spPr>
      </p:pic>
      <p:pic>
        <p:nvPicPr>
          <p:cNvPr id="22" name="Grafik 21" descr="Ein Bild, das Silhouette enthält.&#10;&#10;Automatisch generierte Beschreibung">
            <a:extLst>
              <a:ext uri="{FF2B5EF4-FFF2-40B4-BE49-F238E27FC236}">
                <a16:creationId xmlns:a16="http://schemas.microsoft.com/office/drawing/2014/main" id="{EF26860C-7C0B-AFF8-2099-8E14185E7E7C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623024" y="1705769"/>
            <a:ext cx="2400000" cy="1800000"/>
          </a:xfrm>
          <a:prstGeom prst="rect">
            <a:avLst/>
          </a:prstGeom>
        </p:spPr>
      </p:pic>
      <p:pic>
        <p:nvPicPr>
          <p:cNvPr id="23" name="Grafik 22">
            <a:extLst>
              <a:ext uri="{FF2B5EF4-FFF2-40B4-BE49-F238E27FC236}">
                <a16:creationId xmlns:a16="http://schemas.microsoft.com/office/drawing/2014/main" id="{5575BEE4-69AC-C463-FD2B-5898F47E512B}"/>
              </a:ext>
            </a:extLst>
          </p:cNvPr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3281" y="1705769"/>
            <a:ext cx="2400000" cy="1800000"/>
          </a:xfrm>
          <a:prstGeom prst="rect">
            <a:avLst/>
          </a:prstGeom>
        </p:spPr>
      </p:pic>
      <p:pic>
        <p:nvPicPr>
          <p:cNvPr id="24" name="Grafik 23" descr="Ein Bild, das Silhouette enthält.&#10;&#10;Automatisch generierte Beschreibung">
            <a:extLst>
              <a:ext uri="{FF2B5EF4-FFF2-40B4-BE49-F238E27FC236}">
                <a16:creationId xmlns:a16="http://schemas.microsoft.com/office/drawing/2014/main" id="{F7259F13-95D7-4251-6ADE-DD4BD6A37FD2}"/>
              </a:ext>
            </a:extLst>
          </p:cNvPr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632860" y="3957733"/>
            <a:ext cx="2400000" cy="1800000"/>
          </a:xfrm>
          <a:prstGeom prst="rect">
            <a:avLst/>
          </a:prstGeom>
        </p:spPr>
      </p:pic>
      <p:pic>
        <p:nvPicPr>
          <p:cNvPr id="25" name="Grafik 24" descr="Ein Bild, das Silhouette enthält.&#10;&#10;Automatisch generierte Beschreibung">
            <a:extLst>
              <a:ext uri="{FF2B5EF4-FFF2-40B4-BE49-F238E27FC236}">
                <a16:creationId xmlns:a16="http://schemas.microsoft.com/office/drawing/2014/main" id="{F8E01F8B-DB4B-D22B-56EC-1D1DB3C2E6D8}"/>
              </a:ext>
            </a:extLst>
          </p:cNvPr>
          <p:cNvPicPr>
            <a:picLocks noChangeAspect="1"/>
          </p:cNvPicPr>
          <p:nvPr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5662" y="3957733"/>
            <a:ext cx="2400000" cy="1800000"/>
          </a:xfrm>
          <a:prstGeom prst="rect">
            <a:avLst/>
          </a:prstGeom>
        </p:spPr>
      </p:pic>
      <p:pic>
        <p:nvPicPr>
          <p:cNvPr id="16" name="Grafik 15">
            <a:extLst>
              <a:ext uri="{FF2B5EF4-FFF2-40B4-BE49-F238E27FC236}">
                <a16:creationId xmlns:a16="http://schemas.microsoft.com/office/drawing/2014/main" id="{9A3C1F9A-733D-5946-BBAA-9A712C8999D9}"/>
              </a:ext>
            </a:extLst>
          </p:cNvPr>
          <p:cNvPicPr>
            <a:picLocks noChangeAspect="1"/>
          </p:cNvPicPr>
          <p:nvPr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21502" y="191192"/>
            <a:ext cx="3744886" cy="1130532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08511853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/>
      <p:bldP spid="13" grpId="0"/>
      <p:bldP spid="14" grpId="0"/>
      <p:bldP spid="15" grpId="0"/>
    </p:bld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79C72D2-EA25-7EC6-0EEB-F4677A49F38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395588"/>
            <a:ext cx="11233150" cy="374398"/>
          </a:xfrm>
        </p:spPr>
        <p:txBody>
          <a:bodyPr/>
          <a:lstStyle/>
          <a:p>
            <a:r>
              <a:rPr lang="de-DE" dirty="0"/>
              <a:t>Evaluatio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4F842DF3-3B7A-05F8-9608-E685B3E47CE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5A82B2D-840F-4167-AD44-C02BC9C87CCB}" type="datetime1">
              <a:rPr lang="de-DE" noProof="0" smtClean="0"/>
              <a:t>15.11.22</a:t>
            </a:fld>
            <a:endParaRPr lang="de-DE" noProof="0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9107231-4D6A-AF50-1DE0-B6930DA6B4F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/>
              <a:t>© Universität zu Lübeck</a:t>
            </a:r>
            <a:endParaRPr lang="de-DE" noProof="0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D116C36F-8E2A-A0C9-EBDC-314D08731D6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 noProof="0"/>
              <a:t>Seite</a:t>
            </a:r>
            <a:r>
              <a:rPr lang="en-US"/>
              <a:t> </a:t>
            </a:r>
            <a:fld id="{401BA3E4-5E55-4F99-AF09-CC6D6B2539E2}" type="slidenum">
              <a:rPr lang="en-US" smtClean="0"/>
              <a:pPr/>
              <a:t>39</a:t>
            </a:fld>
            <a:endParaRPr lang="en-US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93D435FC-CF8C-D23E-0F3D-80577D7A216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9425" y="778321"/>
            <a:ext cx="11233150" cy="312008"/>
          </a:xfrm>
        </p:spPr>
        <p:txBody>
          <a:bodyPr/>
          <a:lstStyle/>
          <a:p>
            <a:r>
              <a:rPr lang="de-DE" dirty="0"/>
              <a:t>Arterien Segmentierung </a:t>
            </a:r>
            <a:r>
              <a:rPr lang="de-DE" sz="2000" b="0" i="0" kern="1200" dirty="0">
                <a:solidFill>
                  <a:srgbClr val="084653"/>
                </a:solidFill>
                <a:effectLst/>
                <a:latin typeface="Myriad Pro" panose="020B0503030403020204"/>
                <a:ea typeface="+mn-ea"/>
                <a:cs typeface="+mn-cs"/>
              </a:rPr>
              <a:t>—</a:t>
            </a:r>
            <a:r>
              <a:rPr lang="de-DE" dirty="0"/>
              <a:t> Ensemble (Explicit)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9D5C16EF-E99F-1957-135A-3E04C33E2A7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de-DE" dirty="0"/>
          </a:p>
        </p:txBody>
      </p:sp>
      <p:pic>
        <p:nvPicPr>
          <p:cNvPr id="9" name="Grafik 8" descr="Ein Bild, das Karte enthält.&#10;&#10;Automatisch generierte Beschreibung">
            <a:extLst>
              <a:ext uri="{FF2B5EF4-FFF2-40B4-BE49-F238E27FC236}">
                <a16:creationId xmlns:a16="http://schemas.microsoft.com/office/drawing/2014/main" id="{4B1B1782-DEE0-4D0B-5C33-F8596D1B1432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8800" y="4662000"/>
            <a:ext cx="1920000" cy="1440000"/>
          </a:xfrm>
          <a:prstGeom prst="rect">
            <a:avLst/>
          </a:prstGeom>
        </p:spPr>
      </p:pic>
      <p:pic>
        <p:nvPicPr>
          <p:cNvPr id="11" name="Grafik 10" descr="Ein Bild, das Natur enthält.&#10;&#10;Automatisch generierte Beschreibung">
            <a:extLst>
              <a:ext uri="{FF2B5EF4-FFF2-40B4-BE49-F238E27FC236}">
                <a16:creationId xmlns:a16="http://schemas.microsoft.com/office/drawing/2014/main" id="{05AE75EB-8BB9-74B7-B49B-99D47EE2A4BD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98660" y="4662000"/>
            <a:ext cx="1920000" cy="1440000"/>
          </a:xfrm>
          <a:prstGeom prst="rect">
            <a:avLst/>
          </a:prstGeom>
        </p:spPr>
      </p:pic>
      <p:pic>
        <p:nvPicPr>
          <p:cNvPr id="13" name="Grafik 12" descr="Ein Bild, das Text enthält.&#10;&#10;Automatisch generierte Beschreibung">
            <a:extLst>
              <a:ext uri="{FF2B5EF4-FFF2-40B4-BE49-F238E27FC236}">
                <a16:creationId xmlns:a16="http://schemas.microsoft.com/office/drawing/2014/main" id="{3802C4EE-E82F-7B09-947E-C6150DBD29D1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34774" y="4662000"/>
            <a:ext cx="1920000" cy="1440000"/>
          </a:xfrm>
          <a:prstGeom prst="rect">
            <a:avLst/>
          </a:prstGeom>
        </p:spPr>
      </p:pic>
      <p:pic>
        <p:nvPicPr>
          <p:cNvPr id="15" name="Grafik 14" descr="Ein Bild, das Licht enthält.&#10;&#10;Automatisch generierte Beschreibung">
            <a:extLst>
              <a:ext uri="{FF2B5EF4-FFF2-40B4-BE49-F238E27FC236}">
                <a16:creationId xmlns:a16="http://schemas.microsoft.com/office/drawing/2014/main" id="{F95EA5D0-08AC-BE41-17C1-A77A3DD8D353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255235" y="4662000"/>
            <a:ext cx="1920000" cy="1440000"/>
          </a:xfrm>
          <a:prstGeom prst="rect">
            <a:avLst/>
          </a:prstGeom>
        </p:spPr>
      </p:pic>
      <p:pic>
        <p:nvPicPr>
          <p:cNvPr id="17" name="Grafik 16">
            <a:extLst>
              <a:ext uri="{FF2B5EF4-FFF2-40B4-BE49-F238E27FC236}">
                <a16:creationId xmlns:a16="http://schemas.microsoft.com/office/drawing/2014/main" id="{D937E2EB-A83F-8DEE-820A-821D7AAE702B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8800" y="1702800"/>
            <a:ext cx="1920000" cy="1440000"/>
          </a:xfrm>
          <a:prstGeom prst="rect">
            <a:avLst/>
          </a:prstGeom>
        </p:spPr>
      </p:pic>
      <p:pic>
        <p:nvPicPr>
          <p:cNvPr id="19" name="Grafik 18">
            <a:extLst>
              <a:ext uri="{FF2B5EF4-FFF2-40B4-BE49-F238E27FC236}">
                <a16:creationId xmlns:a16="http://schemas.microsoft.com/office/drawing/2014/main" id="{C4C1EFE0-E5A8-CA32-C05A-0EEB08D1B009}"/>
              </a:ext>
            </a:extLst>
          </p:cNvPr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98660" y="1702800"/>
            <a:ext cx="1920000" cy="1440000"/>
          </a:xfrm>
          <a:prstGeom prst="rect">
            <a:avLst/>
          </a:prstGeom>
        </p:spPr>
      </p:pic>
      <p:pic>
        <p:nvPicPr>
          <p:cNvPr id="21" name="Grafik 20" descr="Ein Bild, das Karte enthält.&#10;&#10;Automatisch generierte Beschreibung">
            <a:extLst>
              <a:ext uri="{FF2B5EF4-FFF2-40B4-BE49-F238E27FC236}">
                <a16:creationId xmlns:a16="http://schemas.microsoft.com/office/drawing/2014/main" id="{E108147A-F18F-4DE7-8DEB-34BD64DC7ECE}"/>
              </a:ext>
            </a:extLst>
          </p:cNvPr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34774" y="1702800"/>
            <a:ext cx="1920000" cy="1440000"/>
          </a:xfrm>
          <a:prstGeom prst="rect">
            <a:avLst/>
          </a:prstGeom>
        </p:spPr>
      </p:pic>
      <p:pic>
        <p:nvPicPr>
          <p:cNvPr id="23" name="Grafik 22">
            <a:extLst>
              <a:ext uri="{FF2B5EF4-FFF2-40B4-BE49-F238E27FC236}">
                <a16:creationId xmlns:a16="http://schemas.microsoft.com/office/drawing/2014/main" id="{85F2B8EA-70F3-CA46-403E-7A6F467E1F24}"/>
              </a:ext>
            </a:extLst>
          </p:cNvPr>
          <p:cNvPicPr>
            <a:picLocks noChangeAspect="1"/>
          </p:cNvPicPr>
          <p:nvPr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255235" y="1702800"/>
            <a:ext cx="1920000" cy="1440000"/>
          </a:xfrm>
          <a:prstGeom prst="rect">
            <a:avLst/>
          </a:prstGeom>
        </p:spPr>
      </p:pic>
      <p:pic>
        <p:nvPicPr>
          <p:cNvPr id="25" name="Grafik 24" descr="Ein Bild, das Gewebe enthält.&#10;&#10;Automatisch generierte Beschreibung">
            <a:extLst>
              <a:ext uri="{FF2B5EF4-FFF2-40B4-BE49-F238E27FC236}">
                <a16:creationId xmlns:a16="http://schemas.microsoft.com/office/drawing/2014/main" id="{4F3CB88C-B347-1D97-51A6-A3637F224F68}"/>
              </a:ext>
            </a:extLst>
          </p:cNvPr>
          <p:cNvPicPr>
            <a:picLocks noChangeAspect="1"/>
          </p:cNvPicPr>
          <p:nvPr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8800" y="3175200"/>
            <a:ext cx="1920000" cy="1440000"/>
          </a:xfrm>
          <a:prstGeom prst="rect">
            <a:avLst/>
          </a:prstGeom>
        </p:spPr>
      </p:pic>
      <p:pic>
        <p:nvPicPr>
          <p:cNvPr id="27" name="Grafik 26">
            <a:extLst>
              <a:ext uri="{FF2B5EF4-FFF2-40B4-BE49-F238E27FC236}">
                <a16:creationId xmlns:a16="http://schemas.microsoft.com/office/drawing/2014/main" id="{EFCB6104-35F7-53BA-16A8-1ED46260665D}"/>
              </a:ext>
            </a:extLst>
          </p:cNvPr>
          <p:cNvPicPr>
            <a:picLocks noChangeAspect="1"/>
          </p:cNvPicPr>
          <p:nvPr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98660" y="3175200"/>
            <a:ext cx="1920000" cy="1440000"/>
          </a:xfrm>
          <a:prstGeom prst="rect">
            <a:avLst/>
          </a:prstGeom>
        </p:spPr>
      </p:pic>
      <p:pic>
        <p:nvPicPr>
          <p:cNvPr id="29" name="Grafik 28" descr="Ein Bild, das Karte enthält.&#10;&#10;Automatisch generierte Beschreibung">
            <a:extLst>
              <a:ext uri="{FF2B5EF4-FFF2-40B4-BE49-F238E27FC236}">
                <a16:creationId xmlns:a16="http://schemas.microsoft.com/office/drawing/2014/main" id="{A960A4BF-C835-4044-739F-0EF89BFBC9EA}"/>
              </a:ext>
            </a:extLst>
          </p:cNvPr>
          <p:cNvPicPr>
            <a:picLocks noChangeAspect="1"/>
          </p:cNvPicPr>
          <p:nvPr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34774" y="3175200"/>
            <a:ext cx="1920000" cy="1440000"/>
          </a:xfrm>
          <a:prstGeom prst="rect">
            <a:avLst/>
          </a:prstGeom>
        </p:spPr>
      </p:pic>
      <p:pic>
        <p:nvPicPr>
          <p:cNvPr id="31" name="Grafik 30" descr="Ein Bild, das Natur, dunkel enthält.&#10;&#10;Automatisch generierte Beschreibung">
            <a:extLst>
              <a:ext uri="{FF2B5EF4-FFF2-40B4-BE49-F238E27FC236}">
                <a16:creationId xmlns:a16="http://schemas.microsoft.com/office/drawing/2014/main" id="{578355F6-9E2E-BED3-6648-0FA00D8ECC84}"/>
              </a:ext>
            </a:extLst>
          </p:cNvPr>
          <p:cNvPicPr>
            <a:picLocks noChangeAspect="1"/>
          </p:cNvPicPr>
          <p:nvPr/>
        </p:nvPicPr>
        <p:blipFill>
          <a:blip r:embed="rId1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255235" y="3175200"/>
            <a:ext cx="1920000" cy="1440000"/>
          </a:xfrm>
          <a:prstGeom prst="rect">
            <a:avLst/>
          </a:prstGeom>
        </p:spPr>
      </p:pic>
      <p:pic>
        <p:nvPicPr>
          <p:cNvPr id="155" name="Grafik 154">
            <a:extLst>
              <a:ext uri="{FF2B5EF4-FFF2-40B4-BE49-F238E27FC236}">
                <a16:creationId xmlns:a16="http://schemas.microsoft.com/office/drawing/2014/main" id="{5DAB407A-22BB-E3A7-8FF8-4512CB0FC40C}"/>
              </a:ext>
            </a:extLst>
          </p:cNvPr>
          <p:cNvPicPr>
            <a:picLocks noChangeAspect="1"/>
          </p:cNvPicPr>
          <p:nvPr/>
        </p:nvPicPr>
        <p:blipFill>
          <a:blip r:embed="rId1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8800" y="4662000"/>
            <a:ext cx="1920000" cy="1440000"/>
          </a:xfrm>
          <a:prstGeom prst="rect">
            <a:avLst/>
          </a:prstGeom>
        </p:spPr>
      </p:pic>
      <p:pic>
        <p:nvPicPr>
          <p:cNvPr id="156" name="Grafik 155">
            <a:extLst>
              <a:ext uri="{FF2B5EF4-FFF2-40B4-BE49-F238E27FC236}">
                <a16:creationId xmlns:a16="http://schemas.microsoft.com/office/drawing/2014/main" id="{C395C5FC-574C-5602-8DC8-55A34CF09502}"/>
              </a:ext>
            </a:extLst>
          </p:cNvPr>
          <p:cNvPicPr>
            <a:picLocks noChangeAspect="1"/>
          </p:cNvPicPr>
          <p:nvPr/>
        </p:nvPicPr>
        <p:blipFill>
          <a:blip r:embed="rId1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95444" y="4662000"/>
            <a:ext cx="1920000" cy="1440000"/>
          </a:xfrm>
          <a:prstGeom prst="rect">
            <a:avLst/>
          </a:prstGeom>
        </p:spPr>
      </p:pic>
      <p:pic>
        <p:nvPicPr>
          <p:cNvPr id="157" name="Grafik 156" descr="Ein Bild, das Karte enthält.&#10;&#10;Automatisch generierte Beschreibung">
            <a:extLst>
              <a:ext uri="{FF2B5EF4-FFF2-40B4-BE49-F238E27FC236}">
                <a16:creationId xmlns:a16="http://schemas.microsoft.com/office/drawing/2014/main" id="{60BF4D95-8D3A-755E-0B56-B6EB2B6A021F}"/>
              </a:ext>
            </a:extLst>
          </p:cNvPr>
          <p:cNvPicPr>
            <a:picLocks noChangeAspect="1"/>
          </p:cNvPicPr>
          <p:nvPr/>
        </p:nvPicPr>
        <p:blipFill>
          <a:blip r:embed="rId1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33779" y="4662000"/>
            <a:ext cx="1920000" cy="1440000"/>
          </a:xfrm>
          <a:prstGeom prst="rect">
            <a:avLst/>
          </a:prstGeom>
        </p:spPr>
      </p:pic>
      <p:pic>
        <p:nvPicPr>
          <p:cNvPr id="158" name="Grafik 157" descr="Ein Bild, das Natur enthält.&#10;&#10;Automatisch generierte Beschreibung">
            <a:extLst>
              <a:ext uri="{FF2B5EF4-FFF2-40B4-BE49-F238E27FC236}">
                <a16:creationId xmlns:a16="http://schemas.microsoft.com/office/drawing/2014/main" id="{888B9CAA-2488-F202-311D-ECA50CC648DC}"/>
              </a:ext>
            </a:extLst>
          </p:cNvPr>
          <p:cNvPicPr>
            <a:picLocks noChangeAspect="1"/>
          </p:cNvPicPr>
          <p:nvPr/>
        </p:nvPicPr>
        <p:blipFill>
          <a:blip r:embed="rId1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254240" y="4662000"/>
            <a:ext cx="1920000" cy="1440000"/>
          </a:xfrm>
          <a:prstGeom prst="rect">
            <a:avLst/>
          </a:prstGeom>
        </p:spPr>
      </p:pic>
      <p:pic>
        <p:nvPicPr>
          <p:cNvPr id="159" name="Grafik 158">
            <a:extLst>
              <a:ext uri="{FF2B5EF4-FFF2-40B4-BE49-F238E27FC236}">
                <a16:creationId xmlns:a16="http://schemas.microsoft.com/office/drawing/2014/main" id="{2864270E-7A22-80A7-6EB8-291F0BE5B51E}"/>
              </a:ext>
            </a:extLst>
          </p:cNvPr>
          <p:cNvPicPr>
            <a:picLocks noChangeAspect="1"/>
          </p:cNvPicPr>
          <p:nvPr/>
        </p:nvPicPr>
        <p:blipFill>
          <a:blip r:embed="rId1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8800" y="1702800"/>
            <a:ext cx="1920000" cy="1440000"/>
          </a:xfrm>
          <a:prstGeom prst="rect">
            <a:avLst/>
          </a:prstGeom>
        </p:spPr>
      </p:pic>
      <p:pic>
        <p:nvPicPr>
          <p:cNvPr id="160" name="Grafik 159">
            <a:extLst>
              <a:ext uri="{FF2B5EF4-FFF2-40B4-BE49-F238E27FC236}">
                <a16:creationId xmlns:a16="http://schemas.microsoft.com/office/drawing/2014/main" id="{AABBB0C4-77D5-026D-EBC2-3BB557113A08}"/>
              </a:ext>
            </a:extLst>
          </p:cNvPr>
          <p:cNvPicPr>
            <a:picLocks noChangeAspect="1"/>
          </p:cNvPicPr>
          <p:nvPr/>
        </p:nvPicPr>
        <p:blipFill>
          <a:blip r:embed="rId2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95444" y="1702800"/>
            <a:ext cx="1920000" cy="1440000"/>
          </a:xfrm>
          <a:prstGeom prst="rect">
            <a:avLst/>
          </a:prstGeom>
        </p:spPr>
      </p:pic>
      <p:pic>
        <p:nvPicPr>
          <p:cNvPr id="161" name="Grafik 160" descr="Ein Bild, das Text, Strichzeichnung enthält.&#10;&#10;Automatisch generierte Beschreibung">
            <a:extLst>
              <a:ext uri="{FF2B5EF4-FFF2-40B4-BE49-F238E27FC236}">
                <a16:creationId xmlns:a16="http://schemas.microsoft.com/office/drawing/2014/main" id="{B44FD506-5C6B-8AFA-042C-60752D56CB0E}"/>
              </a:ext>
            </a:extLst>
          </p:cNvPr>
          <p:cNvPicPr>
            <a:picLocks noChangeAspect="1"/>
          </p:cNvPicPr>
          <p:nvPr/>
        </p:nvPicPr>
        <p:blipFill>
          <a:blip r:embed="rId2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33779" y="1702800"/>
            <a:ext cx="1920000" cy="1440000"/>
          </a:xfrm>
          <a:prstGeom prst="rect">
            <a:avLst/>
          </a:prstGeom>
        </p:spPr>
      </p:pic>
      <p:pic>
        <p:nvPicPr>
          <p:cNvPr id="162" name="Grafik 161" descr="Ein Bild, das Natur enthält.&#10;&#10;Automatisch generierte Beschreibung">
            <a:extLst>
              <a:ext uri="{FF2B5EF4-FFF2-40B4-BE49-F238E27FC236}">
                <a16:creationId xmlns:a16="http://schemas.microsoft.com/office/drawing/2014/main" id="{57B883C2-661B-8E8E-FF37-D499289231C7}"/>
              </a:ext>
            </a:extLst>
          </p:cNvPr>
          <p:cNvPicPr>
            <a:picLocks noChangeAspect="1"/>
          </p:cNvPicPr>
          <p:nvPr/>
        </p:nvPicPr>
        <p:blipFill>
          <a:blip r:embed="rId2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254240" y="1702800"/>
            <a:ext cx="1920000" cy="1440000"/>
          </a:xfrm>
          <a:prstGeom prst="rect">
            <a:avLst/>
          </a:prstGeom>
        </p:spPr>
      </p:pic>
      <p:pic>
        <p:nvPicPr>
          <p:cNvPr id="163" name="Grafik 162" descr="Ein Bild, das Strichzeichnung, Gewebe, Porzellan enthält.&#10;&#10;Automatisch generierte Beschreibung">
            <a:extLst>
              <a:ext uri="{FF2B5EF4-FFF2-40B4-BE49-F238E27FC236}">
                <a16:creationId xmlns:a16="http://schemas.microsoft.com/office/drawing/2014/main" id="{48FA8048-8134-F0D5-372B-48DF32C2E212}"/>
              </a:ext>
            </a:extLst>
          </p:cNvPr>
          <p:cNvPicPr>
            <a:picLocks noChangeAspect="1"/>
          </p:cNvPicPr>
          <p:nvPr/>
        </p:nvPicPr>
        <p:blipFill>
          <a:blip r:embed="rId2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8800" y="3175200"/>
            <a:ext cx="1920000" cy="1440000"/>
          </a:xfrm>
          <a:prstGeom prst="rect">
            <a:avLst/>
          </a:prstGeom>
        </p:spPr>
      </p:pic>
      <p:pic>
        <p:nvPicPr>
          <p:cNvPr id="164" name="Grafik 163">
            <a:extLst>
              <a:ext uri="{FF2B5EF4-FFF2-40B4-BE49-F238E27FC236}">
                <a16:creationId xmlns:a16="http://schemas.microsoft.com/office/drawing/2014/main" id="{302AE61E-89F3-FF65-21BA-103B443AB98E}"/>
              </a:ext>
            </a:extLst>
          </p:cNvPr>
          <p:cNvPicPr>
            <a:picLocks noChangeAspect="1"/>
          </p:cNvPicPr>
          <p:nvPr/>
        </p:nvPicPr>
        <p:blipFill>
          <a:blip r:embed="rId2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98660" y="3175200"/>
            <a:ext cx="1920000" cy="1440000"/>
          </a:xfrm>
          <a:prstGeom prst="rect">
            <a:avLst/>
          </a:prstGeom>
        </p:spPr>
      </p:pic>
      <p:pic>
        <p:nvPicPr>
          <p:cNvPr id="165" name="Grafik 164" descr="Ein Bild, das Strichzeichnung, Porzellan enthält.&#10;&#10;Automatisch generierte Beschreibung">
            <a:extLst>
              <a:ext uri="{FF2B5EF4-FFF2-40B4-BE49-F238E27FC236}">
                <a16:creationId xmlns:a16="http://schemas.microsoft.com/office/drawing/2014/main" id="{20D1824F-1B00-CAE3-3A3A-75DBDA6807B5}"/>
              </a:ext>
            </a:extLst>
          </p:cNvPr>
          <p:cNvPicPr>
            <a:picLocks noChangeAspect="1"/>
          </p:cNvPicPr>
          <p:nvPr/>
        </p:nvPicPr>
        <p:blipFill>
          <a:blip r:embed="rId2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34774" y="3175200"/>
            <a:ext cx="1920000" cy="1440000"/>
          </a:xfrm>
          <a:prstGeom prst="rect">
            <a:avLst/>
          </a:prstGeom>
        </p:spPr>
      </p:pic>
      <p:pic>
        <p:nvPicPr>
          <p:cNvPr id="166" name="Grafik 165">
            <a:extLst>
              <a:ext uri="{FF2B5EF4-FFF2-40B4-BE49-F238E27FC236}">
                <a16:creationId xmlns:a16="http://schemas.microsoft.com/office/drawing/2014/main" id="{DF1959F5-B728-CF58-4D16-74F4C1EAB987}"/>
              </a:ext>
            </a:extLst>
          </p:cNvPr>
          <p:cNvPicPr>
            <a:picLocks noChangeAspect="1"/>
          </p:cNvPicPr>
          <p:nvPr/>
        </p:nvPicPr>
        <p:blipFill>
          <a:blip r:embed="rId2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254240" y="3175200"/>
            <a:ext cx="1920000" cy="1440000"/>
          </a:xfrm>
          <a:prstGeom prst="rect">
            <a:avLst/>
          </a:prstGeom>
        </p:spPr>
      </p:pic>
      <p:pic>
        <p:nvPicPr>
          <p:cNvPr id="167" name="Grafik 166">
            <a:extLst>
              <a:ext uri="{FF2B5EF4-FFF2-40B4-BE49-F238E27FC236}">
                <a16:creationId xmlns:a16="http://schemas.microsoft.com/office/drawing/2014/main" id="{B651C540-66BB-3AAB-5950-60BD01C254D1}"/>
              </a:ext>
            </a:extLst>
          </p:cNvPr>
          <p:cNvPicPr>
            <a:picLocks noChangeAspect="1"/>
          </p:cNvPicPr>
          <p:nvPr/>
        </p:nvPicPr>
        <p:blipFill>
          <a:blip r:embed="rId2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255235" y="4662000"/>
            <a:ext cx="1920000" cy="1440000"/>
          </a:xfrm>
          <a:prstGeom prst="rect">
            <a:avLst/>
          </a:prstGeom>
        </p:spPr>
      </p:pic>
      <p:pic>
        <p:nvPicPr>
          <p:cNvPr id="168" name="Grafik 167" descr="Ein Bild, das Strichzeichnung, Porzellan enthält.&#10;&#10;Automatisch generierte Beschreibung">
            <a:extLst>
              <a:ext uri="{FF2B5EF4-FFF2-40B4-BE49-F238E27FC236}">
                <a16:creationId xmlns:a16="http://schemas.microsoft.com/office/drawing/2014/main" id="{CB29F990-A99D-8BAD-9D90-61AA3D42EC3E}"/>
              </a:ext>
            </a:extLst>
          </p:cNvPr>
          <p:cNvPicPr>
            <a:picLocks noChangeAspect="1"/>
          </p:cNvPicPr>
          <p:nvPr/>
        </p:nvPicPr>
        <p:blipFill>
          <a:blip r:embed="rId2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8800" y="1702800"/>
            <a:ext cx="1920000" cy="1440000"/>
          </a:xfrm>
          <a:prstGeom prst="rect">
            <a:avLst/>
          </a:prstGeom>
        </p:spPr>
      </p:pic>
      <p:pic>
        <p:nvPicPr>
          <p:cNvPr id="169" name="Grafik 168" descr="Ein Bild, das Licht enthält.&#10;&#10;Automatisch generierte Beschreibung">
            <a:extLst>
              <a:ext uri="{FF2B5EF4-FFF2-40B4-BE49-F238E27FC236}">
                <a16:creationId xmlns:a16="http://schemas.microsoft.com/office/drawing/2014/main" id="{FB8121DD-DEE5-313C-2294-13C008AB0B26}"/>
              </a:ext>
            </a:extLst>
          </p:cNvPr>
          <p:cNvPicPr>
            <a:picLocks noChangeAspect="1"/>
          </p:cNvPicPr>
          <p:nvPr/>
        </p:nvPicPr>
        <p:blipFill>
          <a:blip r:embed="rId2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98660" y="1702800"/>
            <a:ext cx="1920000" cy="1440000"/>
          </a:xfrm>
          <a:prstGeom prst="rect">
            <a:avLst/>
          </a:prstGeom>
        </p:spPr>
      </p:pic>
      <p:pic>
        <p:nvPicPr>
          <p:cNvPr id="170" name="Grafik 169" descr="Ein Bild, das Karte enthält.&#10;&#10;Automatisch generierte Beschreibung">
            <a:extLst>
              <a:ext uri="{FF2B5EF4-FFF2-40B4-BE49-F238E27FC236}">
                <a16:creationId xmlns:a16="http://schemas.microsoft.com/office/drawing/2014/main" id="{8399BFF0-C4ED-72F6-545E-101394546744}"/>
              </a:ext>
            </a:extLst>
          </p:cNvPr>
          <p:cNvPicPr>
            <a:picLocks noChangeAspect="1"/>
          </p:cNvPicPr>
          <p:nvPr/>
        </p:nvPicPr>
        <p:blipFill>
          <a:blip r:embed="rId3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34774" y="1702800"/>
            <a:ext cx="1920000" cy="1440000"/>
          </a:xfrm>
          <a:prstGeom prst="rect">
            <a:avLst/>
          </a:prstGeom>
        </p:spPr>
      </p:pic>
      <p:pic>
        <p:nvPicPr>
          <p:cNvPr id="171" name="Grafik 170" descr="Ein Bild, das Lampe, Licht enthält.&#10;&#10;Automatisch generierte Beschreibung">
            <a:extLst>
              <a:ext uri="{FF2B5EF4-FFF2-40B4-BE49-F238E27FC236}">
                <a16:creationId xmlns:a16="http://schemas.microsoft.com/office/drawing/2014/main" id="{A078D6B3-7DBD-4BE8-C568-FDF1326F3419}"/>
              </a:ext>
            </a:extLst>
          </p:cNvPr>
          <p:cNvPicPr>
            <a:picLocks noChangeAspect="1"/>
          </p:cNvPicPr>
          <p:nvPr/>
        </p:nvPicPr>
        <p:blipFill>
          <a:blip r:embed="rId3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255235" y="1702800"/>
            <a:ext cx="1920000" cy="1440000"/>
          </a:xfrm>
          <a:prstGeom prst="rect">
            <a:avLst/>
          </a:prstGeom>
        </p:spPr>
      </p:pic>
      <p:pic>
        <p:nvPicPr>
          <p:cNvPr id="172" name="Grafik 171" descr="Ein Bild, das Karte enthält.&#10;&#10;Automatisch generierte Beschreibung">
            <a:extLst>
              <a:ext uri="{FF2B5EF4-FFF2-40B4-BE49-F238E27FC236}">
                <a16:creationId xmlns:a16="http://schemas.microsoft.com/office/drawing/2014/main" id="{0319003C-0B71-8924-F1D3-5E758A44635A}"/>
              </a:ext>
            </a:extLst>
          </p:cNvPr>
          <p:cNvPicPr>
            <a:picLocks noChangeAspect="1"/>
          </p:cNvPicPr>
          <p:nvPr/>
        </p:nvPicPr>
        <p:blipFill>
          <a:blip r:embed="rId3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8800" y="3175200"/>
            <a:ext cx="1920000" cy="1440000"/>
          </a:xfrm>
          <a:prstGeom prst="rect">
            <a:avLst/>
          </a:prstGeom>
        </p:spPr>
      </p:pic>
      <p:pic>
        <p:nvPicPr>
          <p:cNvPr id="173" name="Grafik 172" descr="Ein Bild, das Natur enthält.&#10;&#10;Automatisch generierte Beschreibung">
            <a:extLst>
              <a:ext uri="{FF2B5EF4-FFF2-40B4-BE49-F238E27FC236}">
                <a16:creationId xmlns:a16="http://schemas.microsoft.com/office/drawing/2014/main" id="{0C774A0E-2C3E-B3A3-2F64-D13FFDDDD808}"/>
              </a:ext>
            </a:extLst>
          </p:cNvPr>
          <p:cNvPicPr>
            <a:picLocks noChangeAspect="1"/>
          </p:cNvPicPr>
          <p:nvPr/>
        </p:nvPicPr>
        <p:blipFill>
          <a:blip r:embed="rId3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98660" y="3175200"/>
            <a:ext cx="1920000" cy="1440000"/>
          </a:xfrm>
          <a:prstGeom prst="rect">
            <a:avLst/>
          </a:prstGeom>
        </p:spPr>
      </p:pic>
      <p:pic>
        <p:nvPicPr>
          <p:cNvPr id="174" name="Grafik 173" descr="Ein Bild, das Text enthält.&#10;&#10;Automatisch generierte Beschreibung">
            <a:extLst>
              <a:ext uri="{FF2B5EF4-FFF2-40B4-BE49-F238E27FC236}">
                <a16:creationId xmlns:a16="http://schemas.microsoft.com/office/drawing/2014/main" id="{9BC2730A-E9EB-5195-28B3-F0DC31A28236}"/>
              </a:ext>
            </a:extLst>
          </p:cNvPr>
          <p:cNvPicPr>
            <a:picLocks noChangeAspect="1"/>
          </p:cNvPicPr>
          <p:nvPr/>
        </p:nvPicPr>
        <p:blipFill>
          <a:blip r:embed="rId3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34774" y="3175200"/>
            <a:ext cx="1920000" cy="1440000"/>
          </a:xfrm>
          <a:prstGeom prst="rect">
            <a:avLst/>
          </a:prstGeom>
        </p:spPr>
      </p:pic>
      <p:pic>
        <p:nvPicPr>
          <p:cNvPr id="175" name="Grafik 174" descr="Ein Bild, das Natur enthält.&#10;&#10;Automatisch generierte Beschreibung">
            <a:extLst>
              <a:ext uri="{FF2B5EF4-FFF2-40B4-BE49-F238E27FC236}">
                <a16:creationId xmlns:a16="http://schemas.microsoft.com/office/drawing/2014/main" id="{7C1EB882-47DF-B5C4-EAE2-6DBB6825AD05}"/>
              </a:ext>
            </a:extLst>
          </p:cNvPr>
          <p:cNvPicPr>
            <a:picLocks noChangeAspect="1"/>
          </p:cNvPicPr>
          <p:nvPr/>
        </p:nvPicPr>
        <p:blipFill>
          <a:blip r:embed="rId3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255235" y="3175200"/>
            <a:ext cx="1920000" cy="1440000"/>
          </a:xfrm>
          <a:prstGeom prst="rect">
            <a:avLst/>
          </a:prstGeom>
        </p:spPr>
      </p:pic>
      <p:pic>
        <p:nvPicPr>
          <p:cNvPr id="176" name="Grafik 175" descr="Ein Bild, das Text, Strichzeichnung enthält.&#10;&#10;Automatisch generierte Beschreibung">
            <a:extLst>
              <a:ext uri="{FF2B5EF4-FFF2-40B4-BE49-F238E27FC236}">
                <a16:creationId xmlns:a16="http://schemas.microsoft.com/office/drawing/2014/main" id="{457FDFAD-CE12-399A-ACF9-6177B958D54F}"/>
              </a:ext>
            </a:extLst>
          </p:cNvPr>
          <p:cNvPicPr>
            <a:picLocks noChangeAspect="1"/>
          </p:cNvPicPr>
          <p:nvPr/>
        </p:nvPicPr>
        <p:blipFill>
          <a:blip r:embed="rId3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8800" y="4662000"/>
            <a:ext cx="1920000" cy="1440000"/>
          </a:xfrm>
          <a:prstGeom prst="rect">
            <a:avLst/>
          </a:prstGeom>
        </p:spPr>
      </p:pic>
      <p:pic>
        <p:nvPicPr>
          <p:cNvPr id="177" name="Grafik 176" descr="Ein Bild, das Licht enthält.&#10;&#10;Automatisch generierte Beschreibung">
            <a:extLst>
              <a:ext uri="{FF2B5EF4-FFF2-40B4-BE49-F238E27FC236}">
                <a16:creationId xmlns:a16="http://schemas.microsoft.com/office/drawing/2014/main" id="{BFBFD8F5-CC06-9FF4-FFAE-30D279A492F4}"/>
              </a:ext>
            </a:extLst>
          </p:cNvPr>
          <p:cNvPicPr>
            <a:picLocks noChangeAspect="1"/>
          </p:cNvPicPr>
          <p:nvPr/>
        </p:nvPicPr>
        <p:blipFill>
          <a:blip r:embed="rId3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98660" y="4662000"/>
            <a:ext cx="1920000" cy="1440000"/>
          </a:xfrm>
          <a:prstGeom prst="rect">
            <a:avLst/>
          </a:prstGeom>
        </p:spPr>
      </p:pic>
      <p:pic>
        <p:nvPicPr>
          <p:cNvPr id="178" name="Grafik 177">
            <a:extLst>
              <a:ext uri="{FF2B5EF4-FFF2-40B4-BE49-F238E27FC236}">
                <a16:creationId xmlns:a16="http://schemas.microsoft.com/office/drawing/2014/main" id="{51D142CC-F833-82B0-7588-34222D5D8BE9}"/>
              </a:ext>
            </a:extLst>
          </p:cNvPr>
          <p:cNvPicPr>
            <a:picLocks noChangeAspect="1"/>
          </p:cNvPicPr>
          <p:nvPr/>
        </p:nvPicPr>
        <p:blipFill>
          <a:blip r:embed="rId3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34774" y="4662000"/>
            <a:ext cx="1920000" cy="1440000"/>
          </a:xfrm>
          <a:prstGeom prst="rect">
            <a:avLst/>
          </a:prstGeom>
        </p:spPr>
      </p:pic>
      <p:pic>
        <p:nvPicPr>
          <p:cNvPr id="10" name="Grafik 9">
            <a:extLst>
              <a:ext uri="{FF2B5EF4-FFF2-40B4-BE49-F238E27FC236}">
                <a16:creationId xmlns:a16="http://schemas.microsoft.com/office/drawing/2014/main" id="{AF0113DF-11AC-C00E-CE2B-E064BDE0D130}"/>
              </a:ext>
            </a:extLst>
          </p:cNvPr>
          <p:cNvPicPr>
            <a:picLocks noChangeAspect="1"/>
          </p:cNvPicPr>
          <p:nvPr/>
        </p:nvPicPr>
        <p:blipFill>
          <a:blip r:embed="rId3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21502" y="191192"/>
            <a:ext cx="3744886" cy="1130532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6829388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5" fill="hold">
                      <p:stCondLst>
                        <p:cond delay="indefinite"/>
                      </p:stCondLst>
                      <p:childTnLst>
                        <p:par>
                          <p:cTn id="56" fill="hold">
                            <p:stCondLst>
                              <p:cond delay="0"/>
                            </p:stCondLst>
                            <p:childTnLst>
                              <p:par>
                                <p:cTn id="5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E0C3F02-9301-B1B5-BF23-6541B2A99BC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Einleitung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98B23D54-B433-8416-EBB9-2247CE1B277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5A82B2D-840F-4167-AD44-C02BC9C87CCB}" type="datetime1">
              <a:rPr lang="de-DE" noProof="0" smtClean="0"/>
              <a:t>15.11.22</a:t>
            </a:fld>
            <a:endParaRPr lang="de-DE" noProof="0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07D74B38-8548-258C-E24A-CC0064A6E9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/>
              <a:t>© Universität zu Lübeck</a:t>
            </a:r>
            <a:endParaRPr lang="de-DE" noProof="0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5D0CA9A8-1676-2235-4614-F6A9FDAD2C4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 noProof="0"/>
              <a:t>Seite</a:t>
            </a:r>
            <a:r>
              <a:rPr lang="en-US"/>
              <a:t> </a:t>
            </a:r>
            <a:fld id="{401BA3E4-5E55-4F99-AF09-CC6D6B2539E2}" type="slidenum">
              <a:rPr lang="en-US" smtClean="0"/>
              <a:pPr/>
              <a:t>4</a:t>
            </a:fld>
            <a:endParaRPr lang="en-US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6D94A8A-5D89-58E6-9847-DDBBB69105D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Teamvorstellung</a:t>
            </a:r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366DC959-849A-1188-4F69-A7101DF928C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8199" y="1703388"/>
            <a:ext cx="2520950" cy="520463"/>
          </a:xfrm>
        </p:spPr>
        <p:txBody>
          <a:bodyPr/>
          <a:lstStyle/>
          <a:p>
            <a:pPr algn="ctr"/>
            <a:r>
              <a:rPr lang="de-DE" dirty="0"/>
              <a:t>Johann Engster </a:t>
            </a:r>
            <a:br>
              <a:rPr lang="de-DE" dirty="0"/>
            </a:br>
            <a:r>
              <a:rPr lang="de-DE" dirty="0"/>
              <a:t>Student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FBCABF69-C28C-D0BD-B397-63DED3210C93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2761590" y="1703388"/>
            <a:ext cx="2520950" cy="520463"/>
          </a:xfrm>
        </p:spPr>
        <p:txBody>
          <a:bodyPr/>
          <a:lstStyle/>
          <a:p>
            <a:pPr algn="ctr"/>
            <a:r>
              <a:rPr lang="de-DE" dirty="0"/>
              <a:t>Nele Blum </a:t>
            </a:r>
            <a:br>
              <a:rPr lang="de-DE" dirty="0"/>
            </a:br>
            <a:r>
              <a:rPr lang="de-DE" dirty="0"/>
              <a:t>IMT/IMTE</a:t>
            </a:r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E3149EE-DDF2-7F22-4F8E-8DC2754B322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038696" y="1702592"/>
            <a:ext cx="2520950" cy="1034963"/>
          </a:xfrm>
        </p:spPr>
        <p:txBody>
          <a:bodyPr/>
          <a:lstStyle/>
          <a:p>
            <a:pPr algn="ctr"/>
            <a:r>
              <a:rPr lang="de-DE" dirty="0"/>
              <a:t>Pascal Stagge</a:t>
            </a:r>
            <a:br>
              <a:rPr lang="de-DE" dirty="0"/>
            </a:br>
            <a:r>
              <a:rPr lang="de-DE" dirty="0"/>
              <a:t>IMT/IMTE</a:t>
            </a:r>
          </a:p>
          <a:p>
            <a:pPr algn="ctr"/>
            <a:endParaRPr lang="de-DE" dirty="0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7E693AE7-4B11-E72F-47E8-BC60188E620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7315802" y="1699610"/>
            <a:ext cx="2520950" cy="520463"/>
          </a:xfrm>
        </p:spPr>
        <p:txBody>
          <a:bodyPr/>
          <a:lstStyle/>
          <a:p>
            <a:pPr algn="ctr"/>
            <a:r>
              <a:rPr lang="de-DE" dirty="0"/>
              <a:t>Tobias Reinberger </a:t>
            </a:r>
            <a:br>
              <a:rPr lang="de-DE" dirty="0"/>
            </a:br>
            <a:r>
              <a:rPr lang="de-DE" dirty="0"/>
              <a:t>Institut für Kardiogenetik</a:t>
            </a:r>
          </a:p>
        </p:txBody>
      </p:sp>
      <p:pic>
        <p:nvPicPr>
          <p:cNvPr id="19" name="Grafik 18" descr="Ein Bild, das Person, Brille, darstellend enthält.&#10;&#10;Automatisch generierte Beschreibung">
            <a:extLst>
              <a:ext uri="{FF2B5EF4-FFF2-40B4-BE49-F238E27FC236}">
                <a16:creationId xmlns:a16="http://schemas.microsoft.com/office/drawing/2014/main" id="{843383EB-24CA-86C9-62DE-09B95959C21F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95171" y="2335955"/>
            <a:ext cx="1887006" cy="2456883"/>
          </a:xfrm>
          <a:prstGeom prst="rect">
            <a:avLst/>
          </a:prstGeom>
        </p:spPr>
      </p:pic>
      <p:pic>
        <p:nvPicPr>
          <p:cNvPr id="20" name="Grafik 19" descr="Ein Bild, das Person, Mann, stehend enthält.&#10;&#10;Automatisch generierte Beschreibung">
            <a:extLst>
              <a:ext uri="{FF2B5EF4-FFF2-40B4-BE49-F238E27FC236}">
                <a16:creationId xmlns:a16="http://schemas.microsoft.com/office/drawing/2014/main" id="{9B0D7B94-42D8-E3C0-19EE-54D1EBB794B9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634175" y="2335954"/>
            <a:ext cx="1887007" cy="2456884"/>
          </a:xfrm>
          <a:prstGeom prst="rect">
            <a:avLst/>
          </a:prstGeom>
        </p:spPr>
      </p:pic>
      <p:pic>
        <p:nvPicPr>
          <p:cNvPr id="21" name="Grafik 20" descr="Ein Bild, das Person enthält.&#10;&#10;Automatisch generierte Beschreibung">
            <a:extLst>
              <a:ext uri="{FF2B5EF4-FFF2-40B4-BE49-F238E27FC236}">
                <a16:creationId xmlns:a16="http://schemas.microsoft.com/office/drawing/2014/main" id="{EFAAF62C-79B2-7758-35FE-C470C6711165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077192" y="2347066"/>
            <a:ext cx="1889746" cy="2448272"/>
          </a:xfrm>
          <a:prstGeom prst="rect">
            <a:avLst/>
          </a:prstGeom>
        </p:spPr>
      </p:pic>
      <p:pic>
        <p:nvPicPr>
          <p:cNvPr id="22" name="Grafik 21" descr="Ein Bild, das Person, drinnen, Wand, Mann enthält.&#10;&#10;Automatisch generierte Beschreibung">
            <a:extLst>
              <a:ext uri="{FF2B5EF4-FFF2-40B4-BE49-F238E27FC236}">
                <a16:creationId xmlns:a16="http://schemas.microsoft.com/office/drawing/2014/main" id="{2EBA4926-0487-B23A-CEBB-A964C3AB4F68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361953" y="2347066"/>
            <a:ext cx="1877207" cy="2445772"/>
          </a:xfrm>
          <a:prstGeom prst="rect">
            <a:avLst/>
          </a:prstGeom>
        </p:spPr>
      </p:pic>
      <p:pic>
        <p:nvPicPr>
          <p:cNvPr id="7" name="Grafik 6">
            <a:extLst>
              <a:ext uri="{FF2B5EF4-FFF2-40B4-BE49-F238E27FC236}">
                <a16:creationId xmlns:a16="http://schemas.microsoft.com/office/drawing/2014/main" id="{F6E8DAFC-17D8-796B-987B-49C4F0DBF5D4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21502" y="205152"/>
            <a:ext cx="3744886" cy="1130532"/>
          </a:xfrm>
          <a:prstGeom prst="rect">
            <a:avLst/>
          </a:prstGeom>
          <a:noFill/>
        </p:spPr>
      </p:pic>
      <p:pic>
        <p:nvPicPr>
          <p:cNvPr id="8" name="Grafik 7" descr="Ein Bild, das Person, Mann, Wand, drinnen enthält.&#10;&#10;Automatisch generierte Beschreibung">
            <a:extLst>
              <a:ext uri="{FF2B5EF4-FFF2-40B4-BE49-F238E27FC236}">
                <a16:creationId xmlns:a16="http://schemas.microsoft.com/office/drawing/2014/main" id="{797BE6C1-D28F-E10C-2B71-584987E2C831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916165" y="2335954"/>
            <a:ext cx="1890117" cy="2456883"/>
          </a:xfrm>
          <a:prstGeom prst="rect">
            <a:avLst/>
          </a:prstGeom>
        </p:spPr>
      </p:pic>
      <p:sp>
        <p:nvSpPr>
          <p:cNvPr id="10" name="Textplatzhalter 16">
            <a:extLst>
              <a:ext uri="{FF2B5EF4-FFF2-40B4-BE49-F238E27FC236}">
                <a16:creationId xmlns:a16="http://schemas.microsoft.com/office/drawing/2014/main" id="{2954F678-0163-41E3-6764-DDF63D14FB3A}"/>
              </a:ext>
            </a:extLst>
          </p:cNvPr>
          <p:cNvSpPr txBox="1">
            <a:spLocks/>
          </p:cNvSpPr>
          <p:nvPr/>
        </p:nvSpPr>
        <p:spPr bwMode="gray">
          <a:xfrm>
            <a:off x="9600748" y="1698120"/>
            <a:ext cx="2520950" cy="520463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1600" b="1" i="0" kern="1200">
                <a:solidFill>
                  <a:schemeClr val="accent1"/>
                </a:solidFill>
                <a:latin typeface="Myriad Pro" panose="020B0503030403020204" pitchFamily="34" charset="0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1400" b="0" i="0" kern="120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1" i="0" kern="120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+mn-cs"/>
              </a:defRPr>
            </a:lvl3pPr>
            <a:lvl4pPr marL="18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b="0" i="0" kern="120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+mn-cs"/>
              </a:defRPr>
            </a:lvl4pPr>
            <a:lvl5pPr marL="36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b="0" i="0" kern="120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b="0" i="0" kern="120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+mn-cs"/>
              </a:defRPr>
            </a:lvl6pPr>
            <a:lvl7pPr marL="216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buFont typeface="+mj-lt"/>
              <a:buAutoNum type="arabicPeriod"/>
              <a:defRPr sz="1400" b="0" i="0" kern="120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lphaLcParenR"/>
              <a:defRPr sz="1400" b="0" i="0" kern="120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+mn-cs"/>
              </a:defRPr>
            </a:lvl8pPr>
            <a:lvl9pPr marL="648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romanLcPeriod"/>
              <a:defRPr sz="1400" b="0" i="0" kern="120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+mn-cs"/>
              </a:defRPr>
            </a:lvl9pPr>
          </a:lstStyle>
          <a:p>
            <a:pPr algn="ctr"/>
            <a:r>
              <a:rPr lang="de-DE" dirty="0"/>
              <a:t>Maik Stille</a:t>
            </a:r>
            <a:br>
              <a:rPr lang="de-DE" dirty="0"/>
            </a:br>
            <a:r>
              <a:rPr lang="de-DE" dirty="0"/>
              <a:t>IMT/IMTE</a:t>
            </a:r>
          </a:p>
        </p:txBody>
      </p:sp>
    </p:spTree>
    <p:extLst>
      <p:ext uri="{BB962C8B-B14F-4D97-AF65-F5344CB8AC3E}">
        <p14:creationId xmlns:p14="http://schemas.microsoft.com/office/powerpoint/2010/main" val="2554730850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3" name="Diagram 4">
            <a:extLst>
              <a:ext uri="{FF2B5EF4-FFF2-40B4-BE49-F238E27FC236}">
                <a16:creationId xmlns:a16="http://schemas.microsoft.com/office/drawing/2014/main" id="{B919F797-3AD1-4A8F-85AA-E4D6A65BA46E}"/>
              </a:ext>
            </a:extLst>
          </p:cNvPr>
          <p:cNvGraphicFramePr/>
          <p:nvPr/>
        </p:nvGraphicFramePr>
        <p:xfrm>
          <a:off x="8094940" y="3061452"/>
          <a:ext cx="1415346" cy="217170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graphicFrame>
        <p:nvGraphicFramePr>
          <p:cNvPr id="42" name="Diagram 4">
            <a:extLst>
              <a:ext uri="{FF2B5EF4-FFF2-40B4-BE49-F238E27FC236}">
                <a16:creationId xmlns:a16="http://schemas.microsoft.com/office/drawing/2014/main" id="{B919F797-3AD1-4A8F-85AA-E4D6A65BA46E}"/>
              </a:ext>
            </a:extLst>
          </p:cNvPr>
          <p:cNvGraphicFramePr/>
          <p:nvPr/>
        </p:nvGraphicFramePr>
        <p:xfrm>
          <a:off x="1080081" y="589964"/>
          <a:ext cx="6220459" cy="548049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8" r:lo="rId9" r:qs="rId10" r:cs="rId11"/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9DCF5550-E586-2F4D-9BFF-EA2A23A3AC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395588"/>
            <a:ext cx="11233150" cy="375487"/>
          </a:xfrm>
        </p:spPr>
        <p:txBody>
          <a:bodyPr/>
          <a:lstStyle/>
          <a:p>
            <a:r>
              <a:rPr lang="de-DE" dirty="0"/>
              <a:t>Gliederung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6F2406C-7AB3-BA48-4B8A-67E2CFC7E9B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/>
              <a:t>© Universität zu Lübeck</a:t>
            </a:r>
            <a:endParaRPr lang="de-DE" noProof="0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22CA16D0-0D58-A287-9D07-D4F19469A6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 noProof="0"/>
              <a:t>Seite</a:t>
            </a:r>
            <a:r>
              <a:rPr lang="en-US"/>
              <a:t> </a:t>
            </a:r>
            <a:fld id="{401BA3E4-5E55-4F99-AF09-CC6D6B2539E2}" type="slidenum">
              <a:rPr lang="en-US" smtClean="0"/>
              <a:pPr/>
              <a:t>40</a:t>
            </a:fld>
            <a:endParaRPr lang="en-US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607EBF9-EC8B-9F58-CF49-88CB210BFF0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5A82B2D-840F-4167-AD44-C02BC9C87CCB}" type="datetime1">
              <a:rPr lang="de-DE" noProof="0" smtClean="0"/>
              <a:t>15.11.22</a:t>
            </a:fld>
            <a:endParaRPr lang="de-DE" noProof="0" dirty="0"/>
          </a:p>
        </p:txBody>
      </p:sp>
      <p:pic>
        <p:nvPicPr>
          <p:cNvPr id="11" name="Grafik 10" descr="Ein Bild, das Karte enthält.&#10;&#10;Automatisch generierte Beschreibung">
            <a:extLst>
              <a:ext uri="{FF2B5EF4-FFF2-40B4-BE49-F238E27FC236}">
                <a16:creationId xmlns:a16="http://schemas.microsoft.com/office/drawing/2014/main" id="{8DCD45CA-3EE6-58F1-DFB2-13FFBAD61A28}"/>
              </a:ext>
            </a:extLst>
          </p:cNvPr>
          <p:cNvPicPr>
            <a:picLocks noChangeAspect="1"/>
          </p:cNvPicPr>
          <p:nvPr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66337" y="3427303"/>
            <a:ext cx="1920000" cy="1440000"/>
          </a:xfrm>
          <a:prstGeom prst="rect">
            <a:avLst/>
          </a:prstGeom>
          <a:ln>
            <a:solidFill>
              <a:schemeClr val="accent1"/>
            </a:solidFill>
          </a:ln>
        </p:spPr>
      </p:pic>
      <p:pic>
        <p:nvPicPr>
          <p:cNvPr id="13" name="Grafik 12" descr="Ein Bild, das Schuhe enthält.&#10;&#10;Automatisch generierte Beschreibung">
            <a:extLst>
              <a:ext uri="{FF2B5EF4-FFF2-40B4-BE49-F238E27FC236}">
                <a16:creationId xmlns:a16="http://schemas.microsoft.com/office/drawing/2014/main" id="{4267AC41-BE3A-A0E7-56B8-3C950FC8CCA9}"/>
              </a:ext>
            </a:extLst>
          </p:cNvPr>
          <p:cNvPicPr>
            <a:picLocks noChangeAspect="1"/>
          </p:cNvPicPr>
          <p:nvPr/>
        </p:nvPicPr>
        <p:blipFill>
          <a:blip r:embed="rId1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676616" y="3427302"/>
            <a:ext cx="1920000" cy="1440000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4" name="Grafik 13">
            <a:extLst>
              <a:ext uri="{FF2B5EF4-FFF2-40B4-BE49-F238E27FC236}">
                <a16:creationId xmlns:a16="http://schemas.microsoft.com/office/drawing/2014/main" id="{242F2DB2-2B0E-AE0B-37C3-EE40808E80AE}"/>
              </a:ext>
            </a:extLst>
          </p:cNvPr>
          <p:cNvPicPr>
            <a:picLocks noChangeAspect="1"/>
          </p:cNvPicPr>
          <p:nvPr/>
        </p:nvPicPr>
        <p:blipFill>
          <a:blip r:embed="rId1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6000" y="3427303"/>
            <a:ext cx="1920000" cy="1440000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39" name="Textfeld 38">
            <a:extLst>
              <a:ext uri="{FF2B5EF4-FFF2-40B4-BE49-F238E27FC236}">
                <a16:creationId xmlns:a16="http://schemas.microsoft.com/office/drawing/2014/main" id="{888E936E-A2EF-4C6B-BA71-DCCE49BE021D}"/>
              </a:ext>
            </a:extLst>
          </p:cNvPr>
          <p:cNvSpPr txBox="1"/>
          <p:nvPr/>
        </p:nvSpPr>
        <p:spPr bwMode="gray">
          <a:xfrm>
            <a:off x="9638307" y="2679489"/>
            <a:ext cx="1996618" cy="65598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/>
          <a:p>
            <a:pPr algn="ctr"/>
            <a:r>
              <a:rPr lang="de-DE" dirty="0"/>
              <a:t>Segmentierung</a:t>
            </a:r>
          </a:p>
          <a:p>
            <a:pPr algn="ctr"/>
            <a:r>
              <a:rPr lang="de-DE" dirty="0"/>
              <a:t>der Plaques</a:t>
            </a:r>
          </a:p>
        </p:txBody>
      </p:sp>
      <p:sp>
        <p:nvSpPr>
          <p:cNvPr id="15" name="Textfeld 14">
            <a:extLst>
              <a:ext uri="{FF2B5EF4-FFF2-40B4-BE49-F238E27FC236}">
                <a16:creationId xmlns:a16="http://schemas.microsoft.com/office/drawing/2014/main" id="{6ED7849F-B77B-031F-232B-53F1C0071BD2}"/>
              </a:ext>
            </a:extLst>
          </p:cNvPr>
          <p:cNvSpPr txBox="1"/>
          <p:nvPr/>
        </p:nvSpPr>
        <p:spPr bwMode="gray">
          <a:xfrm>
            <a:off x="6096000" y="2668482"/>
            <a:ext cx="1996618" cy="65598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/>
          <a:p>
            <a:pPr algn="ctr"/>
            <a:r>
              <a:rPr lang="de-DE" dirty="0"/>
              <a:t>Segmentierung</a:t>
            </a:r>
          </a:p>
          <a:p>
            <a:pPr algn="ctr"/>
            <a:r>
              <a:rPr lang="de-DE" dirty="0"/>
              <a:t>der Arterien</a:t>
            </a:r>
          </a:p>
        </p:txBody>
      </p:sp>
      <p:sp>
        <p:nvSpPr>
          <p:cNvPr id="28" name="Textfeld 27">
            <a:extLst>
              <a:ext uri="{FF2B5EF4-FFF2-40B4-BE49-F238E27FC236}">
                <a16:creationId xmlns:a16="http://schemas.microsoft.com/office/drawing/2014/main" id="{1C98C6BF-F6CB-E9D9-0B20-0C09110355E8}"/>
              </a:ext>
            </a:extLst>
          </p:cNvPr>
          <p:cNvSpPr txBox="1"/>
          <p:nvPr/>
        </p:nvSpPr>
        <p:spPr bwMode="gray">
          <a:xfrm>
            <a:off x="8068430" y="2216787"/>
            <a:ext cx="1996618" cy="65598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/>
          <a:p>
            <a:pPr algn="ctr"/>
            <a:r>
              <a:rPr lang="de-DE" sz="1400" dirty="0"/>
              <a:t>Morph. K-NN</a:t>
            </a:r>
          </a:p>
        </p:txBody>
      </p:sp>
      <p:sp>
        <p:nvSpPr>
          <p:cNvPr id="30" name="Textfeld 29">
            <a:extLst>
              <a:ext uri="{FF2B5EF4-FFF2-40B4-BE49-F238E27FC236}">
                <a16:creationId xmlns:a16="http://schemas.microsoft.com/office/drawing/2014/main" id="{F587367C-BC98-E609-D58A-F95341C38081}"/>
              </a:ext>
            </a:extLst>
          </p:cNvPr>
          <p:cNvSpPr txBox="1"/>
          <p:nvPr/>
        </p:nvSpPr>
        <p:spPr bwMode="gray">
          <a:xfrm>
            <a:off x="8016000" y="4690082"/>
            <a:ext cx="1996618" cy="65598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/>
          <a:p>
            <a:pPr algn="ctr"/>
            <a:r>
              <a:rPr lang="de-DE" sz="1400" dirty="0"/>
              <a:t>W-Net</a:t>
            </a:r>
          </a:p>
        </p:txBody>
      </p:sp>
      <p:grpSp>
        <p:nvGrpSpPr>
          <p:cNvPr id="95" name="Gruppieren 94">
            <a:extLst>
              <a:ext uri="{FF2B5EF4-FFF2-40B4-BE49-F238E27FC236}">
                <a16:creationId xmlns:a16="http://schemas.microsoft.com/office/drawing/2014/main" id="{BA3F15CF-61A4-7F53-83C8-837E38521BE7}"/>
              </a:ext>
            </a:extLst>
          </p:cNvPr>
          <p:cNvGrpSpPr/>
          <p:nvPr/>
        </p:nvGrpSpPr>
        <p:grpSpPr>
          <a:xfrm>
            <a:off x="8207917" y="5231844"/>
            <a:ext cx="1717643" cy="799363"/>
            <a:chOff x="4554249" y="1721366"/>
            <a:chExt cx="7168120" cy="3335924"/>
          </a:xfrm>
        </p:grpSpPr>
        <p:pic>
          <p:nvPicPr>
            <p:cNvPr id="96" name="Grafik 95" descr="Ein Bild, das Metallwaren enthält.&#10;&#10;Automatisch generierte Beschreibung">
              <a:extLst>
                <a:ext uri="{FF2B5EF4-FFF2-40B4-BE49-F238E27FC236}">
                  <a16:creationId xmlns:a16="http://schemas.microsoft.com/office/drawing/2014/main" id="{2DB799B7-61A5-54FE-CB45-A0C2427B357B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554249" y="1754999"/>
              <a:ext cx="814157" cy="610618"/>
            </a:xfrm>
            <a:prstGeom prst="rect">
              <a:avLst/>
            </a:prstGeom>
          </p:spPr>
        </p:pic>
        <p:pic>
          <p:nvPicPr>
            <p:cNvPr id="97" name="Grafik 96" descr="Ein Bild, das Metallwaren enthält.&#10;&#10;Automatisch generierte Beschreibung">
              <a:extLst>
                <a:ext uri="{FF2B5EF4-FFF2-40B4-BE49-F238E27FC236}">
                  <a16:creationId xmlns:a16="http://schemas.microsoft.com/office/drawing/2014/main" id="{8E9877AB-38C4-6C25-2B9C-0DDCF31CAC59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0908212" y="1754999"/>
              <a:ext cx="814157" cy="610618"/>
            </a:xfrm>
            <a:prstGeom prst="rect">
              <a:avLst/>
            </a:prstGeom>
          </p:spPr>
        </p:pic>
        <p:pic>
          <p:nvPicPr>
            <p:cNvPr id="98" name="Grafik 97">
              <a:extLst>
                <a:ext uri="{FF2B5EF4-FFF2-40B4-BE49-F238E27FC236}">
                  <a16:creationId xmlns:a16="http://schemas.microsoft.com/office/drawing/2014/main" id="{9468951C-0962-9012-4365-99B75F364C9B}"/>
                </a:ext>
              </a:extLst>
            </p:cNvPr>
            <p:cNvPicPr>
              <a:picLocks noChangeAspect="1"/>
            </p:cNvPicPr>
            <p:nvPr/>
          </p:nvPicPr>
          <p:blipFill>
            <a:blip r:embed="rId1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323506" y="1721366"/>
              <a:ext cx="5618586" cy="2707328"/>
            </a:xfrm>
            <a:prstGeom prst="rect">
              <a:avLst/>
            </a:prstGeom>
          </p:spPr>
        </p:pic>
        <p:pic>
          <p:nvPicPr>
            <p:cNvPr id="99" name="Grafik 98">
              <a:extLst>
                <a:ext uri="{FF2B5EF4-FFF2-40B4-BE49-F238E27FC236}">
                  <a16:creationId xmlns:a16="http://schemas.microsoft.com/office/drawing/2014/main" id="{5717B2B3-E1AE-BA15-8997-281D0D5A7E26}"/>
                </a:ext>
              </a:extLst>
            </p:cNvPr>
            <p:cNvPicPr>
              <a:picLocks noChangeAspect="1"/>
            </p:cNvPicPr>
            <p:nvPr/>
          </p:nvPicPr>
          <p:blipFill>
            <a:blip r:embed="rId18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581072" y="4446672"/>
              <a:ext cx="814157" cy="610618"/>
            </a:xfrm>
            <a:prstGeom prst="rect">
              <a:avLst/>
            </a:prstGeom>
          </p:spPr>
        </p:pic>
      </p:grpSp>
      <p:pic>
        <p:nvPicPr>
          <p:cNvPr id="103" name="Grafik 102">
            <a:extLst>
              <a:ext uri="{FF2B5EF4-FFF2-40B4-BE49-F238E27FC236}">
                <a16:creationId xmlns:a16="http://schemas.microsoft.com/office/drawing/2014/main" id="{F5218157-4099-86F2-D213-52329BD2CE9E}"/>
              </a:ext>
            </a:extLst>
          </p:cNvPr>
          <p:cNvPicPr>
            <a:picLocks noChangeAspect="1"/>
          </p:cNvPicPr>
          <p:nvPr/>
        </p:nvPicPr>
        <p:blipFill>
          <a:blip r:embed="rId1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661679" y="2728562"/>
            <a:ext cx="740798" cy="547215"/>
          </a:xfrm>
          <a:prstGeom prst="rect">
            <a:avLst/>
          </a:prstGeom>
        </p:spPr>
      </p:pic>
      <p:sp>
        <p:nvSpPr>
          <p:cNvPr id="45" name="Textfeld 44">
            <a:extLst>
              <a:ext uri="{FF2B5EF4-FFF2-40B4-BE49-F238E27FC236}">
                <a16:creationId xmlns:a16="http://schemas.microsoft.com/office/drawing/2014/main" id="{6ED7849F-B77B-031F-232B-53F1C0071BD2}"/>
              </a:ext>
            </a:extLst>
          </p:cNvPr>
          <p:cNvSpPr txBox="1"/>
          <p:nvPr/>
        </p:nvSpPr>
        <p:spPr bwMode="gray">
          <a:xfrm>
            <a:off x="228028" y="2668482"/>
            <a:ext cx="1996618" cy="65598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/>
          <a:p>
            <a:pPr algn="ctr"/>
            <a:r>
              <a:rPr lang="de-DE" dirty="0"/>
              <a:t>Histologischer</a:t>
            </a:r>
          </a:p>
          <a:p>
            <a:pPr algn="ctr"/>
            <a:r>
              <a:rPr lang="de-DE" dirty="0"/>
              <a:t> Schnitt</a:t>
            </a: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35FD5557-B201-B2D3-1CD6-27E6DEB3DC45}"/>
              </a:ext>
            </a:extLst>
          </p:cNvPr>
          <p:cNvSpPr/>
          <p:nvPr/>
        </p:nvSpPr>
        <p:spPr>
          <a:xfrm>
            <a:off x="8148615" y="5141777"/>
            <a:ext cx="3696575" cy="889430"/>
          </a:xfrm>
          <a:prstGeom prst="rect">
            <a:avLst/>
          </a:prstGeom>
          <a:solidFill>
            <a:srgbClr val="FFFFFF">
              <a:alpha val="81961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de-DE" sz="1400" dirty="0">
              <a:solidFill>
                <a:schemeClr val="tx1"/>
              </a:solidFill>
            </a:endParaRP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4BE02391-7D43-4624-A7B9-60362AA7E67E}"/>
              </a:ext>
            </a:extLst>
          </p:cNvPr>
          <p:cNvSpPr/>
          <p:nvPr/>
        </p:nvSpPr>
        <p:spPr>
          <a:xfrm flipV="1">
            <a:off x="159119" y="1571625"/>
            <a:ext cx="5882893" cy="4498833"/>
          </a:xfrm>
          <a:prstGeom prst="rect">
            <a:avLst/>
          </a:prstGeom>
          <a:solidFill>
            <a:srgbClr val="FFFFFF">
              <a:alpha val="81961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de-DE" sz="1400" dirty="0">
              <a:solidFill>
                <a:schemeClr val="tx1"/>
              </a:solidFill>
            </a:endParaRP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9DC77A17-DA5C-6A93-A643-52C1633654C2}"/>
              </a:ext>
            </a:extLst>
          </p:cNvPr>
          <p:cNvSpPr/>
          <p:nvPr/>
        </p:nvSpPr>
        <p:spPr>
          <a:xfrm flipV="1">
            <a:off x="3571875" y="150683"/>
            <a:ext cx="2787756" cy="1420941"/>
          </a:xfrm>
          <a:prstGeom prst="rect">
            <a:avLst/>
          </a:prstGeom>
          <a:solidFill>
            <a:srgbClr val="FFFFFF">
              <a:alpha val="81961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de-DE" sz="1400" dirty="0">
              <a:solidFill>
                <a:schemeClr val="tx1"/>
              </a:solidFill>
            </a:endParaRPr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95BDB505-27BE-9972-5B63-1DED2A296A56}"/>
              </a:ext>
            </a:extLst>
          </p:cNvPr>
          <p:cNvSpPr/>
          <p:nvPr/>
        </p:nvSpPr>
        <p:spPr>
          <a:xfrm>
            <a:off x="8415497" y="4155569"/>
            <a:ext cx="1128553" cy="963360"/>
          </a:xfrm>
          <a:prstGeom prst="rect">
            <a:avLst/>
          </a:prstGeom>
          <a:solidFill>
            <a:srgbClr val="FFFFFF">
              <a:alpha val="81961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de-DE" sz="1400" dirty="0">
              <a:solidFill>
                <a:schemeClr val="tx1"/>
              </a:solidFill>
            </a:endParaRPr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E04EDB54-2463-6611-C624-674E24DCB862}"/>
              </a:ext>
            </a:extLst>
          </p:cNvPr>
          <p:cNvPicPr>
            <a:picLocks noChangeAspect="1"/>
          </p:cNvPicPr>
          <p:nvPr/>
        </p:nvPicPr>
        <p:blipFill>
          <a:blip r:embed="rId2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21502" y="191192"/>
            <a:ext cx="3744886" cy="1130532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95868479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B9F5726-9743-559C-44B7-28BCF753CDA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ethode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0A4E1061-0C55-7450-F7F3-0ECA40053FB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225054-8F4D-4B67-8803-E473E83FD8A6}" type="datetime1">
              <a:rPr lang="de-DE" noProof="0" smtClean="0"/>
              <a:t>15.11.22</a:t>
            </a:fld>
            <a:endParaRPr lang="de-DE" noProof="0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85026CBD-C28D-1239-FF11-CB093AC93CB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/>
              <a:t>© Universität zu Lübeck</a:t>
            </a:r>
            <a:endParaRPr lang="de-DE" noProof="0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B3D8F5EA-A8A7-1DEA-C1C9-FE439AFE483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 noProof="0"/>
              <a:t>Seite</a:t>
            </a:r>
            <a:r>
              <a:rPr lang="en-US"/>
              <a:t> </a:t>
            </a:r>
            <a:fld id="{401BA3E4-5E55-4F99-AF09-CC6D6B2539E2}" type="slidenum">
              <a:rPr lang="en-US" smtClean="0"/>
              <a:pPr/>
              <a:t>41</a:t>
            </a:fld>
            <a:endParaRPr lang="en-US" dirty="0"/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660676AF-70D0-59AF-4157-1564C600A56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9425" y="778321"/>
            <a:ext cx="11233150" cy="312008"/>
          </a:xfrm>
        </p:spPr>
        <p:txBody>
          <a:bodyPr/>
          <a:lstStyle/>
          <a:p>
            <a:r>
              <a:rPr lang="de-DE" dirty="0"/>
              <a:t>Erstellen eines Datensatzes </a:t>
            </a:r>
            <a:r>
              <a:rPr lang="de-DE" dirty="0">
                <a:solidFill>
                  <a:srgbClr val="084653"/>
                </a:solidFill>
                <a:latin typeface="Myriad Pro" panose="020B0503030403020204"/>
              </a:rPr>
              <a:t>— </a:t>
            </a:r>
            <a:r>
              <a:rPr lang="de-DE" dirty="0"/>
              <a:t>Motivation </a:t>
            </a:r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8FAE9A0D-F9B2-6E44-ACDA-6BDAD567765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8199" y="1703388"/>
            <a:ext cx="11233150" cy="3062249"/>
          </a:xfrm>
        </p:spPr>
        <p:txBody>
          <a:bodyPr/>
          <a:lstStyle/>
          <a:p>
            <a:pPr lvl="2"/>
            <a:r>
              <a:rPr lang="de-DE" dirty="0"/>
              <a:t>Nach der Arteriensegmentierung</a:t>
            </a:r>
          </a:p>
          <a:p>
            <a:pPr lvl="3"/>
            <a:r>
              <a:rPr lang="de-DE" dirty="0"/>
              <a:t>Plaque Segmentierung aufbauend auf der Maske</a:t>
            </a:r>
          </a:p>
          <a:p>
            <a:pPr lvl="3"/>
            <a:r>
              <a:rPr lang="de-DE" dirty="0"/>
              <a:t>Aktuelles Verfahren nutzt Threshold-basierte Segmentierung</a:t>
            </a:r>
          </a:p>
          <a:p>
            <a:pPr lvl="2" indent="-180000"/>
            <a:r>
              <a:rPr lang="de-DE" dirty="0"/>
              <a:t>Idee: Datensatz erstellen</a:t>
            </a:r>
          </a:p>
          <a:p>
            <a:pPr lvl="3"/>
            <a:r>
              <a:rPr lang="de-DE" dirty="0"/>
              <a:t>Augmentation der automatischen Masken</a:t>
            </a:r>
          </a:p>
          <a:p>
            <a:pPr lvl="4"/>
            <a:r>
              <a:rPr lang="de-DE" dirty="0"/>
              <a:t>K-</a:t>
            </a:r>
            <a:r>
              <a:rPr lang="de-DE" dirty="0" err="1"/>
              <a:t>Nearest</a:t>
            </a:r>
            <a:r>
              <a:rPr lang="de-DE" dirty="0"/>
              <a:t> </a:t>
            </a:r>
            <a:r>
              <a:rPr lang="de-DE" dirty="0" err="1"/>
              <a:t>neighboring</a:t>
            </a:r>
            <a:endParaRPr lang="de-DE" dirty="0"/>
          </a:p>
          <a:p>
            <a:pPr lvl="4"/>
            <a:r>
              <a:rPr lang="de-DE" dirty="0"/>
              <a:t>Morphologische Operationen</a:t>
            </a:r>
          </a:p>
          <a:p>
            <a:pPr lvl="3"/>
            <a:r>
              <a:rPr lang="de-DE" dirty="0"/>
              <a:t>Vorladen der Masken in ein </a:t>
            </a:r>
            <a:r>
              <a:rPr lang="de-DE" dirty="0" err="1"/>
              <a:t>Labeling</a:t>
            </a:r>
            <a:r>
              <a:rPr lang="de-DE" dirty="0"/>
              <a:t> Tool</a:t>
            </a:r>
          </a:p>
          <a:p>
            <a:pPr lvl="4"/>
            <a:r>
              <a:rPr lang="de-DE" dirty="0"/>
              <a:t>MTAs des Institut für Kardiogenetik überprüfen die Daten</a:t>
            </a:r>
          </a:p>
          <a:p>
            <a:pPr lvl="4"/>
            <a:r>
              <a:rPr lang="de-DE" dirty="0"/>
              <a:t>Fehler werden behoben</a:t>
            </a:r>
          </a:p>
          <a:p>
            <a:pPr lvl="4"/>
            <a:r>
              <a:rPr lang="de-DE" dirty="0"/>
              <a:t>Anschließender Datensatz für überwachtes Lernen</a:t>
            </a:r>
          </a:p>
          <a:p>
            <a:pPr lvl="4"/>
            <a:endParaRPr lang="de-DE" dirty="0"/>
          </a:p>
          <a:p>
            <a:pPr lvl="4"/>
            <a:endParaRPr lang="de-DE" dirty="0"/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C58E4539-DCDB-C46C-97FB-45AEEAA7A6A4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21502" y="191192"/>
            <a:ext cx="3744886" cy="1130532"/>
          </a:xfrm>
          <a:prstGeom prst="rect">
            <a:avLst/>
          </a:prstGeom>
          <a:noFill/>
        </p:spPr>
      </p:pic>
      <p:pic>
        <p:nvPicPr>
          <p:cNvPr id="7" name="Grafik 6">
            <a:extLst>
              <a:ext uri="{FF2B5EF4-FFF2-40B4-BE49-F238E27FC236}">
                <a16:creationId xmlns:a16="http://schemas.microsoft.com/office/drawing/2014/main" id="{996DD6E7-8711-6BB1-EF0D-BDA4D8113B04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51500" y="1612300"/>
            <a:ext cx="2909645" cy="2182234"/>
          </a:xfrm>
          <a:prstGeom prst="rect">
            <a:avLst/>
          </a:prstGeom>
        </p:spPr>
      </p:pic>
      <p:pic>
        <p:nvPicPr>
          <p:cNvPr id="8" name="Grafik 7" descr="Ein Bild, das Pfeil enthält.&#10;&#10;Automatisch generierte Beschreibung">
            <a:extLst>
              <a:ext uri="{FF2B5EF4-FFF2-40B4-BE49-F238E27FC236}">
                <a16:creationId xmlns:a16="http://schemas.microsoft.com/office/drawing/2014/main" id="{88A2FB37-C5BF-7ABC-11A3-48FFBE5372B2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627150" y="1612300"/>
            <a:ext cx="2908602" cy="2182234"/>
          </a:xfrm>
          <a:prstGeom prst="rect">
            <a:avLst/>
          </a:prstGeom>
        </p:spPr>
      </p:pic>
      <p:pic>
        <p:nvPicPr>
          <p:cNvPr id="9" name="Grafik 8" descr="Ein Bild, das Silhouette enthält.&#10;&#10;Automatisch generierte Beschreibung">
            <a:extLst>
              <a:ext uri="{FF2B5EF4-FFF2-40B4-BE49-F238E27FC236}">
                <a16:creationId xmlns:a16="http://schemas.microsoft.com/office/drawing/2014/main" id="{A3E89EE1-DFB5-9F7A-7ACD-32EDA265D86A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627148" y="1612300"/>
            <a:ext cx="2908601" cy="21822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7551250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B9F5726-9743-559C-44B7-28BCF753CDA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395588"/>
            <a:ext cx="11233150" cy="374398"/>
          </a:xfrm>
        </p:spPr>
        <p:txBody>
          <a:bodyPr/>
          <a:lstStyle/>
          <a:p>
            <a:r>
              <a:rPr lang="de-DE" dirty="0"/>
              <a:t>Methode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0A4E1061-0C55-7450-F7F3-0ECA40053FB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225054-8F4D-4B67-8803-E473E83FD8A6}" type="datetime1">
              <a:rPr lang="de-DE" noProof="0" smtClean="0"/>
              <a:t>15.11.22</a:t>
            </a:fld>
            <a:endParaRPr lang="de-DE" noProof="0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85026CBD-C28D-1239-FF11-CB093AC93CB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/>
              <a:t>© Universität zu Lübeck</a:t>
            </a:r>
            <a:endParaRPr lang="de-DE" noProof="0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B3D8F5EA-A8A7-1DEA-C1C9-FE439AFE483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 noProof="0"/>
              <a:t>Seite</a:t>
            </a:r>
            <a:r>
              <a:rPr lang="en-US"/>
              <a:t> </a:t>
            </a:r>
            <a:fld id="{401BA3E4-5E55-4F99-AF09-CC6D6B2539E2}" type="slidenum">
              <a:rPr lang="en-US" smtClean="0"/>
              <a:pPr/>
              <a:t>42</a:t>
            </a:fld>
            <a:endParaRPr lang="en-US" dirty="0"/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660676AF-70D0-59AF-4157-1564C600A56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9425" y="778321"/>
            <a:ext cx="11233150" cy="312008"/>
          </a:xfrm>
        </p:spPr>
        <p:txBody>
          <a:bodyPr/>
          <a:lstStyle/>
          <a:p>
            <a:r>
              <a:rPr lang="de-DE" dirty="0"/>
              <a:t>Erstellen eines Datensatzes </a:t>
            </a:r>
            <a:r>
              <a:rPr lang="de-DE" sz="2000" b="0" i="0" kern="1200" dirty="0">
                <a:solidFill>
                  <a:srgbClr val="084653"/>
                </a:solidFill>
                <a:effectLst/>
                <a:latin typeface="Myriad Pro" panose="020B0503030403020204"/>
                <a:ea typeface="+mn-ea"/>
                <a:cs typeface="+mn-cs"/>
              </a:rPr>
              <a:t>— </a:t>
            </a:r>
            <a:r>
              <a:rPr lang="de-DE" sz="2000" b="0" i="0" kern="1200" dirty="0" err="1">
                <a:solidFill>
                  <a:srgbClr val="084653"/>
                </a:solidFill>
                <a:effectLst/>
                <a:latin typeface="Myriad Pro" panose="020B0503030403020204"/>
                <a:ea typeface="+mn-ea"/>
                <a:cs typeface="+mn-cs"/>
              </a:rPr>
              <a:t>Augmentierung</a:t>
            </a:r>
            <a:r>
              <a:rPr lang="de-DE" sz="2000" b="0" i="0" kern="1200" dirty="0">
                <a:solidFill>
                  <a:srgbClr val="084653"/>
                </a:solidFill>
                <a:effectLst/>
                <a:latin typeface="Myriad Pro" panose="020B0503030403020204"/>
                <a:ea typeface="+mn-ea"/>
                <a:cs typeface="+mn-cs"/>
              </a:rPr>
              <a:t> </a:t>
            </a:r>
            <a:endParaRPr lang="de-DE" dirty="0"/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8FAE9A0D-F9B2-6E44-ACDA-6BDAD567765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8199" y="1703387"/>
            <a:ext cx="4873538" cy="520463"/>
          </a:xfrm>
        </p:spPr>
        <p:txBody>
          <a:bodyPr/>
          <a:lstStyle/>
          <a:p>
            <a:r>
              <a:rPr lang="de-DE" dirty="0"/>
              <a:t>Input Image durch Threshold-basierte Segmentierung</a:t>
            </a:r>
          </a:p>
        </p:txBody>
      </p:sp>
      <p:pic>
        <p:nvPicPr>
          <p:cNvPr id="22" name="Grafik 21">
            <a:extLst>
              <a:ext uri="{FF2B5EF4-FFF2-40B4-BE49-F238E27FC236}">
                <a16:creationId xmlns:a16="http://schemas.microsoft.com/office/drawing/2014/main" id="{F6A38B53-F69C-ACD6-B307-8124802799D0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8199" y="2361600"/>
            <a:ext cx="4873538" cy="3600000"/>
          </a:xfrm>
          <a:prstGeom prst="rect">
            <a:avLst/>
          </a:prstGeom>
        </p:spPr>
      </p:pic>
      <p:pic>
        <p:nvPicPr>
          <p:cNvPr id="23" name="Grafik 22" descr="Ein Bild, das Text enthält.&#10;&#10;Automatisch generierte Beschreibung">
            <a:extLst>
              <a:ext uri="{FF2B5EF4-FFF2-40B4-BE49-F238E27FC236}">
                <a16:creationId xmlns:a16="http://schemas.microsoft.com/office/drawing/2014/main" id="{B1099CD2-61F6-971A-64AA-9D7B327EA5DA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8199" y="2361600"/>
            <a:ext cx="4873538" cy="3600000"/>
          </a:xfrm>
          <a:prstGeom prst="rect">
            <a:avLst/>
          </a:prstGeom>
        </p:spPr>
      </p:pic>
      <p:pic>
        <p:nvPicPr>
          <p:cNvPr id="24" name="Grafik 23" descr="Ein Bild, das Text enthält.&#10;&#10;Automatisch generierte Beschreibung">
            <a:extLst>
              <a:ext uri="{FF2B5EF4-FFF2-40B4-BE49-F238E27FC236}">
                <a16:creationId xmlns:a16="http://schemas.microsoft.com/office/drawing/2014/main" id="{F72FDC25-79B8-C5A3-18CB-400884ADD016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8199" y="2361600"/>
            <a:ext cx="4873538" cy="3600000"/>
          </a:xfrm>
          <a:prstGeom prst="rect">
            <a:avLst/>
          </a:prstGeom>
        </p:spPr>
      </p:pic>
      <p:pic>
        <p:nvPicPr>
          <p:cNvPr id="25" name="Grafik 24" descr="Ein Bild, das Karte enthält.&#10;&#10;Automatisch generierte Beschreibung">
            <a:extLst>
              <a:ext uri="{FF2B5EF4-FFF2-40B4-BE49-F238E27FC236}">
                <a16:creationId xmlns:a16="http://schemas.microsoft.com/office/drawing/2014/main" id="{ECB3E642-F64F-6DF3-0B25-A6A44ED59627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8199" y="2361600"/>
            <a:ext cx="4873538" cy="3600000"/>
          </a:xfrm>
          <a:prstGeom prst="rect">
            <a:avLst/>
          </a:prstGeom>
        </p:spPr>
      </p:pic>
      <p:pic>
        <p:nvPicPr>
          <p:cNvPr id="26" name="Grafik 25">
            <a:extLst>
              <a:ext uri="{FF2B5EF4-FFF2-40B4-BE49-F238E27FC236}">
                <a16:creationId xmlns:a16="http://schemas.microsoft.com/office/drawing/2014/main" id="{D3786FEB-7ABD-700D-2F18-A7D084E93C29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8199" y="2361600"/>
            <a:ext cx="4873538" cy="3600000"/>
          </a:xfrm>
          <a:prstGeom prst="rect">
            <a:avLst/>
          </a:prstGeom>
        </p:spPr>
      </p:pic>
      <p:sp>
        <p:nvSpPr>
          <p:cNvPr id="28" name="Rechteck 27">
            <a:extLst>
              <a:ext uri="{FF2B5EF4-FFF2-40B4-BE49-F238E27FC236}">
                <a16:creationId xmlns:a16="http://schemas.microsoft.com/office/drawing/2014/main" id="{2B7E03B1-C6D2-FE0D-2404-FBF6875D16F0}"/>
              </a:ext>
            </a:extLst>
          </p:cNvPr>
          <p:cNvSpPr/>
          <p:nvPr/>
        </p:nvSpPr>
        <p:spPr>
          <a:xfrm>
            <a:off x="37817" y="1423084"/>
            <a:ext cx="5212080" cy="870422"/>
          </a:xfrm>
          <a:prstGeom prst="rect">
            <a:avLst/>
          </a:prstGeom>
          <a:solidFill>
            <a:srgbClr val="FFFF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de-DE" sz="1400" dirty="0">
              <a:solidFill>
                <a:schemeClr val="tx1"/>
              </a:solidFill>
            </a:endParaRPr>
          </a:p>
        </p:txBody>
      </p:sp>
      <p:sp>
        <p:nvSpPr>
          <p:cNvPr id="29" name="Textplatzhalter 12">
            <a:extLst>
              <a:ext uri="{FF2B5EF4-FFF2-40B4-BE49-F238E27FC236}">
                <a16:creationId xmlns:a16="http://schemas.microsoft.com/office/drawing/2014/main" id="{2DED753F-DBE8-6520-3B78-1EBFD1665C94}"/>
              </a:ext>
            </a:extLst>
          </p:cNvPr>
          <p:cNvSpPr txBox="1">
            <a:spLocks/>
          </p:cNvSpPr>
          <p:nvPr/>
        </p:nvSpPr>
        <p:spPr bwMode="gray">
          <a:xfrm>
            <a:off x="478199" y="1703387"/>
            <a:ext cx="4873538" cy="520463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1600" b="1" i="0" kern="1200">
                <a:solidFill>
                  <a:schemeClr val="accent1"/>
                </a:solidFill>
                <a:latin typeface="Myriad Pro" panose="020B0503030403020204" pitchFamily="34" charset="0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1400" b="0" i="0" kern="120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1" i="0" kern="120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+mn-cs"/>
              </a:defRPr>
            </a:lvl3pPr>
            <a:lvl4pPr marL="18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b="0" i="0" kern="120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+mn-cs"/>
              </a:defRPr>
            </a:lvl4pPr>
            <a:lvl5pPr marL="36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b="0" i="0" kern="120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b="0" i="0" kern="120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+mn-cs"/>
              </a:defRPr>
            </a:lvl6pPr>
            <a:lvl7pPr marL="216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buFont typeface="+mj-lt"/>
              <a:buAutoNum type="arabicPeriod"/>
              <a:defRPr sz="1400" b="0" i="0" kern="120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lphaLcParenR"/>
              <a:defRPr sz="1400" b="0" i="0" kern="120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+mn-cs"/>
              </a:defRPr>
            </a:lvl8pPr>
            <a:lvl9pPr marL="648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romanLcPeriod"/>
              <a:defRPr sz="1400" b="0" i="0" kern="120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+mn-cs"/>
              </a:defRPr>
            </a:lvl9pPr>
          </a:lstStyle>
          <a:p>
            <a:r>
              <a:rPr lang="de-DE" dirty="0"/>
              <a:t>Opening zum Entfernen von kleinen Fragmenten und Artefakten</a:t>
            </a:r>
          </a:p>
        </p:txBody>
      </p:sp>
      <p:sp>
        <p:nvSpPr>
          <p:cNvPr id="32" name="Rechteck 31">
            <a:extLst>
              <a:ext uri="{FF2B5EF4-FFF2-40B4-BE49-F238E27FC236}">
                <a16:creationId xmlns:a16="http://schemas.microsoft.com/office/drawing/2014/main" id="{56D19438-7709-D66B-1D75-852C4A6679C8}"/>
              </a:ext>
            </a:extLst>
          </p:cNvPr>
          <p:cNvSpPr/>
          <p:nvPr/>
        </p:nvSpPr>
        <p:spPr>
          <a:xfrm>
            <a:off x="232181" y="1438107"/>
            <a:ext cx="5212080" cy="870422"/>
          </a:xfrm>
          <a:prstGeom prst="rect">
            <a:avLst/>
          </a:prstGeom>
          <a:solidFill>
            <a:srgbClr val="FFFF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de-DE" sz="1400" dirty="0">
              <a:solidFill>
                <a:schemeClr val="tx1"/>
              </a:solidFill>
            </a:endParaRPr>
          </a:p>
        </p:txBody>
      </p:sp>
      <p:sp>
        <p:nvSpPr>
          <p:cNvPr id="33" name="Textplatzhalter 12">
            <a:extLst>
              <a:ext uri="{FF2B5EF4-FFF2-40B4-BE49-F238E27FC236}">
                <a16:creationId xmlns:a16="http://schemas.microsoft.com/office/drawing/2014/main" id="{9821357A-59A1-D761-F0CD-0B74E4CA21F8}"/>
              </a:ext>
            </a:extLst>
          </p:cNvPr>
          <p:cNvSpPr txBox="1">
            <a:spLocks/>
          </p:cNvSpPr>
          <p:nvPr/>
        </p:nvSpPr>
        <p:spPr bwMode="gray">
          <a:xfrm>
            <a:off x="478800" y="1702800"/>
            <a:ext cx="4873538" cy="520463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1600" b="1" i="0" kern="1200">
                <a:solidFill>
                  <a:schemeClr val="accent1"/>
                </a:solidFill>
                <a:latin typeface="Myriad Pro" panose="020B0503030403020204" pitchFamily="34" charset="0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1400" b="0" i="0" kern="120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1" i="0" kern="120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+mn-cs"/>
              </a:defRPr>
            </a:lvl3pPr>
            <a:lvl4pPr marL="18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b="0" i="0" kern="120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+mn-cs"/>
              </a:defRPr>
            </a:lvl4pPr>
            <a:lvl5pPr marL="36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b="0" i="0" kern="120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b="0" i="0" kern="120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+mn-cs"/>
              </a:defRPr>
            </a:lvl6pPr>
            <a:lvl7pPr marL="216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buFont typeface="+mj-lt"/>
              <a:buAutoNum type="arabicPeriod"/>
              <a:defRPr sz="1400" b="0" i="0" kern="120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lphaLcParenR"/>
              <a:defRPr sz="1400" b="0" i="0" kern="120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+mn-cs"/>
              </a:defRPr>
            </a:lvl8pPr>
            <a:lvl9pPr marL="648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romanLcPeriod"/>
              <a:defRPr sz="1400" b="0" i="0" kern="120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+mn-cs"/>
              </a:defRPr>
            </a:lvl9pPr>
          </a:lstStyle>
          <a:p>
            <a:r>
              <a:rPr lang="de-DE" dirty="0"/>
              <a:t>Closing um Fragmente zu einem Cluster zusammenzufügen</a:t>
            </a:r>
          </a:p>
        </p:txBody>
      </p:sp>
      <p:sp>
        <p:nvSpPr>
          <p:cNvPr id="35" name="Rechteck 34">
            <a:extLst>
              <a:ext uri="{FF2B5EF4-FFF2-40B4-BE49-F238E27FC236}">
                <a16:creationId xmlns:a16="http://schemas.microsoft.com/office/drawing/2014/main" id="{1790A3C2-6A59-3D9E-A423-96D80191CA94}"/>
              </a:ext>
            </a:extLst>
          </p:cNvPr>
          <p:cNvSpPr/>
          <p:nvPr/>
        </p:nvSpPr>
        <p:spPr>
          <a:xfrm>
            <a:off x="395091" y="1433490"/>
            <a:ext cx="5212080" cy="870422"/>
          </a:xfrm>
          <a:prstGeom prst="rect">
            <a:avLst/>
          </a:prstGeom>
          <a:solidFill>
            <a:srgbClr val="FFFF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de-DE" sz="1400" dirty="0">
              <a:solidFill>
                <a:schemeClr val="tx1"/>
              </a:solidFill>
            </a:endParaRPr>
          </a:p>
        </p:txBody>
      </p:sp>
      <p:sp>
        <p:nvSpPr>
          <p:cNvPr id="36" name="Textplatzhalter 12">
            <a:extLst>
              <a:ext uri="{FF2B5EF4-FFF2-40B4-BE49-F238E27FC236}">
                <a16:creationId xmlns:a16="http://schemas.microsoft.com/office/drawing/2014/main" id="{704C07DC-CAFA-D01B-2C40-7583083745E8}"/>
              </a:ext>
            </a:extLst>
          </p:cNvPr>
          <p:cNvSpPr txBox="1">
            <a:spLocks/>
          </p:cNvSpPr>
          <p:nvPr/>
        </p:nvSpPr>
        <p:spPr bwMode="gray">
          <a:xfrm>
            <a:off x="478800" y="1702800"/>
            <a:ext cx="4047480" cy="52046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1600" b="1" i="0" kern="1200">
                <a:solidFill>
                  <a:schemeClr val="accent1"/>
                </a:solidFill>
                <a:latin typeface="Myriad Pro" panose="020B0503030403020204" pitchFamily="34" charset="0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1400" b="0" i="0" kern="120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1" i="0" kern="120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+mn-cs"/>
              </a:defRPr>
            </a:lvl3pPr>
            <a:lvl4pPr marL="18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b="0" i="0" kern="120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+mn-cs"/>
              </a:defRPr>
            </a:lvl4pPr>
            <a:lvl5pPr marL="36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b="0" i="0" kern="120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b="0" i="0" kern="120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+mn-cs"/>
              </a:defRPr>
            </a:lvl6pPr>
            <a:lvl7pPr marL="216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buFont typeface="+mj-lt"/>
              <a:buAutoNum type="arabicPeriod"/>
              <a:defRPr sz="1400" b="0" i="0" kern="120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lphaLcParenR"/>
              <a:defRPr sz="1400" b="0" i="0" kern="120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+mn-cs"/>
              </a:defRPr>
            </a:lvl8pPr>
            <a:lvl9pPr marL="648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romanLcPeriod"/>
              <a:defRPr sz="1400" b="0" i="0" kern="120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+mn-cs"/>
              </a:defRPr>
            </a:lvl9pPr>
          </a:lstStyle>
          <a:p>
            <a:r>
              <a:rPr lang="de-DE" dirty="0"/>
              <a:t>Dilatation zum Vergrößern der Cluster bevor KNN angewendet wird</a:t>
            </a:r>
          </a:p>
        </p:txBody>
      </p:sp>
      <p:sp>
        <p:nvSpPr>
          <p:cNvPr id="37" name="Rechteck 36">
            <a:extLst>
              <a:ext uri="{FF2B5EF4-FFF2-40B4-BE49-F238E27FC236}">
                <a16:creationId xmlns:a16="http://schemas.microsoft.com/office/drawing/2014/main" id="{7D6800C9-D953-FFF2-5849-5FFD5D40B306}"/>
              </a:ext>
            </a:extLst>
          </p:cNvPr>
          <p:cNvSpPr/>
          <p:nvPr/>
        </p:nvSpPr>
        <p:spPr>
          <a:xfrm>
            <a:off x="232181" y="1397789"/>
            <a:ext cx="5212080" cy="870422"/>
          </a:xfrm>
          <a:prstGeom prst="rect">
            <a:avLst/>
          </a:prstGeom>
          <a:solidFill>
            <a:srgbClr val="FFFF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de-DE" sz="1400" dirty="0">
              <a:solidFill>
                <a:schemeClr val="tx1"/>
              </a:solidFill>
            </a:endParaRPr>
          </a:p>
        </p:txBody>
      </p:sp>
      <p:sp>
        <p:nvSpPr>
          <p:cNvPr id="38" name="Textplatzhalter 12">
            <a:extLst>
              <a:ext uri="{FF2B5EF4-FFF2-40B4-BE49-F238E27FC236}">
                <a16:creationId xmlns:a16="http://schemas.microsoft.com/office/drawing/2014/main" id="{CBDA2ED6-E3B8-44B8-7F92-0EB38F0FE45E}"/>
              </a:ext>
            </a:extLst>
          </p:cNvPr>
          <p:cNvSpPr txBox="1">
            <a:spLocks/>
          </p:cNvSpPr>
          <p:nvPr/>
        </p:nvSpPr>
        <p:spPr bwMode="gray">
          <a:xfrm>
            <a:off x="478800" y="1702800"/>
            <a:ext cx="4873538" cy="520463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1600" b="1" i="0" kern="1200">
                <a:solidFill>
                  <a:schemeClr val="accent1"/>
                </a:solidFill>
                <a:latin typeface="Myriad Pro" panose="020B0503030403020204" pitchFamily="34" charset="0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1400" b="0" i="0" kern="120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1" i="0" kern="120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+mn-cs"/>
              </a:defRPr>
            </a:lvl3pPr>
            <a:lvl4pPr marL="18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b="0" i="0" kern="120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+mn-cs"/>
              </a:defRPr>
            </a:lvl4pPr>
            <a:lvl5pPr marL="36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b="0" i="0" kern="120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b="0" i="0" kern="120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+mn-cs"/>
              </a:defRPr>
            </a:lvl6pPr>
            <a:lvl7pPr marL="216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buFont typeface="+mj-lt"/>
              <a:buAutoNum type="arabicPeriod"/>
              <a:defRPr sz="1400" b="0" i="0" kern="120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lphaLcParenR"/>
              <a:defRPr sz="1400" b="0" i="0" kern="120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+mn-cs"/>
              </a:defRPr>
            </a:lvl8pPr>
            <a:lvl9pPr marL="648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romanLcPeriod"/>
              <a:defRPr sz="1400" b="0" i="0" kern="120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+mn-cs"/>
              </a:defRPr>
            </a:lvl9pPr>
          </a:lstStyle>
          <a:p>
            <a:r>
              <a:rPr lang="de-DE" dirty="0"/>
              <a:t>KNN wird angewandt um die Formen zu smoothen und die Cluster zu vereinheitlichen</a:t>
            </a:r>
          </a:p>
        </p:txBody>
      </p:sp>
      <p:sp>
        <p:nvSpPr>
          <p:cNvPr id="39" name="Rechteck 38">
            <a:extLst>
              <a:ext uri="{FF2B5EF4-FFF2-40B4-BE49-F238E27FC236}">
                <a16:creationId xmlns:a16="http://schemas.microsoft.com/office/drawing/2014/main" id="{8F790038-85C0-BE1A-1541-6F0CE6EBEE94}"/>
              </a:ext>
            </a:extLst>
          </p:cNvPr>
          <p:cNvSpPr/>
          <p:nvPr/>
        </p:nvSpPr>
        <p:spPr>
          <a:xfrm>
            <a:off x="308928" y="1427234"/>
            <a:ext cx="5212080" cy="870422"/>
          </a:xfrm>
          <a:prstGeom prst="rect">
            <a:avLst/>
          </a:prstGeom>
          <a:solidFill>
            <a:srgbClr val="FFFF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de-DE" sz="1400" dirty="0">
              <a:solidFill>
                <a:schemeClr val="tx1"/>
              </a:solidFill>
            </a:endParaRPr>
          </a:p>
        </p:txBody>
      </p:sp>
      <p:sp>
        <p:nvSpPr>
          <p:cNvPr id="40" name="Textplatzhalter 12">
            <a:extLst>
              <a:ext uri="{FF2B5EF4-FFF2-40B4-BE49-F238E27FC236}">
                <a16:creationId xmlns:a16="http://schemas.microsoft.com/office/drawing/2014/main" id="{0F6AB238-F838-3019-EEC3-0CC001411C8F}"/>
              </a:ext>
            </a:extLst>
          </p:cNvPr>
          <p:cNvSpPr txBox="1">
            <a:spLocks/>
          </p:cNvSpPr>
          <p:nvPr/>
        </p:nvSpPr>
        <p:spPr bwMode="gray">
          <a:xfrm>
            <a:off x="478800" y="1702800"/>
            <a:ext cx="4873538" cy="520463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1600" b="1" i="0" kern="1200">
                <a:solidFill>
                  <a:schemeClr val="accent1"/>
                </a:solidFill>
                <a:latin typeface="Myriad Pro" panose="020B0503030403020204" pitchFamily="34" charset="0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1400" b="0" i="0" kern="120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1" i="0" kern="120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+mn-cs"/>
              </a:defRPr>
            </a:lvl3pPr>
            <a:lvl4pPr marL="18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b="0" i="0" kern="120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+mn-cs"/>
              </a:defRPr>
            </a:lvl4pPr>
            <a:lvl5pPr marL="36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b="0" i="0" kern="120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b="0" i="0" kern="120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+mn-cs"/>
              </a:defRPr>
            </a:lvl6pPr>
            <a:lvl7pPr marL="216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buFont typeface="+mj-lt"/>
              <a:buAutoNum type="arabicPeriod"/>
              <a:defRPr sz="1400" b="0" i="0" kern="120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lphaLcParenR"/>
              <a:defRPr sz="1400" b="0" i="0" kern="120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+mn-cs"/>
              </a:defRPr>
            </a:lvl8pPr>
            <a:lvl9pPr marL="648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romanLcPeriod"/>
              <a:defRPr sz="1400" b="0" i="0" kern="120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+mn-cs"/>
              </a:defRPr>
            </a:lvl9pPr>
          </a:lstStyle>
          <a:p>
            <a:r>
              <a:rPr lang="de-DE" dirty="0"/>
              <a:t>Finale Artefakte und Fragmente werden durch eine weitere Erosion entfernt</a:t>
            </a:r>
          </a:p>
        </p:txBody>
      </p:sp>
      <p:pic>
        <p:nvPicPr>
          <p:cNvPr id="14" name="Grafik 13">
            <a:extLst>
              <a:ext uri="{FF2B5EF4-FFF2-40B4-BE49-F238E27FC236}">
                <a16:creationId xmlns:a16="http://schemas.microsoft.com/office/drawing/2014/main" id="{7113632C-4049-1882-0531-0BE6C9F0EE2D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21502" y="191192"/>
            <a:ext cx="3744886" cy="1130532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97507372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1" fill="hold">
                      <p:stCondLst>
                        <p:cond delay="indefinite"/>
                      </p:stCondLst>
                      <p:childTnLst>
                        <p:par>
                          <p:cTn id="42" fill="hold">
                            <p:stCondLst>
                              <p:cond delay="0"/>
                            </p:stCondLst>
                            <p:childTnLst>
                              <p:par>
                                <p:cTn id="4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 build="p"/>
      <p:bldP spid="28" grpId="0" animBg="1"/>
      <p:bldP spid="29" grpId="0"/>
      <p:bldP spid="32" grpId="0" animBg="1"/>
      <p:bldP spid="33" grpId="0"/>
      <p:bldP spid="35" grpId="0" animBg="1"/>
      <p:bldP spid="36" grpId="0"/>
      <p:bldP spid="37" grpId="0" animBg="1"/>
      <p:bldP spid="38" grpId="0"/>
      <p:bldP spid="39" grpId="0" animBg="1"/>
      <p:bldP spid="40" grpId="0"/>
    </p:bld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platzhalter 12">
            <a:extLst>
              <a:ext uri="{FF2B5EF4-FFF2-40B4-BE49-F238E27FC236}">
                <a16:creationId xmlns:a16="http://schemas.microsoft.com/office/drawing/2014/main" id="{D300D696-B5BC-D9DE-015F-45D1D48BCBC0}"/>
              </a:ext>
            </a:extLst>
          </p:cNvPr>
          <p:cNvSpPr txBox="1">
            <a:spLocks/>
          </p:cNvSpPr>
          <p:nvPr/>
        </p:nvSpPr>
        <p:spPr bwMode="gray">
          <a:xfrm>
            <a:off x="9851431" y="2081338"/>
            <a:ext cx="1343619" cy="92935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1600" b="1" i="0" kern="1200">
                <a:solidFill>
                  <a:schemeClr val="accent1"/>
                </a:solidFill>
                <a:latin typeface="Myriad Pro" panose="020B0503030403020204" pitchFamily="34" charset="0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1400" b="0" i="0" kern="120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1" i="0" kern="120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+mn-cs"/>
              </a:defRPr>
            </a:lvl3pPr>
            <a:lvl4pPr marL="18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b="0" i="0" kern="120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+mn-cs"/>
              </a:defRPr>
            </a:lvl4pPr>
            <a:lvl5pPr marL="36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b="0" i="0" kern="120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b="0" i="0" kern="120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+mn-cs"/>
              </a:defRPr>
            </a:lvl6pPr>
            <a:lvl7pPr marL="216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buFont typeface="+mj-lt"/>
              <a:buAutoNum type="arabicPeriod"/>
              <a:defRPr sz="1400" b="0" i="0" kern="120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lphaLcParenR"/>
              <a:defRPr sz="1400" b="0" i="0" kern="120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+mn-cs"/>
              </a:defRPr>
            </a:lvl8pPr>
            <a:lvl9pPr marL="648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romanLcPeriod"/>
              <a:defRPr sz="1400" b="0" i="0" kern="120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+mn-cs"/>
              </a:defRPr>
            </a:lvl9pPr>
          </a:lstStyle>
          <a:p>
            <a:pPr lvl="2" algn="ctr"/>
            <a:r>
              <a:rPr lang="de-DE" dirty="0"/>
              <a:t>93% weniger Vertices</a:t>
            </a:r>
          </a:p>
          <a:p>
            <a:pPr lvl="2" algn="ctr"/>
            <a:r>
              <a:rPr lang="de-DE" dirty="0"/>
              <a:t>bei 1.8% Area Change</a:t>
            </a:r>
          </a:p>
        </p:txBody>
      </p:sp>
      <p:pic>
        <p:nvPicPr>
          <p:cNvPr id="14" name="Grafik 13">
            <a:extLst>
              <a:ext uri="{FF2B5EF4-FFF2-40B4-BE49-F238E27FC236}">
                <a16:creationId xmlns:a16="http://schemas.microsoft.com/office/drawing/2014/main" id="{01CD5B85-B9E4-C044-D773-3C30E2741793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80000" y="1702800"/>
            <a:ext cx="2193092" cy="1620000"/>
          </a:xfrm>
          <a:prstGeom prst="rect">
            <a:avLst/>
          </a:prstGeom>
        </p:spPr>
      </p:pic>
      <p:pic>
        <p:nvPicPr>
          <p:cNvPr id="28" name="Grafik 27">
            <a:extLst>
              <a:ext uri="{FF2B5EF4-FFF2-40B4-BE49-F238E27FC236}">
                <a16:creationId xmlns:a16="http://schemas.microsoft.com/office/drawing/2014/main" id="{FA64E104-22F4-C416-B339-F49594C0A568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084800" y="3927600"/>
            <a:ext cx="2193092" cy="1620000"/>
          </a:xfrm>
          <a:prstGeom prst="rect">
            <a:avLst/>
          </a:prstGeom>
        </p:spPr>
      </p:pic>
      <p:pic>
        <p:nvPicPr>
          <p:cNvPr id="29" name="Grafik 28">
            <a:extLst>
              <a:ext uri="{FF2B5EF4-FFF2-40B4-BE49-F238E27FC236}">
                <a16:creationId xmlns:a16="http://schemas.microsoft.com/office/drawing/2014/main" id="{018010F5-5E92-61A4-6047-C98EF627C89C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80000" y="3926768"/>
            <a:ext cx="2193092" cy="1620000"/>
          </a:xfrm>
          <a:prstGeom prst="rect">
            <a:avLst/>
          </a:prstGeom>
        </p:spPr>
      </p:pic>
      <p:pic>
        <p:nvPicPr>
          <p:cNvPr id="30" name="Grafik 29">
            <a:extLst>
              <a:ext uri="{FF2B5EF4-FFF2-40B4-BE49-F238E27FC236}">
                <a16:creationId xmlns:a16="http://schemas.microsoft.com/office/drawing/2014/main" id="{29255367-DE9F-C075-C5E8-E6CEB69702E0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8800" y="3926768"/>
            <a:ext cx="2193092" cy="1620000"/>
          </a:xfrm>
          <a:prstGeom prst="rect">
            <a:avLst/>
          </a:prstGeom>
        </p:spPr>
      </p:pic>
      <p:pic>
        <p:nvPicPr>
          <p:cNvPr id="31" name="Grafik 30">
            <a:extLst>
              <a:ext uri="{FF2B5EF4-FFF2-40B4-BE49-F238E27FC236}">
                <a16:creationId xmlns:a16="http://schemas.microsoft.com/office/drawing/2014/main" id="{A90D72F5-6E24-6F63-5552-C30E526194AB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083940" y="1702800"/>
            <a:ext cx="2193092" cy="1620000"/>
          </a:xfrm>
          <a:prstGeom prst="rect">
            <a:avLst/>
          </a:prstGeom>
        </p:spPr>
      </p:pic>
      <p:pic>
        <p:nvPicPr>
          <p:cNvPr id="32" name="Grafik 31">
            <a:extLst>
              <a:ext uri="{FF2B5EF4-FFF2-40B4-BE49-F238E27FC236}">
                <a16:creationId xmlns:a16="http://schemas.microsoft.com/office/drawing/2014/main" id="{7C5FC55C-F048-1C09-0440-47CDC0998969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8198" y="1702800"/>
            <a:ext cx="2193092" cy="1620000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FB9F5726-9743-559C-44B7-28BCF753CDA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ethode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0A4E1061-0C55-7450-F7F3-0ECA40053FB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225054-8F4D-4B67-8803-E473E83FD8A6}" type="datetime1">
              <a:rPr lang="de-DE" noProof="0" smtClean="0"/>
              <a:t>15.11.22</a:t>
            </a:fld>
            <a:endParaRPr lang="de-DE" noProof="0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85026CBD-C28D-1239-FF11-CB093AC93CB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/>
              <a:t>© Universität zu Lübeck</a:t>
            </a:r>
            <a:endParaRPr lang="de-DE" noProof="0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B3D8F5EA-A8A7-1DEA-C1C9-FE439AFE483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 noProof="0"/>
              <a:t>Seite</a:t>
            </a:r>
            <a:r>
              <a:rPr lang="en-US"/>
              <a:t> </a:t>
            </a:r>
            <a:fld id="{401BA3E4-5E55-4F99-AF09-CC6D6B2539E2}" type="slidenum">
              <a:rPr lang="en-US" smtClean="0"/>
              <a:pPr/>
              <a:t>43</a:t>
            </a:fld>
            <a:endParaRPr lang="en-US" dirty="0"/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660676AF-70D0-59AF-4157-1564C600A56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9425" y="778321"/>
            <a:ext cx="11233150" cy="312008"/>
          </a:xfrm>
        </p:spPr>
        <p:txBody>
          <a:bodyPr/>
          <a:lstStyle/>
          <a:p>
            <a:r>
              <a:rPr lang="de-DE" dirty="0"/>
              <a:t>Erstellen eines Datensatzes </a:t>
            </a:r>
            <a:r>
              <a:rPr lang="de-DE" sz="2000" b="0" i="0" kern="1200" dirty="0">
                <a:solidFill>
                  <a:srgbClr val="084653"/>
                </a:solidFill>
                <a:effectLst/>
                <a:latin typeface="Myriad Pro" panose="020B0503030403020204"/>
                <a:ea typeface="+mn-ea"/>
                <a:cs typeface="+mn-cs"/>
              </a:rPr>
              <a:t>— </a:t>
            </a:r>
            <a:r>
              <a:rPr lang="de-DE" sz="2000" b="0" i="0" kern="1200" dirty="0" err="1">
                <a:solidFill>
                  <a:srgbClr val="084653"/>
                </a:solidFill>
                <a:effectLst/>
                <a:latin typeface="Myriad Pro" panose="020B0503030403020204"/>
                <a:ea typeface="+mn-ea"/>
                <a:cs typeface="+mn-cs"/>
              </a:rPr>
              <a:t>Ramer</a:t>
            </a:r>
            <a:r>
              <a:rPr lang="de-DE" dirty="0">
                <a:solidFill>
                  <a:srgbClr val="084653"/>
                </a:solidFill>
                <a:latin typeface="Myriad Pro" panose="020B0503030403020204"/>
              </a:rPr>
              <a:t>-</a:t>
            </a:r>
            <a:r>
              <a:rPr lang="de-DE" sz="2000" b="0" i="0" kern="1200" dirty="0">
                <a:solidFill>
                  <a:srgbClr val="084653"/>
                </a:solidFill>
                <a:effectLst/>
                <a:latin typeface="Myriad Pro" panose="020B0503030403020204"/>
                <a:ea typeface="+mn-ea"/>
                <a:cs typeface="+mn-cs"/>
              </a:rPr>
              <a:t>Douglas-Peuker (RDP)  </a:t>
            </a:r>
            <a:endParaRPr lang="de-DE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9" name="Textplatzhalter 12">
                <a:extLst>
                  <a:ext uri="{FF2B5EF4-FFF2-40B4-BE49-F238E27FC236}">
                    <a16:creationId xmlns:a16="http://schemas.microsoft.com/office/drawing/2014/main" id="{E2E8E156-5286-1907-116B-E0C1AF31A556}"/>
                  </a:ext>
                </a:extLst>
              </p:cNvPr>
              <p:cNvSpPr txBox="1">
                <a:spLocks/>
              </p:cNvSpPr>
              <p:nvPr/>
            </p:nvSpPr>
            <p:spPr bwMode="gray">
              <a:xfrm>
                <a:off x="3770577" y="3323388"/>
                <a:ext cx="2172107" cy="218393"/>
              </a:xfrm>
              <a:prstGeom prst="rect">
                <a:avLst/>
              </a:prstGeom>
            </p:spPr>
            <p:txBody>
              <a:bodyPr vert="horz" wrap="square" lIns="0" tIns="0" rIns="0" bIns="0" rtlCol="0">
                <a:spAutoFit/>
              </a:bodyPr>
              <a:lstStyle>
                <a:lvl1pPr marL="0" indent="0" algn="l" defTabSz="914400" rtl="0" eaLnBrk="1" latinLnBrk="0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1900"/>
                  </a:spcAft>
                  <a:buFont typeface="Arial" panose="020B0604020202020204" pitchFamily="34" charset="0"/>
                  <a:buNone/>
                  <a:defRPr sz="1600" b="1" i="0" kern="1200">
                    <a:solidFill>
                      <a:schemeClr val="accent1"/>
                    </a:solidFill>
                    <a:latin typeface="Myriad Pro" panose="020B0503030403020204" pitchFamily="34" charset="0"/>
                    <a:ea typeface="+mn-ea"/>
                    <a:cs typeface="+mn-cs"/>
                  </a:defRPr>
                </a:lvl1pPr>
                <a:lvl2pPr marL="0" indent="0" algn="l" defTabSz="914400" rtl="0" eaLnBrk="1" latinLnBrk="0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1900"/>
                  </a:spcAft>
                  <a:buFont typeface="Arial" panose="020B0604020202020204" pitchFamily="34" charset="0"/>
                  <a:buNone/>
                  <a:defRPr sz="1400" b="0" i="0" kern="1200">
                    <a:solidFill>
                      <a:schemeClr val="tx1"/>
                    </a:solidFill>
                    <a:latin typeface="Myriad Pro" panose="020B0503030403020204" pitchFamily="34" charset="0"/>
                    <a:ea typeface="+mn-ea"/>
                    <a:cs typeface="+mn-cs"/>
                  </a:defRPr>
                </a:lvl2pPr>
                <a:lvl3pPr marL="0" indent="0" algn="l" defTabSz="914400" rtl="0" eaLnBrk="1" latinLnBrk="0" hangingPunct="1">
                  <a:lnSpc>
                    <a:spcPct val="110000"/>
                  </a:lnSpc>
                  <a:spcBef>
                    <a:spcPts val="0"/>
                  </a:spcBef>
                  <a:buFont typeface="Arial" panose="020B0604020202020204" pitchFamily="34" charset="0"/>
                  <a:buNone/>
                  <a:defRPr sz="1400" b="1" i="0" kern="1200">
                    <a:solidFill>
                      <a:schemeClr val="tx1"/>
                    </a:solidFill>
                    <a:latin typeface="Myriad Pro" panose="020B0503030403020204" pitchFamily="34" charset="0"/>
                    <a:ea typeface="+mn-ea"/>
                    <a:cs typeface="+mn-cs"/>
                  </a:defRPr>
                </a:lvl3pPr>
                <a:lvl4pPr marL="180000" indent="-180000" algn="l" defTabSz="914400" rtl="0" eaLnBrk="1" latinLnBrk="0" hangingPunct="1">
                  <a:lnSpc>
                    <a:spcPct val="110000"/>
                  </a:lnSpc>
                  <a:spcBef>
                    <a:spcPts val="0"/>
                  </a:spcBef>
                  <a:buClr>
                    <a:schemeClr val="accent1"/>
                  </a:buClr>
                  <a:buFont typeface="Wingdings" panose="05000000000000000000" pitchFamily="2" charset="2"/>
                  <a:buChar char="§"/>
                  <a:defRPr sz="1400" b="0" i="0" kern="1200">
                    <a:solidFill>
                      <a:schemeClr val="tx1"/>
                    </a:solidFill>
                    <a:latin typeface="Myriad Pro" panose="020B0503030403020204" pitchFamily="34" charset="0"/>
                    <a:ea typeface="+mn-ea"/>
                    <a:cs typeface="+mn-cs"/>
                  </a:defRPr>
                </a:lvl4pPr>
                <a:lvl5pPr marL="360000" indent="-180000" algn="l" defTabSz="914400" rtl="0" eaLnBrk="1" latinLnBrk="0" hangingPunct="1">
                  <a:lnSpc>
                    <a:spcPct val="110000"/>
                  </a:lnSpc>
                  <a:spcBef>
                    <a:spcPts val="0"/>
                  </a:spcBef>
                  <a:buClr>
                    <a:schemeClr val="bg2"/>
                  </a:buClr>
                  <a:buFont typeface="Wingdings" panose="05000000000000000000" pitchFamily="2" charset="2"/>
                  <a:buChar char="§"/>
                  <a:defRPr sz="1400" b="0" i="0" kern="1200">
                    <a:solidFill>
                      <a:schemeClr val="tx1"/>
                    </a:solidFill>
                    <a:latin typeface="Myriad Pro" panose="020B0503030403020204" pitchFamily="34" charset="0"/>
                    <a:ea typeface="+mn-ea"/>
                    <a:cs typeface="+mn-cs"/>
                  </a:defRPr>
                </a:lvl5pPr>
                <a:lvl6pPr marL="540000" indent="-180000" algn="l" defTabSz="914400" rtl="0" eaLnBrk="1" latinLnBrk="0" hangingPunct="1">
                  <a:lnSpc>
                    <a:spcPct val="110000"/>
                  </a:lnSpc>
                  <a:spcBef>
                    <a:spcPts val="0"/>
                  </a:spcBef>
                  <a:buClr>
                    <a:schemeClr val="bg2"/>
                  </a:buClr>
                  <a:buFont typeface="Wingdings" panose="05000000000000000000" pitchFamily="2" charset="2"/>
                  <a:buChar char="§"/>
                  <a:defRPr sz="1400" b="0" i="0" kern="1200">
                    <a:solidFill>
                      <a:schemeClr val="tx1"/>
                    </a:solidFill>
                    <a:latin typeface="Myriad Pro" panose="020B0503030403020204" pitchFamily="34" charset="0"/>
                    <a:ea typeface="+mn-ea"/>
                    <a:cs typeface="+mn-cs"/>
                  </a:defRPr>
                </a:lvl6pPr>
                <a:lvl7pPr marL="216000" indent="-216000" algn="l" defTabSz="914400" rtl="0" eaLnBrk="1" latinLnBrk="0" hangingPunct="1">
                  <a:lnSpc>
                    <a:spcPct val="110000"/>
                  </a:lnSpc>
                  <a:spcBef>
                    <a:spcPts val="0"/>
                  </a:spcBef>
                  <a:buClr>
                    <a:schemeClr val="accent1"/>
                  </a:buClr>
                  <a:buFont typeface="+mj-lt"/>
                  <a:buAutoNum type="arabicPeriod"/>
                  <a:defRPr sz="1400" b="0" i="0" kern="1200">
                    <a:solidFill>
                      <a:schemeClr val="tx1"/>
                    </a:solidFill>
                    <a:latin typeface="Myriad Pro" panose="020B0503030403020204" pitchFamily="34" charset="0"/>
                    <a:ea typeface="+mn-ea"/>
                    <a:cs typeface="+mn-cs"/>
                  </a:defRPr>
                </a:lvl7pPr>
                <a:lvl8pPr marL="432000" indent="-216000" algn="l" defTabSz="914400" rtl="0" eaLnBrk="1" latinLnBrk="0" hangingPunct="1">
                  <a:lnSpc>
                    <a:spcPct val="110000"/>
                  </a:lnSpc>
                  <a:spcBef>
                    <a:spcPts val="0"/>
                  </a:spcBef>
                  <a:buClr>
                    <a:schemeClr val="bg2"/>
                  </a:buClr>
                  <a:buFont typeface="+mj-lt"/>
                  <a:buAutoNum type="alphaLcParenR"/>
                  <a:defRPr sz="1400" b="0" i="0" kern="1200">
                    <a:solidFill>
                      <a:schemeClr val="tx1"/>
                    </a:solidFill>
                    <a:latin typeface="Myriad Pro" panose="020B0503030403020204" pitchFamily="34" charset="0"/>
                    <a:ea typeface="+mn-ea"/>
                    <a:cs typeface="+mn-cs"/>
                  </a:defRPr>
                </a:lvl8pPr>
                <a:lvl9pPr marL="648000" indent="-216000" algn="l" defTabSz="914400" rtl="0" eaLnBrk="1" latinLnBrk="0" hangingPunct="1">
                  <a:lnSpc>
                    <a:spcPct val="110000"/>
                  </a:lnSpc>
                  <a:spcBef>
                    <a:spcPts val="0"/>
                  </a:spcBef>
                  <a:buClr>
                    <a:schemeClr val="bg2"/>
                  </a:buClr>
                  <a:buFont typeface="+mj-lt"/>
                  <a:buAutoNum type="romanLcPeriod"/>
                  <a:defRPr sz="1400" b="0" i="0" kern="1200">
                    <a:solidFill>
                      <a:schemeClr val="tx1"/>
                    </a:solidFill>
                    <a:latin typeface="Myriad Pro" panose="020B0503030403020204" pitchFamily="34" charset="0"/>
                    <a:ea typeface="+mn-ea"/>
                    <a:cs typeface="+mn-cs"/>
                  </a:defRPr>
                </a:lvl9pPr>
              </a:lstStyle>
              <a:p>
                <a:pPr lvl="2"/>
                <a:r>
                  <a:rPr lang="de-DE" dirty="0"/>
                  <a:t>RDP, </a:t>
                </a:r>
                <a14:m>
                  <m:oMath xmlns:m="http://schemas.openxmlformats.org/officeDocument/2006/math">
                    <m:r>
                      <a:rPr lang="de-DE" b="1" i="1" smtClean="0">
                        <a:latin typeface="Cambria Math" panose="02040503050406030204" pitchFamily="18" charset="0"/>
                      </a:rPr>
                      <m:t>𝝐</m:t>
                    </m:r>
                    <m:r>
                      <a:rPr lang="de-DE" b="1" i="1" smtClean="0">
                        <a:latin typeface="Cambria Math" panose="02040503050406030204" pitchFamily="18" charset="0"/>
                      </a:rPr>
                      <m:t>=</m:t>
                    </m:r>
                    <m:r>
                      <a:rPr lang="de-DE" b="1" i="1" smtClean="0">
                        <a:latin typeface="Cambria Math" panose="02040503050406030204" pitchFamily="18" charset="0"/>
                      </a:rPr>
                      <m:t>𝟏</m:t>
                    </m:r>
                  </m:oMath>
                </a14:m>
                <a:r>
                  <a:rPr lang="de-DE" dirty="0"/>
                  <a:t>, 142 Vertices</a:t>
                </a:r>
              </a:p>
            </p:txBody>
          </p:sp>
        </mc:Choice>
        <mc:Fallback xmlns="">
          <p:sp>
            <p:nvSpPr>
              <p:cNvPr id="19" name="Textplatzhalter 12">
                <a:extLst>
                  <a:ext uri="{FF2B5EF4-FFF2-40B4-BE49-F238E27FC236}">
                    <a16:creationId xmlns:a16="http://schemas.microsoft.com/office/drawing/2014/main" id="{E2E8E156-5286-1907-116B-E0C1AF31A556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gray">
              <a:xfrm>
                <a:off x="3770577" y="3323388"/>
                <a:ext cx="2172107" cy="218393"/>
              </a:xfrm>
              <a:prstGeom prst="rect">
                <a:avLst/>
              </a:prstGeom>
              <a:blipFill>
                <a:blip r:embed="rId7"/>
                <a:stretch>
                  <a:fillRect l="-5056" t="-25000" b="-47222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0" name="Textplatzhalter 12">
                <a:extLst>
                  <a:ext uri="{FF2B5EF4-FFF2-40B4-BE49-F238E27FC236}">
                    <a16:creationId xmlns:a16="http://schemas.microsoft.com/office/drawing/2014/main" id="{701BFB3B-DC76-69E6-6F63-3B324FE32DAE}"/>
                  </a:ext>
                </a:extLst>
              </p:cNvPr>
              <p:cNvSpPr txBox="1">
                <a:spLocks/>
              </p:cNvSpPr>
              <p:nvPr/>
            </p:nvSpPr>
            <p:spPr bwMode="gray">
              <a:xfrm>
                <a:off x="7083940" y="3328855"/>
                <a:ext cx="2172107" cy="218393"/>
              </a:xfrm>
              <a:prstGeom prst="rect">
                <a:avLst/>
              </a:prstGeom>
            </p:spPr>
            <p:txBody>
              <a:bodyPr vert="horz" wrap="square" lIns="0" tIns="0" rIns="0" bIns="0" rtlCol="0">
                <a:spAutoFit/>
              </a:bodyPr>
              <a:lstStyle>
                <a:lvl1pPr marL="0" indent="0" algn="l" defTabSz="914400" rtl="0" eaLnBrk="1" latinLnBrk="0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1900"/>
                  </a:spcAft>
                  <a:buFont typeface="Arial" panose="020B0604020202020204" pitchFamily="34" charset="0"/>
                  <a:buNone/>
                  <a:defRPr sz="1600" b="1" i="0" kern="1200">
                    <a:solidFill>
                      <a:schemeClr val="accent1"/>
                    </a:solidFill>
                    <a:latin typeface="Myriad Pro" panose="020B0503030403020204" pitchFamily="34" charset="0"/>
                    <a:ea typeface="+mn-ea"/>
                    <a:cs typeface="+mn-cs"/>
                  </a:defRPr>
                </a:lvl1pPr>
                <a:lvl2pPr marL="0" indent="0" algn="l" defTabSz="914400" rtl="0" eaLnBrk="1" latinLnBrk="0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1900"/>
                  </a:spcAft>
                  <a:buFont typeface="Arial" panose="020B0604020202020204" pitchFamily="34" charset="0"/>
                  <a:buNone/>
                  <a:defRPr sz="1400" b="0" i="0" kern="1200">
                    <a:solidFill>
                      <a:schemeClr val="tx1"/>
                    </a:solidFill>
                    <a:latin typeface="Myriad Pro" panose="020B0503030403020204" pitchFamily="34" charset="0"/>
                    <a:ea typeface="+mn-ea"/>
                    <a:cs typeface="+mn-cs"/>
                  </a:defRPr>
                </a:lvl2pPr>
                <a:lvl3pPr marL="0" indent="0" algn="l" defTabSz="914400" rtl="0" eaLnBrk="1" latinLnBrk="0" hangingPunct="1">
                  <a:lnSpc>
                    <a:spcPct val="110000"/>
                  </a:lnSpc>
                  <a:spcBef>
                    <a:spcPts val="0"/>
                  </a:spcBef>
                  <a:buFont typeface="Arial" panose="020B0604020202020204" pitchFamily="34" charset="0"/>
                  <a:buNone/>
                  <a:defRPr sz="1400" b="1" i="0" kern="1200">
                    <a:solidFill>
                      <a:schemeClr val="tx1"/>
                    </a:solidFill>
                    <a:latin typeface="Myriad Pro" panose="020B0503030403020204" pitchFamily="34" charset="0"/>
                    <a:ea typeface="+mn-ea"/>
                    <a:cs typeface="+mn-cs"/>
                  </a:defRPr>
                </a:lvl3pPr>
                <a:lvl4pPr marL="180000" indent="-180000" algn="l" defTabSz="914400" rtl="0" eaLnBrk="1" latinLnBrk="0" hangingPunct="1">
                  <a:lnSpc>
                    <a:spcPct val="110000"/>
                  </a:lnSpc>
                  <a:spcBef>
                    <a:spcPts val="0"/>
                  </a:spcBef>
                  <a:buClr>
                    <a:schemeClr val="accent1"/>
                  </a:buClr>
                  <a:buFont typeface="Wingdings" panose="05000000000000000000" pitchFamily="2" charset="2"/>
                  <a:buChar char="§"/>
                  <a:defRPr sz="1400" b="0" i="0" kern="1200">
                    <a:solidFill>
                      <a:schemeClr val="tx1"/>
                    </a:solidFill>
                    <a:latin typeface="Myriad Pro" panose="020B0503030403020204" pitchFamily="34" charset="0"/>
                    <a:ea typeface="+mn-ea"/>
                    <a:cs typeface="+mn-cs"/>
                  </a:defRPr>
                </a:lvl4pPr>
                <a:lvl5pPr marL="360000" indent="-180000" algn="l" defTabSz="914400" rtl="0" eaLnBrk="1" latinLnBrk="0" hangingPunct="1">
                  <a:lnSpc>
                    <a:spcPct val="110000"/>
                  </a:lnSpc>
                  <a:spcBef>
                    <a:spcPts val="0"/>
                  </a:spcBef>
                  <a:buClr>
                    <a:schemeClr val="bg2"/>
                  </a:buClr>
                  <a:buFont typeface="Wingdings" panose="05000000000000000000" pitchFamily="2" charset="2"/>
                  <a:buChar char="§"/>
                  <a:defRPr sz="1400" b="0" i="0" kern="1200">
                    <a:solidFill>
                      <a:schemeClr val="tx1"/>
                    </a:solidFill>
                    <a:latin typeface="Myriad Pro" panose="020B0503030403020204" pitchFamily="34" charset="0"/>
                    <a:ea typeface="+mn-ea"/>
                    <a:cs typeface="+mn-cs"/>
                  </a:defRPr>
                </a:lvl5pPr>
                <a:lvl6pPr marL="540000" indent="-180000" algn="l" defTabSz="914400" rtl="0" eaLnBrk="1" latinLnBrk="0" hangingPunct="1">
                  <a:lnSpc>
                    <a:spcPct val="110000"/>
                  </a:lnSpc>
                  <a:spcBef>
                    <a:spcPts val="0"/>
                  </a:spcBef>
                  <a:buClr>
                    <a:schemeClr val="bg2"/>
                  </a:buClr>
                  <a:buFont typeface="Wingdings" panose="05000000000000000000" pitchFamily="2" charset="2"/>
                  <a:buChar char="§"/>
                  <a:defRPr sz="1400" b="0" i="0" kern="1200">
                    <a:solidFill>
                      <a:schemeClr val="tx1"/>
                    </a:solidFill>
                    <a:latin typeface="Myriad Pro" panose="020B0503030403020204" pitchFamily="34" charset="0"/>
                    <a:ea typeface="+mn-ea"/>
                    <a:cs typeface="+mn-cs"/>
                  </a:defRPr>
                </a:lvl6pPr>
                <a:lvl7pPr marL="216000" indent="-216000" algn="l" defTabSz="914400" rtl="0" eaLnBrk="1" latinLnBrk="0" hangingPunct="1">
                  <a:lnSpc>
                    <a:spcPct val="110000"/>
                  </a:lnSpc>
                  <a:spcBef>
                    <a:spcPts val="0"/>
                  </a:spcBef>
                  <a:buClr>
                    <a:schemeClr val="accent1"/>
                  </a:buClr>
                  <a:buFont typeface="+mj-lt"/>
                  <a:buAutoNum type="arabicPeriod"/>
                  <a:defRPr sz="1400" b="0" i="0" kern="1200">
                    <a:solidFill>
                      <a:schemeClr val="tx1"/>
                    </a:solidFill>
                    <a:latin typeface="Myriad Pro" panose="020B0503030403020204" pitchFamily="34" charset="0"/>
                    <a:ea typeface="+mn-ea"/>
                    <a:cs typeface="+mn-cs"/>
                  </a:defRPr>
                </a:lvl7pPr>
                <a:lvl8pPr marL="432000" indent="-216000" algn="l" defTabSz="914400" rtl="0" eaLnBrk="1" latinLnBrk="0" hangingPunct="1">
                  <a:lnSpc>
                    <a:spcPct val="110000"/>
                  </a:lnSpc>
                  <a:spcBef>
                    <a:spcPts val="0"/>
                  </a:spcBef>
                  <a:buClr>
                    <a:schemeClr val="bg2"/>
                  </a:buClr>
                  <a:buFont typeface="+mj-lt"/>
                  <a:buAutoNum type="alphaLcParenR"/>
                  <a:defRPr sz="1400" b="0" i="0" kern="1200">
                    <a:solidFill>
                      <a:schemeClr val="tx1"/>
                    </a:solidFill>
                    <a:latin typeface="Myriad Pro" panose="020B0503030403020204" pitchFamily="34" charset="0"/>
                    <a:ea typeface="+mn-ea"/>
                    <a:cs typeface="+mn-cs"/>
                  </a:defRPr>
                </a:lvl8pPr>
                <a:lvl9pPr marL="648000" indent="-216000" algn="l" defTabSz="914400" rtl="0" eaLnBrk="1" latinLnBrk="0" hangingPunct="1">
                  <a:lnSpc>
                    <a:spcPct val="110000"/>
                  </a:lnSpc>
                  <a:spcBef>
                    <a:spcPts val="0"/>
                  </a:spcBef>
                  <a:buClr>
                    <a:schemeClr val="bg2"/>
                  </a:buClr>
                  <a:buFont typeface="+mj-lt"/>
                  <a:buAutoNum type="romanLcPeriod"/>
                  <a:defRPr sz="1400" b="0" i="0" kern="1200">
                    <a:solidFill>
                      <a:schemeClr val="tx1"/>
                    </a:solidFill>
                    <a:latin typeface="Myriad Pro" panose="020B0503030403020204" pitchFamily="34" charset="0"/>
                    <a:ea typeface="+mn-ea"/>
                    <a:cs typeface="+mn-cs"/>
                  </a:defRPr>
                </a:lvl9pPr>
              </a:lstStyle>
              <a:p>
                <a:pPr lvl="2"/>
                <a:r>
                  <a:rPr lang="de-DE" dirty="0"/>
                  <a:t>RDP, </a:t>
                </a:r>
                <a14:m>
                  <m:oMath xmlns:m="http://schemas.openxmlformats.org/officeDocument/2006/math">
                    <m:r>
                      <a:rPr lang="de-DE" b="1" i="1" smtClean="0">
                        <a:latin typeface="Cambria Math" panose="02040503050406030204" pitchFamily="18" charset="0"/>
                      </a:rPr>
                      <m:t>𝝐</m:t>
                    </m:r>
                    <m:r>
                      <a:rPr lang="de-DE" b="1" i="1" smtClean="0">
                        <a:latin typeface="Cambria Math" panose="02040503050406030204" pitchFamily="18" charset="0"/>
                      </a:rPr>
                      <m:t>=</m:t>
                    </m:r>
                    <m:r>
                      <a:rPr lang="de-DE" b="1" i="1" smtClean="0">
                        <a:latin typeface="Cambria Math" panose="02040503050406030204" pitchFamily="18" charset="0"/>
                      </a:rPr>
                      <m:t>𝟓</m:t>
                    </m:r>
                  </m:oMath>
                </a14:m>
                <a:r>
                  <a:rPr lang="de-DE" dirty="0"/>
                  <a:t>, 47 Vertices</a:t>
                </a:r>
              </a:p>
            </p:txBody>
          </p:sp>
        </mc:Choice>
        <mc:Fallback xmlns="">
          <p:sp>
            <p:nvSpPr>
              <p:cNvPr id="20" name="Textplatzhalter 12">
                <a:extLst>
                  <a:ext uri="{FF2B5EF4-FFF2-40B4-BE49-F238E27FC236}">
                    <a16:creationId xmlns:a16="http://schemas.microsoft.com/office/drawing/2014/main" id="{701BFB3B-DC76-69E6-6F63-3B324FE32DAE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gray">
              <a:xfrm>
                <a:off x="7083940" y="3328855"/>
                <a:ext cx="2172107" cy="218393"/>
              </a:xfrm>
              <a:prstGeom prst="rect">
                <a:avLst/>
              </a:prstGeom>
              <a:blipFill>
                <a:blip r:embed="rId8"/>
                <a:stretch>
                  <a:fillRect l="-5056" t="-25000" b="-47222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1" name="Textplatzhalter 12">
                <a:extLst>
                  <a:ext uri="{FF2B5EF4-FFF2-40B4-BE49-F238E27FC236}">
                    <a16:creationId xmlns:a16="http://schemas.microsoft.com/office/drawing/2014/main" id="{A05B5042-A23B-B51A-D67A-A0D790BE267C}"/>
                  </a:ext>
                </a:extLst>
              </p:cNvPr>
              <p:cNvSpPr txBox="1">
                <a:spLocks/>
              </p:cNvSpPr>
              <p:nvPr/>
            </p:nvSpPr>
            <p:spPr bwMode="gray">
              <a:xfrm>
                <a:off x="499183" y="3323388"/>
                <a:ext cx="2172107" cy="218393"/>
              </a:xfrm>
              <a:prstGeom prst="rect">
                <a:avLst/>
              </a:prstGeom>
            </p:spPr>
            <p:txBody>
              <a:bodyPr vert="horz" wrap="square" lIns="0" tIns="0" rIns="0" bIns="0" rtlCol="0">
                <a:spAutoFit/>
              </a:bodyPr>
              <a:lstStyle>
                <a:lvl1pPr marL="0" indent="0" algn="l" defTabSz="914400" rtl="0" eaLnBrk="1" latinLnBrk="0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1900"/>
                  </a:spcAft>
                  <a:buFont typeface="Arial" panose="020B0604020202020204" pitchFamily="34" charset="0"/>
                  <a:buNone/>
                  <a:defRPr sz="1600" b="1" i="0" kern="1200">
                    <a:solidFill>
                      <a:schemeClr val="accent1"/>
                    </a:solidFill>
                    <a:latin typeface="Myriad Pro" panose="020B0503030403020204" pitchFamily="34" charset="0"/>
                    <a:ea typeface="+mn-ea"/>
                    <a:cs typeface="+mn-cs"/>
                  </a:defRPr>
                </a:lvl1pPr>
                <a:lvl2pPr marL="0" indent="0" algn="l" defTabSz="914400" rtl="0" eaLnBrk="1" latinLnBrk="0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1900"/>
                  </a:spcAft>
                  <a:buFont typeface="Arial" panose="020B0604020202020204" pitchFamily="34" charset="0"/>
                  <a:buNone/>
                  <a:defRPr sz="1400" b="0" i="0" kern="1200">
                    <a:solidFill>
                      <a:schemeClr val="tx1"/>
                    </a:solidFill>
                    <a:latin typeface="Myriad Pro" panose="020B0503030403020204" pitchFamily="34" charset="0"/>
                    <a:ea typeface="+mn-ea"/>
                    <a:cs typeface="+mn-cs"/>
                  </a:defRPr>
                </a:lvl2pPr>
                <a:lvl3pPr marL="0" indent="0" algn="l" defTabSz="914400" rtl="0" eaLnBrk="1" latinLnBrk="0" hangingPunct="1">
                  <a:lnSpc>
                    <a:spcPct val="110000"/>
                  </a:lnSpc>
                  <a:spcBef>
                    <a:spcPts val="0"/>
                  </a:spcBef>
                  <a:buFont typeface="Arial" panose="020B0604020202020204" pitchFamily="34" charset="0"/>
                  <a:buNone/>
                  <a:defRPr sz="1400" b="1" i="0" kern="1200">
                    <a:solidFill>
                      <a:schemeClr val="tx1"/>
                    </a:solidFill>
                    <a:latin typeface="Myriad Pro" panose="020B0503030403020204" pitchFamily="34" charset="0"/>
                    <a:ea typeface="+mn-ea"/>
                    <a:cs typeface="+mn-cs"/>
                  </a:defRPr>
                </a:lvl3pPr>
                <a:lvl4pPr marL="180000" indent="-180000" algn="l" defTabSz="914400" rtl="0" eaLnBrk="1" latinLnBrk="0" hangingPunct="1">
                  <a:lnSpc>
                    <a:spcPct val="110000"/>
                  </a:lnSpc>
                  <a:spcBef>
                    <a:spcPts val="0"/>
                  </a:spcBef>
                  <a:buClr>
                    <a:schemeClr val="accent1"/>
                  </a:buClr>
                  <a:buFont typeface="Wingdings" panose="05000000000000000000" pitchFamily="2" charset="2"/>
                  <a:buChar char="§"/>
                  <a:defRPr sz="1400" b="0" i="0" kern="1200">
                    <a:solidFill>
                      <a:schemeClr val="tx1"/>
                    </a:solidFill>
                    <a:latin typeface="Myriad Pro" panose="020B0503030403020204" pitchFamily="34" charset="0"/>
                    <a:ea typeface="+mn-ea"/>
                    <a:cs typeface="+mn-cs"/>
                  </a:defRPr>
                </a:lvl4pPr>
                <a:lvl5pPr marL="360000" indent="-180000" algn="l" defTabSz="914400" rtl="0" eaLnBrk="1" latinLnBrk="0" hangingPunct="1">
                  <a:lnSpc>
                    <a:spcPct val="110000"/>
                  </a:lnSpc>
                  <a:spcBef>
                    <a:spcPts val="0"/>
                  </a:spcBef>
                  <a:buClr>
                    <a:schemeClr val="bg2"/>
                  </a:buClr>
                  <a:buFont typeface="Wingdings" panose="05000000000000000000" pitchFamily="2" charset="2"/>
                  <a:buChar char="§"/>
                  <a:defRPr sz="1400" b="0" i="0" kern="1200">
                    <a:solidFill>
                      <a:schemeClr val="tx1"/>
                    </a:solidFill>
                    <a:latin typeface="Myriad Pro" panose="020B0503030403020204" pitchFamily="34" charset="0"/>
                    <a:ea typeface="+mn-ea"/>
                    <a:cs typeface="+mn-cs"/>
                  </a:defRPr>
                </a:lvl5pPr>
                <a:lvl6pPr marL="540000" indent="-180000" algn="l" defTabSz="914400" rtl="0" eaLnBrk="1" latinLnBrk="0" hangingPunct="1">
                  <a:lnSpc>
                    <a:spcPct val="110000"/>
                  </a:lnSpc>
                  <a:spcBef>
                    <a:spcPts val="0"/>
                  </a:spcBef>
                  <a:buClr>
                    <a:schemeClr val="bg2"/>
                  </a:buClr>
                  <a:buFont typeface="Wingdings" panose="05000000000000000000" pitchFamily="2" charset="2"/>
                  <a:buChar char="§"/>
                  <a:defRPr sz="1400" b="0" i="0" kern="1200">
                    <a:solidFill>
                      <a:schemeClr val="tx1"/>
                    </a:solidFill>
                    <a:latin typeface="Myriad Pro" panose="020B0503030403020204" pitchFamily="34" charset="0"/>
                    <a:ea typeface="+mn-ea"/>
                    <a:cs typeface="+mn-cs"/>
                  </a:defRPr>
                </a:lvl6pPr>
                <a:lvl7pPr marL="216000" indent="-216000" algn="l" defTabSz="914400" rtl="0" eaLnBrk="1" latinLnBrk="0" hangingPunct="1">
                  <a:lnSpc>
                    <a:spcPct val="110000"/>
                  </a:lnSpc>
                  <a:spcBef>
                    <a:spcPts val="0"/>
                  </a:spcBef>
                  <a:buClr>
                    <a:schemeClr val="accent1"/>
                  </a:buClr>
                  <a:buFont typeface="+mj-lt"/>
                  <a:buAutoNum type="arabicPeriod"/>
                  <a:defRPr sz="1400" b="0" i="0" kern="1200">
                    <a:solidFill>
                      <a:schemeClr val="tx1"/>
                    </a:solidFill>
                    <a:latin typeface="Myriad Pro" panose="020B0503030403020204" pitchFamily="34" charset="0"/>
                    <a:ea typeface="+mn-ea"/>
                    <a:cs typeface="+mn-cs"/>
                  </a:defRPr>
                </a:lvl7pPr>
                <a:lvl8pPr marL="432000" indent="-216000" algn="l" defTabSz="914400" rtl="0" eaLnBrk="1" latinLnBrk="0" hangingPunct="1">
                  <a:lnSpc>
                    <a:spcPct val="110000"/>
                  </a:lnSpc>
                  <a:spcBef>
                    <a:spcPts val="0"/>
                  </a:spcBef>
                  <a:buClr>
                    <a:schemeClr val="bg2"/>
                  </a:buClr>
                  <a:buFont typeface="+mj-lt"/>
                  <a:buAutoNum type="alphaLcParenR"/>
                  <a:defRPr sz="1400" b="0" i="0" kern="1200">
                    <a:solidFill>
                      <a:schemeClr val="tx1"/>
                    </a:solidFill>
                    <a:latin typeface="Myriad Pro" panose="020B0503030403020204" pitchFamily="34" charset="0"/>
                    <a:ea typeface="+mn-ea"/>
                    <a:cs typeface="+mn-cs"/>
                  </a:defRPr>
                </a:lvl8pPr>
                <a:lvl9pPr marL="648000" indent="-216000" algn="l" defTabSz="914400" rtl="0" eaLnBrk="1" latinLnBrk="0" hangingPunct="1">
                  <a:lnSpc>
                    <a:spcPct val="110000"/>
                  </a:lnSpc>
                  <a:spcBef>
                    <a:spcPts val="0"/>
                  </a:spcBef>
                  <a:buClr>
                    <a:schemeClr val="bg2"/>
                  </a:buClr>
                  <a:buFont typeface="+mj-lt"/>
                  <a:buAutoNum type="romanLcPeriod"/>
                  <a:defRPr sz="1400" b="0" i="0" kern="1200">
                    <a:solidFill>
                      <a:schemeClr val="tx1"/>
                    </a:solidFill>
                    <a:latin typeface="Myriad Pro" panose="020B0503030403020204" pitchFamily="34" charset="0"/>
                    <a:ea typeface="+mn-ea"/>
                    <a:cs typeface="+mn-cs"/>
                  </a:defRPr>
                </a:lvl9pPr>
              </a:lstStyle>
              <a:p>
                <a:pPr lvl="2"/>
                <a:r>
                  <a:rPr lang="de-DE" dirty="0"/>
                  <a:t>RDP, </a:t>
                </a:r>
                <a14:m>
                  <m:oMath xmlns:m="http://schemas.openxmlformats.org/officeDocument/2006/math">
                    <m:r>
                      <a:rPr lang="de-DE" b="1" i="1" smtClean="0">
                        <a:latin typeface="Cambria Math" panose="02040503050406030204" pitchFamily="18" charset="0"/>
                      </a:rPr>
                      <m:t>𝝐</m:t>
                    </m:r>
                    <m:r>
                      <a:rPr lang="de-DE" b="1" i="1" smtClean="0">
                        <a:latin typeface="Cambria Math" panose="02040503050406030204" pitchFamily="18" charset="0"/>
                      </a:rPr>
                      <m:t>=</m:t>
                    </m:r>
                    <m:r>
                      <a:rPr lang="de-DE" b="1" i="1" smtClean="0">
                        <a:latin typeface="Cambria Math" panose="02040503050406030204" pitchFamily="18" charset="0"/>
                      </a:rPr>
                      <m:t>𝟎</m:t>
                    </m:r>
                  </m:oMath>
                </a14:m>
                <a:r>
                  <a:rPr lang="de-DE" dirty="0"/>
                  <a:t>, 814 Vertices</a:t>
                </a:r>
              </a:p>
            </p:txBody>
          </p:sp>
        </mc:Choice>
        <mc:Fallback xmlns="">
          <p:sp>
            <p:nvSpPr>
              <p:cNvPr id="21" name="Textplatzhalter 12">
                <a:extLst>
                  <a:ext uri="{FF2B5EF4-FFF2-40B4-BE49-F238E27FC236}">
                    <a16:creationId xmlns:a16="http://schemas.microsoft.com/office/drawing/2014/main" id="{A05B5042-A23B-B51A-D67A-A0D790BE267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gray">
              <a:xfrm>
                <a:off x="499183" y="3323388"/>
                <a:ext cx="2172107" cy="218393"/>
              </a:xfrm>
              <a:prstGeom prst="rect">
                <a:avLst/>
              </a:prstGeom>
              <a:blipFill>
                <a:blip r:embed="rId9"/>
                <a:stretch>
                  <a:fillRect l="-5056" t="-25000" b="-47222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5" name="Textplatzhalter 12">
                <a:extLst>
                  <a:ext uri="{FF2B5EF4-FFF2-40B4-BE49-F238E27FC236}">
                    <a16:creationId xmlns:a16="http://schemas.microsoft.com/office/drawing/2014/main" id="{FC8D7078-1017-8885-8FF0-6C0ECBE390C1}"/>
                  </a:ext>
                </a:extLst>
              </p:cNvPr>
              <p:cNvSpPr txBox="1">
                <a:spLocks/>
              </p:cNvSpPr>
              <p:nvPr/>
            </p:nvSpPr>
            <p:spPr bwMode="gray">
              <a:xfrm>
                <a:off x="3770577" y="5538970"/>
                <a:ext cx="2172107" cy="218393"/>
              </a:xfrm>
              <a:prstGeom prst="rect">
                <a:avLst/>
              </a:prstGeom>
            </p:spPr>
            <p:txBody>
              <a:bodyPr vert="horz" wrap="square" lIns="0" tIns="0" rIns="0" bIns="0" rtlCol="0">
                <a:spAutoFit/>
              </a:bodyPr>
              <a:lstStyle>
                <a:lvl1pPr marL="0" indent="0" algn="l" defTabSz="914400" rtl="0" eaLnBrk="1" latinLnBrk="0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1900"/>
                  </a:spcAft>
                  <a:buFont typeface="Arial" panose="020B0604020202020204" pitchFamily="34" charset="0"/>
                  <a:buNone/>
                  <a:defRPr sz="1600" b="1" i="0" kern="1200">
                    <a:solidFill>
                      <a:schemeClr val="accent1"/>
                    </a:solidFill>
                    <a:latin typeface="Myriad Pro" panose="020B0503030403020204" pitchFamily="34" charset="0"/>
                    <a:ea typeface="+mn-ea"/>
                    <a:cs typeface="+mn-cs"/>
                  </a:defRPr>
                </a:lvl1pPr>
                <a:lvl2pPr marL="0" indent="0" algn="l" defTabSz="914400" rtl="0" eaLnBrk="1" latinLnBrk="0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1900"/>
                  </a:spcAft>
                  <a:buFont typeface="Arial" panose="020B0604020202020204" pitchFamily="34" charset="0"/>
                  <a:buNone/>
                  <a:defRPr sz="1400" b="0" i="0" kern="1200">
                    <a:solidFill>
                      <a:schemeClr val="tx1"/>
                    </a:solidFill>
                    <a:latin typeface="Myriad Pro" panose="020B0503030403020204" pitchFamily="34" charset="0"/>
                    <a:ea typeface="+mn-ea"/>
                    <a:cs typeface="+mn-cs"/>
                  </a:defRPr>
                </a:lvl2pPr>
                <a:lvl3pPr marL="0" indent="0" algn="l" defTabSz="914400" rtl="0" eaLnBrk="1" latinLnBrk="0" hangingPunct="1">
                  <a:lnSpc>
                    <a:spcPct val="110000"/>
                  </a:lnSpc>
                  <a:spcBef>
                    <a:spcPts val="0"/>
                  </a:spcBef>
                  <a:buFont typeface="Arial" panose="020B0604020202020204" pitchFamily="34" charset="0"/>
                  <a:buNone/>
                  <a:defRPr sz="1400" b="1" i="0" kern="1200">
                    <a:solidFill>
                      <a:schemeClr val="tx1"/>
                    </a:solidFill>
                    <a:latin typeface="Myriad Pro" panose="020B0503030403020204" pitchFamily="34" charset="0"/>
                    <a:ea typeface="+mn-ea"/>
                    <a:cs typeface="+mn-cs"/>
                  </a:defRPr>
                </a:lvl3pPr>
                <a:lvl4pPr marL="180000" indent="-180000" algn="l" defTabSz="914400" rtl="0" eaLnBrk="1" latinLnBrk="0" hangingPunct="1">
                  <a:lnSpc>
                    <a:spcPct val="110000"/>
                  </a:lnSpc>
                  <a:spcBef>
                    <a:spcPts val="0"/>
                  </a:spcBef>
                  <a:buClr>
                    <a:schemeClr val="accent1"/>
                  </a:buClr>
                  <a:buFont typeface="Wingdings" panose="05000000000000000000" pitchFamily="2" charset="2"/>
                  <a:buChar char="§"/>
                  <a:defRPr sz="1400" b="0" i="0" kern="1200">
                    <a:solidFill>
                      <a:schemeClr val="tx1"/>
                    </a:solidFill>
                    <a:latin typeface="Myriad Pro" panose="020B0503030403020204" pitchFamily="34" charset="0"/>
                    <a:ea typeface="+mn-ea"/>
                    <a:cs typeface="+mn-cs"/>
                  </a:defRPr>
                </a:lvl4pPr>
                <a:lvl5pPr marL="360000" indent="-180000" algn="l" defTabSz="914400" rtl="0" eaLnBrk="1" latinLnBrk="0" hangingPunct="1">
                  <a:lnSpc>
                    <a:spcPct val="110000"/>
                  </a:lnSpc>
                  <a:spcBef>
                    <a:spcPts val="0"/>
                  </a:spcBef>
                  <a:buClr>
                    <a:schemeClr val="bg2"/>
                  </a:buClr>
                  <a:buFont typeface="Wingdings" panose="05000000000000000000" pitchFamily="2" charset="2"/>
                  <a:buChar char="§"/>
                  <a:defRPr sz="1400" b="0" i="0" kern="1200">
                    <a:solidFill>
                      <a:schemeClr val="tx1"/>
                    </a:solidFill>
                    <a:latin typeface="Myriad Pro" panose="020B0503030403020204" pitchFamily="34" charset="0"/>
                    <a:ea typeface="+mn-ea"/>
                    <a:cs typeface="+mn-cs"/>
                  </a:defRPr>
                </a:lvl5pPr>
                <a:lvl6pPr marL="540000" indent="-180000" algn="l" defTabSz="914400" rtl="0" eaLnBrk="1" latinLnBrk="0" hangingPunct="1">
                  <a:lnSpc>
                    <a:spcPct val="110000"/>
                  </a:lnSpc>
                  <a:spcBef>
                    <a:spcPts val="0"/>
                  </a:spcBef>
                  <a:buClr>
                    <a:schemeClr val="bg2"/>
                  </a:buClr>
                  <a:buFont typeface="Wingdings" panose="05000000000000000000" pitchFamily="2" charset="2"/>
                  <a:buChar char="§"/>
                  <a:defRPr sz="1400" b="0" i="0" kern="1200">
                    <a:solidFill>
                      <a:schemeClr val="tx1"/>
                    </a:solidFill>
                    <a:latin typeface="Myriad Pro" panose="020B0503030403020204" pitchFamily="34" charset="0"/>
                    <a:ea typeface="+mn-ea"/>
                    <a:cs typeface="+mn-cs"/>
                  </a:defRPr>
                </a:lvl6pPr>
                <a:lvl7pPr marL="216000" indent="-216000" algn="l" defTabSz="914400" rtl="0" eaLnBrk="1" latinLnBrk="0" hangingPunct="1">
                  <a:lnSpc>
                    <a:spcPct val="110000"/>
                  </a:lnSpc>
                  <a:spcBef>
                    <a:spcPts val="0"/>
                  </a:spcBef>
                  <a:buClr>
                    <a:schemeClr val="accent1"/>
                  </a:buClr>
                  <a:buFont typeface="+mj-lt"/>
                  <a:buAutoNum type="arabicPeriod"/>
                  <a:defRPr sz="1400" b="0" i="0" kern="1200">
                    <a:solidFill>
                      <a:schemeClr val="tx1"/>
                    </a:solidFill>
                    <a:latin typeface="Myriad Pro" panose="020B0503030403020204" pitchFamily="34" charset="0"/>
                    <a:ea typeface="+mn-ea"/>
                    <a:cs typeface="+mn-cs"/>
                  </a:defRPr>
                </a:lvl7pPr>
                <a:lvl8pPr marL="432000" indent="-216000" algn="l" defTabSz="914400" rtl="0" eaLnBrk="1" latinLnBrk="0" hangingPunct="1">
                  <a:lnSpc>
                    <a:spcPct val="110000"/>
                  </a:lnSpc>
                  <a:spcBef>
                    <a:spcPts val="0"/>
                  </a:spcBef>
                  <a:buClr>
                    <a:schemeClr val="bg2"/>
                  </a:buClr>
                  <a:buFont typeface="+mj-lt"/>
                  <a:buAutoNum type="alphaLcParenR"/>
                  <a:defRPr sz="1400" b="0" i="0" kern="1200">
                    <a:solidFill>
                      <a:schemeClr val="tx1"/>
                    </a:solidFill>
                    <a:latin typeface="Myriad Pro" panose="020B0503030403020204" pitchFamily="34" charset="0"/>
                    <a:ea typeface="+mn-ea"/>
                    <a:cs typeface="+mn-cs"/>
                  </a:defRPr>
                </a:lvl8pPr>
                <a:lvl9pPr marL="648000" indent="-216000" algn="l" defTabSz="914400" rtl="0" eaLnBrk="1" latinLnBrk="0" hangingPunct="1">
                  <a:lnSpc>
                    <a:spcPct val="110000"/>
                  </a:lnSpc>
                  <a:spcBef>
                    <a:spcPts val="0"/>
                  </a:spcBef>
                  <a:buClr>
                    <a:schemeClr val="bg2"/>
                  </a:buClr>
                  <a:buFont typeface="+mj-lt"/>
                  <a:buAutoNum type="romanLcPeriod"/>
                  <a:defRPr sz="1400" b="0" i="0" kern="1200">
                    <a:solidFill>
                      <a:schemeClr val="tx1"/>
                    </a:solidFill>
                    <a:latin typeface="Myriad Pro" panose="020B0503030403020204" pitchFamily="34" charset="0"/>
                    <a:ea typeface="+mn-ea"/>
                    <a:cs typeface="+mn-cs"/>
                  </a:defRPr>
                </a:lvl9pPr>
              </a:lstStyle>
              <a:p>
                <a:pPr lvl="2"/>
                <a:r>
                  <a:rPr lang="de-DE" dirty="0"/>
                  <a:t>RDP, </a:t>
                </a:r>
                <a14:m>
                  <m:oMath xmlns:m="http://schemas.openxmlformats.org/officeDocument/2006/math">
                    <m:r>
                      <a:rPr lang="de-DE" b="1" i="1" smtClean="0">
                        <a:latin typeface="Cambria Math" panose="02040503050406030204" pitchFamily="18" charset="0"/>
                      </a:rPr>
                      <m:t>𝝐</m:t>
                    </m:r>
                    <m:r>
                      <a:rPr lang="de-DE" b="1" i="1" smtClean="0">
                        <a:latin typeface="Cambria Math" panose="02040503050406030204" pitchFamily="18" charset="0"/>
                      </a:rPr>
                      <m:t>=</m:t>
                    </m:r>
                    <m:r>
                      <a:rPr lang="de-DE" b="1" i="1" smtClean="0">
                        <a:latin typeface="Cambria Math" panose="02040503050406030204" pitchFamily="18" charset="0"/>
                      </a:rPr>
                      <m:t>𝟐𝟎</m:t>
                    </m:r>
                  </m:oMath>
                </a14:m>
                <a:r>
                  <a:rPr lang="de-DE" dirty="0"/>
                  <a:t>, 22 Vertices</a:t>
                </a:r>
              </a:p>
            </p:txBody>
          </p:sp>
        </mc:Choice>
        <mc:Fallback xmlns="">
          <p:sp>
            <p:nvSpPr>
              <p:cNvPr id="25" name="Textplatzhalter 12">
                <a:extLst>
                  <a:ext uri="{FF2B5EF4-FFF2-40B4-BE49-F238E27FC236}">
                    <a16:creationId xmlns:a16="http://schemas.microsoft.com/office/drawing/2014/main" id="{FC8D7078-1017-8885-8FF0-6C0ECBE390C1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gray">
              <a:xfrm>
                <a:off x="3770577" y="5538970"/>
                <a:ext cx="2172107" cy="218393"/>
              </a:xfrm>
              <a:prstGeom prst="rect">
                <a:avLst/>
              </a:prstGeom>
              <a:blipFill>
                <a:blip r:embed="rId10"/>
                <a:stretch>
                  <a:fillRect l="-5056" t="-28571" b="-51429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6" name="Textplatzhalter 12">
                <a:extLst>
                  <a:ext uri="{FF2B5EF4-FFF2-40B4-BE49-F238E27FC236}">
                    <a16:creationId xmlns:a16="http://schemas.microsoft.com/office/drawing/2014/main" id="{19AB20B0-2FC4-DB4E-1F29-C78F075E56A4}"/>
                  </a:ext>
                </a:extLst>
              </p:cNvPr>
              <p:cNvSpPr txBox="1">
                <a:spLocks/>
              </p:cNvSpPr>
              <p:nvPr/>
            </p:nvSpPr>
            <p:spPr bwMode="gray">
              <a:xfrm>
                <a:off x="7062955" y="5544437"/>
                <a:ext cx="2172107" cy="218393"/>
              </a:xfrm>
              <a:prstGeom prst="rect">
                <a:avLst/>
              </a:prstGeom>
            </p:spPr>
            <p:txBody>
              <a:bodyPr vert="horz" wrap="square" lIns="0" tIns="0" rIns="0" bIns="0" rtlCol="0">
                <a:spAutoFit/>
              </a:bodyPr>
              <a:lstStyle>
                <a:lvl1pPr marL="0" indent="0" algn="l" defTabSz="914400" rtl="0" eaLnBrk="1" latinLnBrk="0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1900"/>
                  </a:spcAft>
                  <a:buFont typeface="Arial" panose="020B0604020202020204" pitchFamily="34" charset="0"/>
                  <a:buNone/>
                  <a:defRPr sz="1600" b="1" i="0" kern="1200">
                    <a:solidFill>
                      <a:schemeClr val="accent1"/>
                    </a:solidFill>
                    <a:latin typeface="Myriad Pro" panose="020B0503030403020204" pitchFamily="34" charset="0"/>
                    <a:ea typeface="+mn-ea"/>
                    <a:cs typeface="+mn-cs"/>
                  </a:defRPr>
                </a:lvl1pPr>
                <a:lvl2pPr marL="0" indent="0" algn="l" defTabSz="914400" rtl="0" eaLnBrk="1" latinLnBrk="0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1900"/>
                  </a:spcAft>
                  <a:buFont typeface="Arial" panose="020B0604020202020204" pitchFamily="34" charset="0"/>
                  <a:buNone/>
                  <a:defRPr sz="1400" b="0" i="0" kern="1200">
                    <a:solidFill>
                      <a:schemeClr val="tx1"/>
                    </a:solidFill>
                    <a:latin typeface="Myriad Pro" panose="020B0503030403020204" pitchFamily="34" charset="0"/>
                    <a:ea typeface="+mn-ea"/>
                    <a:cs typeface="+mn-cs"/>
                  </a:defRPr>
                </a:lvl2pPr>
                <a:lvl3pPr marL="0" indent="0" algn="l" defTabSz="914400" rtl="0" eaLnBrk="1" latinLnBrk="0" hangingPunct="1">
                  <a:lnSpc>
                    <a:spcPct val="110000"/>
                  </a:lnSpc>
                  <a:spcBef>
                    <a:spcPts val="0"/>
                  </a:spcBef>
                  <a:buFont typeface="Arial" panose="020B0604020202020204" pitchFamily="34" charset="0"/>
                  <a:buNone/>
                  <a:defRPr sz="1400" b="1" i="0" kern="1200">
                    <a:solidFill>
                      <a:schemeClr val="tx1"/>
                    </a:solidFill>
                    <a:latin typeface="Myriad Pro" panose="020B0503030403020204" pitchFamily="34" charset="0"/>
                    <a:ea typeface="+mn-ea"/>
                    <a:cs typeface="+mn-cs"/>
                  </a:defRPr>
                </a:lvl3pPr>
                <a:lvl4pPr marL="180000" indent="-180000" algn="l" defTabSz="914400" rtl="0" eaLnBrk="1" latinLnBrk="0" hangingPunct="1">
                  <a:lnSpc>
                    <a:spcPct val="110000"/>
                  </a:lnSpc>
                  <a:spcBef>
                    <a:spcPts val="0"/>
                  </a:spcBef>
                  <a:buClr>
                    <a:schemeClr val="accent1"/>
                  </a:buClr>
                  <a:buFont typeface="Wingdings" panose="05000000000000000000" pitchFamily="2" charset="2"/>
                  <a:buChar char="§"/>
                  <a:defRPr sz="1400" b="0" i="0" kern="1200">
                    <a:solidFill>
                      <a:schemeClr val="tx1"/>
                    </a:solidFill>
                    <a:latin typeface="Myriad Pro" panose="020B0503030403020204" pitchFamily="34" charset="0"/>
                    <a:ea typeface="+mn-ea"/>
                    <a:cs typeface="+mn-cs"/>
                  </a:defRPr>
                </a:lvl4pPr>
                <a:lvl5pPr marL="360000" indent="-180000" algn="l" defTabSz="914400" rtl="0" eaLnBrk="1" latinLnBrk="0" hangingPunct="1">
                  <a:lnSpc>
                    <a:spcPct val="110000"/>
                  </a:lnSpc>
                  <a:spcBef>
                    <a:spcPts val="0"/>
                  </a:spcBef>
                  <a:buClr>
                    <a:schemeClr val="bg2"/>
                  </a:buClr>
                  <a:buFont typeface="Wingdings" panose="05000000000000000000" pitchFamily="2" charset="2"/>
                  <a:buChar char="§"/>
                  <a:defRPr sz="1400" b="0" i="0" kern="1200">
                    <a:solidFill>
                      <a:schemeClr val="tx1"/>
                    </a:solidFill>
                    <a:latin typeface="Myriad Pro" panose="020B0503030403020204" pitchFamily="34" charset="0"/>
                    <a:ea typeface="+mn-ea"/>
                    <a:cs typeface="+mn-cs"/>
                  </a:defRPr>
                </a:lvl5pPr>
                <a:lvl6pPr marL="540000" indent="-180000" algn="l" defTabSz="914400" rtl="0" eaLnBrk="1" latinLnBrk="0" hangingPunct="1">
                  <a:lnSpc>
                    <a:spcPct val="110000"/>
                  </a:lnSpc>
                  <a:spcBef>
                    <a:spcPts val="0"/>
                  </a:spcBef>
                  <a:buClr>
                    <a:schemeClr val="bg2"/>
                  </a:buClr>
                  <a:buFont typeface="Wingdings" panose="05000000000000000000" pitchFamily="2" charset="2"/>
                  <a:buChar char="§"/>
                  <a:defRPr sz="1400" b="0" i="0" kern="1200">
                    <a:solidFill>
                      <a:schemeClr val="tx1"/>
                    </a:solidFill>
                    <a:latin typeface="Myriad Pro" panose="020B0503030403020204" pitchFamily="34" charset="0"/>
                    <a:ea typeface="+mn-ea"/>
                    <a:cs typeface="+mn-cs"/>
                  </a:defRPr>
                </a:lvl6pPr>
                <a:lvl7pPr marL="216000" indent="-216000" algn="l" defTabSz="914400" rtl="0" eaLnBrk="1" latinLnBrk="0" hangingPunct="1">
                  <a:lnSpc>
                    <a:spcPct val="110000"/>
                  </a:lnSpc>
                  <a:spcBef>
                    <a:spcPts val="0"/>
                  </a:spcBef>
                  <a:buClr>
                    <a:schemeClr val="accent1"/>
                  </a:buClr>
                  <a:buFont typeface="+mj-lt"/>
                  <a:buAutoNum type="arabicPeriod"/>
                  <a:defRPr sz="1400" b="0" i="0" kern="1200">
                    <a:solidFill>
                      <a:schemeClr val="tx1"/>
                    </a:solidFill>
                    <a:latin typeface="Myriad Pro" panose="020B0503030403020204" pitchFamily="34" charset="0"/>
                    <a:ea typeface="+mn-ea"/>
                    <a:cs typeface="+mn-cs"/>
                  </a:defRPr>
                </a:lvl7pPr>
                <a:lvl8pPr marL="432000" indent="-216000" algn="l" defTabSz="914400" rtl="0" eaLnBrk="1" latinLnBrk="0" hangingPunct="1">
                  <a:lnSpc>
                    <a:spcPct val="110000"/>
                  </a:lnSpc>
                  <a:spcBef>
                    <a:spcPts val="0"/>
                  </a:spcBef>
                  <a:buClr>
                    <a:schemeClr val="bg2"/>
                  </a:buClr>
                  <a:buFont typeface="+mj-lt"/>
                  <a:buAutoNum type="alphaLcParenR"/>
                  <a:defRPr sz="1400" b="0" i="0" kern="1200">
                    <a:solidFill>
                      <a:schemeClr val="tx1"/>
                    </a:solidFill>
                    <a:latin typeface="Myriad Pro" panose="020B0503030403020204" pitchFamily="34" charset="0"/>
                    <a:ea typeface="+mn-ea"/>
                    <a:cs typeface="+mn-cs"/>
                  </a:defRPr>
                </a:lvl8pPr>
                <a:lvl9pPr marL="648000" indent="-216000" algn="l" defTabSz="914400" rtl="0" eaLnBrk="1" latinLnBrk="0" hangingPunct="1">
                  <a:lnSpc>
                    <a:spcPct val="110000"/>
                  </a:lnSpc>
                  <a:spcBef>
                    <a:spcPts val="0"/>
                  </a:spcBef>
                  <a:buClr>
                    <a:schemeClr val="bg2"/>
                  </a:buClr>
                  <a:buFont typeface="+mj-lt"/>
                  <a:buAutoNum type="romanLcPeriod"/>
                  <a:defRPr sz="1400" b="0" i="0" kern="1200">
                    <a:solidFill>
                      <a:schemeClr val="tx1"/>
                    </a:solidFill>
                    <a:latin typeface="Myriad Pro" panose="020B0503030403020204" pitchFamily="34" charset="0"/>
                    <a:ea typeface="+mn-ea"/>
                    <a:cs typeface="+mn-cs"/>
                  </a:defRPr>
                </a:lvl9pPr>
              </a:lstStyle>
              <a:p>
                <a:pPr lvl="2"/>
                <a:r>
                  <a:rPr lang="de-DE" dirty="0"/>
                  <a:t>RDP, </a:t>
                </a:r>
                <a14:m>
                  <m:oMath xmlns:m="http://schemas.openxmlformats.org/officeDocument/2006/math">
                    <m:r>
                      <a:rPr lang="de-DE" b="1" i="1" smtClean="0">
                        <a:latin typeface="Cambria Math" panose="02040503050406030204" pitchFamily="18" charset="0"/>
                      </a:rPr>
                      <m:t>𝝐</m:t>
                    </m:r>
                    <m:r>
                      <a:rPr lang="de-DE" b="1" i="1" smtClean="0">
                        <a:latin typeface="Cambria Math" panose="02040503050406030204" pitchFamily="18" charset="0"/>
                      </a:rPr>
                      <m:t>=</m:t>
                    </m:r>
                    <m:r>
                      <a:rPr lang="de-DE" b="1" i="1" smtClean="0">
                        <a:latin typeface="Cambria Math" panose="02040503050406030204" pitchFamily="18" charset="0"/>
                      </a:rPr>
                      <m:t>𝟓𝟎</m:t>
                    </m:r>
                  </m:oMath>
                </a14:m>
                <a:r>
                  <a:rPr lang="de-DE" dirty="0"/>
                  <a:t>, 15 Vertices</a:t>
                </a:r>
              </a:p>
            </p:txBody>
          </p:sp>
        </mc:Choice>
        <mc:Fallback xmlns="">
          <p:sp>
            <p:nvSpPr>
              <p:cNvPr id="26" name="Textplatzhalter 12">
                <a:extLst>
                  <a:ext uri="{FF2B5EF4-FFF2-40B4-BE49-F238E27FC236}">
                    <a16:creationId xmlns:a16="http://schemas.microsoft.com/office/drawing/2014/main" id="{19AB20B0-2FC4-DB4E-1F29-C78F075E56A4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gray">
              <a:xfrm>
                <a:off x="7062955" y="5544437"/>
                <a:ext cx="2172107" cy="218393"/>
              </a:xfrm>
              <a:prstGeom prst="rect">
                <a:avLst/>
              </a:prstGeom>
              <a:blipFill>
                <a:blip r:embed="rId11"/>
                <a:stretch>
                  <a:fillRect l="-5056" t="-28571" b="-51429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7" name="Textplatzhalter 12">
                <a:extLst>
                  <a:ext uri="{FF2B5EF4-FFF2-40B4-BE49-F238E27FC236}">
                    <a16:creationId xmlns:a16="http://schemas.microsoft.com/office/drawing/2014/main" id="{4020BCA8-9880-FF87-D150-E51BCEA1B74F}"/>
                  </a:ext>
                </a:extLst>
              </p:cNvPr>
              <p:cNvSpPr txBox="1">
                <a:spLocks/>
              </p:cNvSpPr>
              <p:nvPr/>
            </p:nvSpPr>
            <p:spPr bwMode="gray">
              <a:xfrm>
                <a:off x="478198" y="5538970"/>
                <a:ext cx="2172107" cy="218393"/>
              </a:xfrm>
              <a:prstGeom prst="rect">
                <a:avLst/>
              </a:prstGeom>
            </p:spPr>
            <p:txBody>
              <a:bodyPr vert="horz" wrap="square" lIns="0" tIns="0" rIns="0" bIns="0" rtlCol="0">
                <a:spAutoFit/>
              </a:bodyPr>
              <a:lstStyle>
                <a:lvl1pPr marL="0" indent="0" algn="l" defTabSz="914400" rtl="0" eaLnBrk="1" latinLnBrk="0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1900"/>
                  </a:spcAft>
                  <a:buFont typeface="Arial" panose="020B0604020202020204" pitchFamily="34" charset="0"/>
                  <a:buNone/>
                  <a:defRPr sz="1600" b="1" i="0" kern="1200">
                    <a:solidFill>
                      <a:schemeClr val="accent1"/>
                    </a:solidFill>
                    <a:latin typeface="Myriad Pro" panose="020B0503030403020204" pitchFamily="34" charset="0"/>
                    <a:ea typeface="+mn-ea"/>
                    <a:cs typeface="+mn-cs"/>
                  </a:defRPr>
                </a:lvl1pPr>
                <a:lvl2pPr marL="0" indent="0" algn="l" defTabSz="914400" rtl="0" eaLnBrk="1" latinLnBrk="0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1900"/>
                  </a:spcAft>
                  <a:buFont typeface="Arial" panose="020B0604020202020204" pitchFamily="34" charset="0"/>
                  <a:buNone/>
                  <a:defRPr sz="1400" b="0" i="0" kern="1200">
                    <a:solidFill>
                      <a:schemeClr val="tx1"/>
                    </a:solidFill>
                    <a:latin typeface="Myriad Pro" panose="020B0503030403020204" pitchFamily="34" charset="0"/>
                    <a:ea typeface="+mn-ea"/>
                    <a:cs typeface="+mn-cs"/>
                  </a:defRPr>
                </a:lvl2pPr>
                <a:lvl3pPr marL="0" indent="0" algn="l" defTabSz="914400" rtl="0" eaLnBrk="1" latinLnBrk="0" hangingPunct="1">
                  <a:lnSpc>
                    <a:spcPct val="110000"/>
                  </a:lnSpc>
                  <a:spcBef>
                    <a:spcPts val="0"/>
                  </a:spcBef>
                  <a:buFont typeface="Arial" panose="020B0604020202020204" pitchFamily="34" charset="0"/>
                  <a:buNone/>
                  <a:defRPr sz="1400" b="1" i="0" kern="1200">
                    <a:solidFill>
                      <a:schemeClr val="tx1"/>
                    </a:solidFill>
                    <a:latin typeface="Myriad Pro" panose="020B0503030403020204" pitchFamily="34" charset="0"/>
                    <a:ea typeface="+mn-ea"/>
                    <a:cs typeface="+mn-cs"/>
                  </a:defRPr>
                </a:lvl3pPr>
                <a:lvl4pPr marL="180000" indent="-180000" algn="l" defTabSz="914400" rtl="0" eaLnBrk="1" latinLnBrk="0" hangingPunct="1">
                  <a:lnSpc>
                    <a:spcPct val="110000"/>
                  </a:lnSpc>
                  <a:spcBef>
                    <a:spcPts val="0"/>
                  </a:spcBef>
                  <a:buClr>
                    <a:schemeClr val="accent1"/>
                  </a:buClr>
                  <a:buFont typeface="Wingdings" panose="05000000000000000000" pitchFamily="2" charset="2"/>
                  <a:buChar char="§"/>
                  <a:defRPr sz="1400" b="0" i="0" kern="1200">
                    <a:solidFill>
                      <a:schemeClr val="tx1"/>
                    </a:solidFill>
                    <a:latin typeface="Myriad Pro" panose="020B0503030403020204" pitchFamily="34" charset="0"/>
                    <a:ea typeface="+mn-ea"/>
                    <a:cs typeface="+mn-cs"/>
                  </a:defRPr>
                </a:lvl4pPr>
                <a:lvl5pPr marL="360000" indent="-180000" algn="l" defTabSz="914400" rtl="0" eaLnBrk="1" latinLnBrk="0" hangingPunct="1">
                  <a:lnSpc>
                    <a:spcPct val="110000"/>
                  </a:lnSpc>
                  <a:spcBef>
                    <a:spcPts val="0"/>
                  </a:spcBef>
                  <a:buClr>
                    <a:schemeClr val="bg2"/>
                  </a:buClr>
                  <a:buFont typeface="Wingdings" panose="05000000000000000000" pitchFamily="2" charset="2"/>
                  <a:buChar char="§"/>
                  <a:defRPr sz="1400" b="0" i="0" kern="1200">
                    <a:solidFill>
                      <a:schemeClr val="tx1"/>
                    </a:solidFill>
                    <a:latin typeface="Myriad Pro" panose="020B0503030403020204" pitchFamily="34" charset="0"/>
                    <a:ea typeface="+mn-ea"/>
                    <a:cs typeface="+mn-cs"/>
                  </a:defRPr>
                </a:lvl5pPr>
                <a:lvl6pPr marL="540000" indent="-180000" algn="l" defTabSz="914400" rtl="0" eaLnBrk="1" latinLnBrk="0" hangingPunct="1">
                  <a:lnSpc>
                    <a:spcPct val="110000"/>
                  </a:lnSpc>
                  <a:spcBef>
                    <a:spcPts val="0"/>
                  </a:spcBef>
                  <a:buClr>
                    <a:schemeClr val="bg2"/>
                  </a:buClr>
                  <a:buFont typeface="Wingdings" panose="05000000000000000000" pitchFamily="2" charset="2"/>
                  <a:buChar char="§"/>
                  <a:defRPr sz="1400" b="0" i="0" kern="1200">
                    <a:solidFill>
                      <a:schemeClr val="tx1"/>
                    </a:solidFill>
                    <a:latin typeface="Myriad Pro" panose="020B0503030403020204" pitchFamily="34" charset="0"/>
                    <a:ea typeface="+mn-ea"/>
                    <a:cs typeface="+mn-cs"/>
                  </a:defRPr>
                </a:lvl6pPr>
                <a:lvl7pPr marL="216000" indent="-216000" algn="l" defTabSz="914400" rtl="0" eaLnBrk="1" latinLnBrk="0" hangingPunct="1">
                  <a:lnSpc>
                    <a:spcPct val="110000"/>
                  </a:lnSpc>
                  <a:spcBef>
                    <a:spcPts val="0"/>
                  </a:spcBef>
                  <a:buClr>
                    <a:schemeClr val="accent1"/>
                  </a:buClr>
                  <a:buFont typeface="+mj-lt"/>
                  <a:buAutoNum type="arabicPeriod"/>
                  <a:defRPr sz="1400" b="0" i="0" kern="1200">
                    <a:solidFill>
                      <a:schemeClr val="tx1"/>
                    </a:solidFill>
                    <a:latin typeface="Myriad Pro" panose="020B0503030403020204" pitchFamily="34" charset="0"/>
                    <a:ea typeface="+mn-ea"/>
                    <a:cs typeface="+mn-cs"/>
                  </a:defRPr>
                </a:lvl7pPr>
                <a:lvl8pPr marL="432000" indent="-216000" algn="l" defTabSz="914400" rtl="0" eaLnBrk="1" latinLnBrk="0" hangingPunct="1">
                  <a:lnSpc>
                    <a:spcPct val="110000"/>
                  </a:lnSpc>
                  <a:spcBef>
                    <a:spcPts val="0"/>
                  </a:spcBef>
                  <a:buClr>
                    <a:schemeClr val="bg2"/>
                  </a:buClr>
                  <a:buFont typeface="+mj-lt"/>
                  <a:buAutoNum type="alphaLcParenR"/>
                  <a:defRPr sz="1400" b="0" i="0" kern="1200">
                    <a:solidFill>
                      <a:schemeClr val="tx1"/>
                    </a:solidFill>
                    <a:latin typeface="Myriad Pro" panose="020B0503030403020204" pitchFamily="34" charset="0"/>
                    <a:ea typeface="+mn-ea"/>
                    <a:cs typeface="+mn-cs"/>
                  </a:defRPr>
                </a:lvl8pPr>
                <a:lvl9pPr marL="648000" indent="-216000" algn="l" defTabSz="914400" rtl="0" eaLnBrk="1" latinLnBrk="0" hangingPunct="1">
                  <a:lnSpc>
                    <a:spcPct val="110000"/>
                  </a:lnSpc>
                  <a:spcBef>
                    <a:spcPts val="0"/>
                  </a:spcBef>
                  <a:buClr>
                    <a:schemeClr val="bg2"/>
                  </a:buClr>
                  <a:buFont typeface="+mj-lt"/>
                  <a:buAutoNum type="romanLcPeriod"/>
                  <a:defRPr sz="1400" b="0" i="0" kern="1200">
                    <a:solidFill>
                      <a:schemeClr val="tx1"/>
                    </a:solidFill>
                    <a:latin typeface="Myriad Pro" panose="020B0503030403020204" pitchFamily="34" charset="0"/>
                    <a:ea typeface="+mn-ea"/>
                    <a:cs typeface="+mn-cs"/>
                  </a:defRPr>
                </a:lvl9pPr>
              </a:lstStyle>
              <a:p>
                <a:pPr lvl="2"/>
                <a:r>
                  <a:rPr lang="de-DE" dirty="0"/>
                  <a:t>RDP, </a:t>
                </a:r>
                <a14:m>
                  <m:oMath xmlns:m="http://schemas.openxmlformats.org/officeDocument/2006/math">
                    <m:r>
                      <a:rPr lang="de-DE" b="1" i="1" smtClean="0">
                        <a:latin typeface="Cambria Math" panose="02040503050406030204" pitchFamily="18" charset="0"/>
                      </a:rPr>
                      <m:t>𝝐</m:t>
                    </m:r>
                    <m:r>
                      <a:rPr lang="de-DE" b="1" i="1" smtClean="0">
                        <a:latin typeface="Cambria Math" panose="02040503050406030204" pitchFamily="18" charset="0"/>
                      </a:rPr>
                      <m:t>=</m:t>
                    </m:r>
                    <m:r>
                      <a:rPr lang="de-DE" b="1" i="1" smtClean="0">
                        <a:latin typeface="Cambria Math" panose="02040503050406030204" pitchFamily="18" charset="0"/>
                      </a:rPr>
                      <m:t>𝟏</m:t>
                    </m:r>
                  </m:oMath>
                </a14:m>
                <a:r>
                  <a:rPr lang="de-DE" dirty="0"/>
                  <a:t>0, 30 Vertices</a:t>
                </a:r>
              </a:p>
            </p:txBody>
          </p:sp>
        </mc:Choice>
        <mc:Fallback xmlns="">
          <p:sp>
            <p:nvSpPr>
              <p:cNvPr id="27" name="Textplatzhalter 12">
                <a:extLst>
                  <a:ext uri="{FF2B5EF4-FFF2-40B4-BE49-F238E27FC236}">
                    <a16:creationId xmlns:a16="http://schemas.microsoft.com/office/drawing/2014/main" id="{4020BCA8-9880-FF87-D150-E51BCEA1B74F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gray">
              <a:xfrm>
                <a:off x="478198" y="5538970"/>
                <a:ext cx="2172107" cy="218393"/>
              </a:xfrm>
              <a:prstGeom prst="rect">
                <a:avLst/>
              </a:prstGeom>
              <a:blipFill>
                <a:blip r:embed="rId12"/>
                <a:stretch>
                  <a:fillRect l="-5042" t="-28571" b="-51429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33" name="Grafik 32">
            <a:extLst>
              <a:ext uri="{FF2B5EF4-FFF2-40B4-BE49-F238E27FC236}">
                <a16:creationId xmlns:a16="http://schemas.microsoft.com/office/drawing/2014/main" id="{CCC50ED5-E6FA-954B-95FE-E799DB03380B}"/>
              </a:ext>
            </a:extLst>
          </p:cNvPr>
          <p:cNvPicPr>
            <a:picLocks noChangeAspect="1"/>
          </p:cNvPicPr>
          <p:nvPr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21502" y="191192"/>
            <a:ext cx="3744886" cy="1130532"/>
          </a:xfrm>
          <a:prstGeom prst="rect">
            <a:avLst/>
          </a:prstGeom>
          <a:noFill/>
        </p:spPr>
      </p:pic>
      <p:cxnSp>
        <p:nvCxnSpPr>
          <p:cNvPr id="6" name="Gerade Verbindung mit Pfeil 5">
            <a:extLst>
              <a:ext uri="{FF2B5EF4-FFF2-40B4-BE49-F238E27FC236}">
                <a16:creationId xmlns:a16="http://schemas.microsoft.com/office/drawing/2014/main" id="{A55CF828-A477-C19C-1F11-2BE7A7CAF8D2}"/>
              </a:ext>
            </a:extLst>
          </p:cNvPr>
          <p:cNvCxnSpPr>
            <a:cxnSpLocks/>
            <a:endCxn id="7" idx="1"/>
          </p:cNvCxnSpPr>
          <p:nvPr/>
        </p:nvCxnSpPr>
        <p:spPr>
          <a:xfrm>
            <a:off x="9372600" y="2546017"/>
            <a:ext cx="478831" cy="0"/>
          </a:xfrm>
          <a:prstGeom prst="straightConnector1">
            <a:avLst/>
          </a:prstGeom>
          <a:ln w="34925">
            <a:solidFill>
              <a:schemeClr val="bg2"/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platzhalter 9">
            <a:extLst>
              <a:ext uri="{FF2B5EF4-FFF2-40B4-BE49-F238E27FC236}">
                <a16:creationId xmlns:a16="http://schemas.microsoft.com/office/drawing/2014/main" id="{8894F848-1935-1164-2E00-ED423010935D}"/>
              </a:ext>
            </a:extLst>
          </p:cNvPr>
          <p:cNvSpPr txBox="1">
            <a:spLocks/>
          </p:cNvSpPr>
          <p:nvPr/>
        </p:nvSpPr>
        <p:spPr bwMode="gray">
          <a:xfrm>
            <a:off x="4116748" y="6149879"/>
            <a:ext cx="7849639" cy="7302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1600" b="1" i="0" kern="1200">
                <a:solidFill>
                  <a:schemeClr val="accent1"/>
                </a:solidFill>
                <a:latin typeface="Myriad Pro" panose="020B0503030403020204" pitchFamily="34" charset="0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1400" b="0" i="0" kern="120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1" i="0" kern="120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+mn-cs"/>
              </a:defRPr>
            </a:lvl3pPr>
            <a:lvl4pPr marL="18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b="0" i="0" kern="120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+mn-cs"/>
              </a:defRPr>
            </a:lvl4pPr>
            <a:lvl5pPr marL="36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b="0" i="0" kern="120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b="0" i="0" kern="120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+mn-cs"/>
              </a:defRPr>
            </a:lvl6pPr>
            <a:lvl7pPr marL="216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buFont typeface="+mj-lt"/>
              <a:buAutoNum type="arabicPeriod"/>
              <a:defRPr sz="1400" b="0" i="0" kern="120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lphaLcParenR"/>
              <a:defRPr sz="1400" b="0" i="0" kern="120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+mn-cs"/>
              </a:defRPr>
            </a:lvl8pPr>
            <a:lvl9pPr marL="648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romanLcPeriod"/>
              <a:defRPr sz="1400" b="0" i="0" kern="120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+mn-cs"/>
              </a:defRPr>
            </a:lvl9pPr>
          </a:lstStyle>
          <a:p>
            <a:pPr lvl="1"/>
            <a:r>
              <a:rPr lang="en-US" sz="1100" dirty="0"/>
              <a:t>U. Ramer. An Iterative Procedure for the Polygonal Approximation of Plane Curves. Computer Graphics and Image Processing, 1:244–256, 1972.</a:t>
            </a:r>
            <a:br>
              <a:rPr lang="en-US" sz="1100" dirty="0"/>
            </a:br>
            <a:r>
              <a:rPr lang="en-US" sz="1100" dirty="0"/>
              <a:t>D. H. Douglas and T. K. </a:t>
            </a:r>
            <a:r>
              <a:rPr lang="en-US" sz="1100" dirty="0" err="1"/>
              <a:t>Peucker</a:t>
            </a:r>
            <a:r>
              <a:rPr lang="en-US" sz="1100" dirty="0"/>
              <a:t>. Algorithms for the Reduction of the Number of Points Required to Represent a Digitized Line or its Caricature. </a:t>
            </a:r>
            <a:r>
              <a:rPr lang="en-US" sz="1100" dirty="0" err="1"/>
              <a:t>Cartographica</a:t>
            </a:r>
            <a:r>
              <a:rPr lang="en-US" sz="1100" dirty="0"/>
              <a:t>: The International Journal for Geographic Information and </a:t>
            </a:r>
            <a:r>
              <a:rPr lang="en-US" sz="1100" dirty="0" err="1"/>
              <a:t>Geovisualization</a:t>
            </a:r>
            <a:r>
              <a:rPr lang="en-US" sz="1100" dirty="0"/>
              <a:t>, 10:112–122, 1973.</a:t>
            </a:r>
          </a:p>
        </p:txBody>
      </p:sp>
    </p:spTree>
    <p:extLst>
      <p:ext uri="{BB962C8B-B14F-4D97-AF65-F5344CB8AC3E}">
        <p14:creationId xmlns:p14="http://schemas.microsoft.com/office/powerpoint/2010/main" val="162042490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  <p:bldP spid="19" grpId="0"/>
      <p:bldP spid="20" grpId="0"/>
      <p:bldP spid="21" grpId="0"/>
      <p:bldP spid="25" grpId="0"/>
      <p:bldP spid="26" grpId="0"/>
      <p:bldP spid="27" grpId="0"/>
    </p:bld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B9F5726-9743-559C-44B7-28BCF753CDA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395588"/>
            <a:ext cx="11233150" cy="374398"/>
          </a:xfrm>
        </p:spPr>
        <p:txBody>
          <a:bodyPr/>
          <a:lstStyle/>
          <a:p>
            <a:r>
              <a:rPr lang="de-DE" dirty="0"/>
              <a:t>Methode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0A4E1061-0C55-7450-F7F3-0ECA40053FB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225054-8F4D-4B67-8803-E473E83FD8A6}" type="datetime1">
              <a:rPr lang="de-DE" noProof="0" smtClean="0"/>
              <a:t>15.11.22</a:t>
            </a:fld>
            <a:endParaRPr lang="de-DE" noProof="0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85026CBD-C28D-1239-FF11-CB093AC93CB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/>
              <a:t>© Universität zu Lübeck</a:t>
            </a:r>
            <a:endParaRPr lang="de-DE" noProof="0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B3D8F5EA-A8A7-1DEA-C1C9-FE439AFE483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 noProof="0"/>
              <a:t>Seite</a:t>
            </a:r>
            <a:r>
              <a:rPr lang="en-US"/>
              <a:t> </a:t>
            </a:r>
            <a:fld id="{401BA3E4-5E55-4F99-AF09-CC6D6B2539E2}" type="slidenum">
              <a:rPr lang="en-US" smtClean="0"/>
              <a:pPr/>
              <a:t>44</a:t>
            </a:fld>
            <a:endParaRPr lang="en-US" dirty="0"/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660676AF-70D0-59AF-4157-1564C600A56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9425" y="778321"/>
            <a:ext cx="11233150" cy="312008"/>
          </a:xfrm>
        </p:spPr>
        <p:txBody>
          <a:bodyPr/>
          <a:lstStyle/>
          <a:p>
            <a:r>
              <a:rPr lang="de-DE" dirty="0"/>
              <a:t>Erstellen eines Datensatzes </a:t>
            </a:r>
            <a:r>
              <a:rPr lang="de-DE" sz="2000" b="0" i="0" kern="1200" dirty="0">
                <a:solidFill>
                  <a:srgbClr val="084653"/>
                </a:solidFill>
                <a:effectLst/>
                <a:latin typeface="Myriad Pro" panose="020B0503030403020204"/>
                <a:ea typeface="+mn-ea"/>
                <a:cs typeface="+mn-cs"/>
              </a:rPr>
              <a:t>— </a:t>
            </a:r>
            <a:r>
              <a:rPr lang="de-DE" sz="2000" b="0" i="0" kern="1200" dirty="0" err="1">
                <a:solidFill>
                  <a:srgbClr val="084653"/>
                </a:solidFill>
                <a:effectLst/>
                <a:latin typeface="Myriad Pro" panose="020B0503030403020204"/>
                <a:ea typeface="+mn-ea"/>
                <a:cs typeface="+mn-cs"/>
              </a:rPr>
              <a:t>LabelMe</a:t>
            </a:r>
            <a:r>
              <a:rPr lang="de-DE" sz="2000" b="0" i="0" kern="1200" dirty="0">
                <a:solidFill>
                  <a:srgbClr val="084653"/>
                </a:solidFill>
                <a:effectLst/>
                <a:latin typeface="Myriad Pro" panose="020B0503030403020204"/>
                <a:ea typeface="+mn-ea"/>
                <a:cs typeface="+mn-cs"/>
              </a:rPr>
              <a:t> </a:t>
            </a:r>
            <a:endParaRPr lang="de-DE" dirty="0"/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8FAE9A0D-F9B2-6E44-ACDA-6BDAD567765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de-DE"/>
          </a:p>
        </p:txBody>
      </p:sp>
      <p:pic>
        <p:nvPicPr>
          <p:cNvPr id="7" name="Grafik 6" descr="Ein Bild, das Text enthält.&#10;&#10;Automatisch generierte Beschreibung">
            <a:extLst>
              <a:ext uri="{FF2B5EF4-FFF2-40B4-BE49-F238E27FC236}">
                <a16:creationId xmlns:a16="http://schemas.microsoft.com/office/drawing/2014/main" id="{DCC2CA7F-0E20-FBDF-A695-9E511503E259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8199" y="1703388"/>
            <a:ext cx="7926183" cy="4334341"/>
          </a:xfrm>
          <a:prstGeom prst="rect">
            <a:avLst/>
          </a:prstGeom>
        </p:spPr>
      </p:pic>
      <p:pic>
        <p:nvPicPr>
          <p:cNvPr id="8" name="Grafik 7" descr="Ein Bild, das Text enthält.&#10;&#10;Automatisch generierte Beschreibung">
            <a:extLst>
              <a:ext uri="{FF2B5EF4-FFF2-40B4-BE49-F238E27FC236}">
                <a16:creationId xmlns:a16="http://schemas.microsoft.com/office/drawing/2014/main" id="{92BE89C2-7330-3C49-8FFF-25DC422740D7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78199" y="1703388"/>
            <a:ext cx="7926184" cy="4334341"/>
          </a:xfrm>
          <a:prstGeom prst="rect">
            <a:avLst/>
          </a:prstGeom>
        </p:spPr>
      </p:pic>
      <p:pic>
        <p:nvPicPr>
          <p:cNvPr id="9" name="Grafik 8">
            <a:extLst>
              <a:ext uri="{FF2B5EF4-FFF2-40B4-BE49-F238E27FC236}">
                <a16:creationId xmlns:a16="http://schemas.microsoft.com/office/drawing/2014/main" id="{370F1DE9-ABED-775A-D637-6968A20C5F23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21502" y="191192"/>
            <a:ext cx="3744886" cy="1130532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88439228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3" name="Diagram 4">
            <a:extLst>
              <a:ext uri="{FF2B5EF4-FFF2-40B4-BE49-F238E27FC236}">
                <a16:creationId xmlns:a16="http://schemas.microsoft.com/office/drawing/2014/main" id="{B919F797-3AD1-4A8F-85AA-E4D6A65BA46E}"/>
              </a:ext>
            </a:extLst>
          </p:cNvPr>
          <p:cNvGraphicFramePr/>
          <p:nvPr/>
        </p:nvGraphicFramePr>
        <p:xfrm>
          <a:off x="8094940" y="3061452"/>
          <a:ext cx="1415346" cy="217170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graphicFrame>
        <p:nvGraphicFramePr>
          <p:cNvPr id="42" name="Diagram 4">
            <a:extLst>
              <a:ext uri="{FF2B5EF4-FFF2-40B4-BE49-F238E27FC236}">
                <a16:creationId xmlns:a16="http://schemas.microsoft.com/office/drawing/2014/main" id="{B919F797-3AD1-4A8F-85AA-E4D6A65BA46E}"/>
              </a:ext>
            </a:extLst>
          </p:cNvPr>
          <p:cNvGraphicFramePr/>
          <p:nvPr/>
        </p:nvGraphicFramePr>
        <p:xfrm>
          <a:off x="1080081" y="589964"/>
          <a:ext cx="6220459" cy="548049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8" r:lo="rId9" r:qs="rId10" r:cs="rId11"/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9DCF5550-E586-2F4D-9BFF-EA2A23A3AC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395588"/>
            <a:ext cx="11233150" cy="375487"/>
          </a:xfrm>
        </p:spPr>
        <p:txBody>
          <a:bodyPr/>
          <a:lstStyle/>
          <a:p>
            <a:r>
              <a:rPr lang="de-DE" dirty="0"/>
              <a:t>Gliederung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6F2406C-7AB3-BA48-4B8A-67E2CFC7E9B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/>
              <a:t>© Universität zu Lübeck</a:t>
            </a:r>
            <a:endParaRPr lang="de-DE" noProof="0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22CA16D0-0D58-A287-9D07-D4F19469A6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 noProof="0"/>
              <a:t>Seite</a:t>
            </a:r>
            <a:r>
              <a:rPr lang="en-US"/>
              <a:t> </a:t>
            </a:r>
            <a:fld id="{401BA3E4-5E55-4F99-AF09-CC6D6B2539E2}" type="slidenum">
              <a:rPr lang="en-US" smtClean="0"/>
              <a:pPr/>
              <a:t>45</a:t>
            </a:fld>
            <a:endParaRPr lang="en-US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607EBF9-EC8B-9F58-CF49-88CB210BFF0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5A82B2D-840F-4167-AD44-C02BC9C87CCB}" type="datetime1">
              <a:rPr lang="de-DE" noProof="0" smtClean="0"/>
              <a:t>15.11.22</a:t>
            </a:fld>
            <a:endParaRPr lang="de-DE" noProof="0" dirty="0"/>
          </a:p>
        </p:txBody>
      </p:sp>
      <p:pic>
        <p:nvPicPr>
          <p:cNvPr id="11" name="Grafik 10" descr="Ein Bild, das Karte enthält.&#10;&#10;Automatisch generierte Beschreibung">
            <a:extLst>
              <a:ext uri="{FF2B5EF4-FFF2-40B4-BE49-F238E27FC236}">
                <a16:creationId xmlns:a16="http://schemas.microsoft.com/office/drawing/2014/main" id="{8DCD45CA-3EE6-58F1-DFB2-13FFBAD61A28}"/>
              </a:ext>
            </a:extLst>
          </p:cNvPr>
          <p:cNvPicPr>
            <a:picLocks noChangeAspect="1"/>
          </p:cNvPicPr>
          <p:nvPr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66337" y="3427303"/>
            <a:ext cx="1920000" cy="1440000"/>
          </a:xfrm>
          <a:prstGeom prst="rect">
            <a:avLst/>
          </a:prstGeom>
          <a:ln>
            <a:solidFill>
              <a:schemeClr val="accent1"/>
            </a:solidFill>
          </a:ln>
        </p:spPr>
      </p:pic>
      <p:pic>
        <p:nvPicPr>
          <p:cNvPr id="13" name="Grafik 12" descr="Ein Bild, das Schuhe enthält.&#10;&#10;Automatisch generierte Beschreibung">
            <a:extLst>
              <a:ext uri="{FF2B5EF4-FFF2-40B4-BE49-F238E27FC236}">
                <a16:creationId xmlns:a16="http://schemas.microsoft.com/office/drawing/2014/main" id="{4267AC41-BE3A-A0E7-56B8-3C950FC8CCA9}"/>
              </a:ext>
            </a:extLst>
          </p:cNvPr>
          <p:cNvPicPr>
            <a:picLocks noChangeAspect="1"/>
          </p:cNvPicPr>
          <p:nvPr/>
        </p:nvPicPr>
        <p:blipFill>
          <a:blip r:embed="rId1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676616" y="3427302"/>
            <a:ext cx="1920000" cy="1440000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4" name="Grafik 13">
            <a:extLst>
              <a:ext uri="{FF2B5EF4-FFF2-40B4-BE49-F238E27FC236}">
                <a16:creationId xmlns:a16="http://schemas.microsoft.com/office/drawing/2014/main" id="{242F2DB2-2B0E-AE0B-37C3-EE40808E80AE}"/>
              </a:ext>
            </a:extLst>
          </p:cNvPr>
          <p:cNvPicPr>
            <a:picLocks noChangeAspect="1"/>
          </p:cNvPicPr>
          <p:nvPr/>
        </p:nvPicPr>
        <p:blipFill>
          <a:blip r:embed="rId1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6000" y="3427303"/>
            <a:ext cx="1920000" cy="1440000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39" name="Textfeld 38">
            <a:extLst>
              <a:ext uri="{FF2B5EF4-FFF2-40B4-BE49-F238E27FC236}">
                <a16:creationId xmlns:a16="http://schemas.microsoft.com/office/drawing/2014/main" id="{888E936E-A2EF-4C6B-BA71-DCCE49BE021D}"/>
              </a:ext>
            </a:extLst>
          </p:cNvPr>
          <p:cNvSpPr txBox="1"/>
          <p:nvPr/>
        </p:nvSpPr>
        <p:spPr bwMode="gray">
          <a:xfrm>
            <a:off x="9638307" y="2679489"/>
            <a:ext cx="1996618" cy="65598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/>
          <a:p>
            <a:pPr algn="ctr"/>
            <a:r>
              <a:rPr lang="de-DE" dirty="0"/>
              <a:t>Segmentierung</a:t>
            </a:r>
          </a:p>
          <a:p>
            <a:pPr algn="ctr"/>
            <a:r>
              <a:rPr lang="de-DE" dirty="0"/>
              <a:t>der Plaques</a:t>
            </a: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71289FB9-BA1E-7C68-0426-32E60CDD3E24}"/>
              </a:ext>
            </a:extLst>
          </p:cNvPr>
          <p:cNvPicPr>
            <a:picLocks noChangeAspect="1"/>
          </p:cNvPicPr>
          <p:nvPr/>
        </p:nvPicPr>
        <p:blipFill>
          <a:blip r:embed="rId1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21502" y="191192"/>
            <a:ext cx="3744886" cy="1130532"/>
          </a:xfrm>
          <a:prstGeom prst="rect">
            <a:avLst/>
          </a:prstGeom>
          <a:noFill/>
        </p:spPr>
      </p:pic>
      <p:sp>
        <p:nvSpPr>
          <p:cNvPr id="15" name="Textfeld 14">
            <a:extLst>
              <a:ext uri="{FF2B5EF4-FFF2-40B4-BE49-F238E27FC236}">
                <a16:creationId xmlns:a16="http://schemas.microsoft.com/office/drawing/2014/main" id="{6ED7849F-B77B-031F-232B-53F1C0071BD2}"/>
              </a:ext>
            </a:extLst>
          </p:cNvPr>
          <p:cNvSpPr txBox="1"/>
          <p:nvPr/>
        </p:nvSpPr>
        <p:spPr bwMode="gray">
          <a:xfrm>
            <a:off x="6096000" y="2668482"/>
            <a:ext cx="1996618" cy="65598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/>
          <a:p>
            <a:pPr algn="ctr"/>
            <a:r>
              <a:rPr lang="de-DE" dirty="0"/>
              <a:t>Segmentierung</a:t>
            </a:r>
          </a:p>
          <a:p>
            <a:pPr algn="ctr"/>
            <a:r>
              <a:rPr lang="de-DE" dirty="0"/>
              <a:t>der Arterien</a:t>
            </a:r>
          </a:p>
        </p:txBody>
      </p:sp>
      <p:sp>
        <p:nvSpPr>
          <p:cNvPr id="28" name="Textfeld 27">
            <a:extLst>
              <a:ext uri="{FF2B5EF4-FFF2-40B4-BE49-F238E27FC236}">
                <a16:creationId xmlns:a16="http://schemas.microsoft.com/office/drawing/2014/main" id="{1C98C6BF-F6CB-E9D9-0B20-0C09110355E8}"/>
              </a:ext>
            </a:extLst>
          </p:cNvPr>
          <p:cNvSpPr txBox="1"/>
          <p:nvPr/>
        </p:nvSpPr>
        <p:spPr bwMode="gray">
          <a:xfrm>
            <a:off x="8068430" y="2216787"/>
            <a:ext cx="1996618" cy="65598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/>
          <a:p>
            <a:pPr algn="ctr"/>
            <a:r>
              <a:rPr lang="de-DE" sz="1400" dirty="0"/>
              <a:t>Morph. K-NN</a:t>
            </a:r>
          </a:p>
        </p:txBody>
      </p:sp>
      <p:sp>
        <p:nvSpPr>
          <p:cNvPr id="30" name="Textfeld 29">
            <a:extLst>
              <a:ext uri="{FF2B5EF4-FFF2-40B4-BE49-F238E27FC236}">
                <a16:creationId xmlns:a16="http://schemas.microsoft.com/office/drawing/2014/main" id="{F587367C-BC98-E609-D58A-F95341C38081}"/>
              </a:ext>
            </a:extLst>
          </p:cNvPr>
          <p:cNvSpPr txBox="1"/>
          <p:nvPr/>
        </p:nvSpPr>
        <p:spPr bwMode="gray">
          <a:xfrm>
            <a:off x="8016000" y="4690082"/>
            <a:ext cx="1996618" cy="65598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/>
          <a:p>
            <a:pPr algn="ctr"/>
            <a:r>
              <a:rPr lang="de-DE" sz="1400" dirty="0"/>
              <a:t>W-Net</a:t>
            </a:r>
          </a:p>
        </p:txBody>
      </p:sp>
      <p:grpSp>
        <p:nvGrpSpPr>
          <p:cNvPr id="95" name="Gruppieren 94">
            <a:extLst>
              <a:ext uri="{FF2B5EF4-FFF2-40B4-BE49-F238E27FC236}">
                <a16:creationId xmlns:a16="http://schemas.microsoft.com/office/drawing/2014/main" id="{BA3F15CF-61A4-7F53-83C8-837E38521BE7}"/>
              </a:ext>
            </a:extLst>
          </p:cNvPr>
          <p:cNvGrpSpPr/>
          <p:nvPr/>
        </p:nvGrpSpPr>
        <p:grpSpPr>
          <a:xfrm>
            <a:off x="8207917" y="5231844"/>
            <a:ext cx="1717643" cy="799363"/>
            <a:chOff x="4554249" y="1721366"/>
            <a:chExt cx="7168120" cy="3335924"/>
          </a:xfrm>
        </p:grpSpPr>
        <p:pic>
          <p:nvPicPr>
            <p:cNvPr id="96" name="Grafik 95" descr="Ein Bild, das Metallwaren enthält.&#10;&#10;Automatisch generierte Beschreibung">
              <a:extLst>
                <a:ext uri="{FF2B5EF4-FFF2-40B4-BE49-F238E27FC236}">
                  <a16:creationId xmlns:a16="http://schemas.microsoft.com/office/drawing/2014/main" id="{2DB799B7-61A5-54FE-CB45-A0C2427B357B}"/>
                </a:ext>
              </a:extLst>
            </p:cNvPr>
            <p:cNvPicPr>
              <a:picLocks noChangeAspect="1"/>
            </p:cNvPicPr>
            <p:nvPr/>
          </p:nvPicPr>
          <p:blipFill>
            <a:blip r:embed="rId1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554249" y="1754999"/>
              <a:ext cx="814157" cy="610618"/>
            </a:xfrm>
            <a:prstGeom prst="rect">
              <a:avLst/>
            </a:prstGeom>
          </p:spPr>
        </p:pic>
        <p:pic>
          <p:nvPicPr>
            <p:cNvPr id="97" name="Grafik 96" descr="Ein Bild, das Metallwaren enthält.&#10;&#10;Automatisch generierte Beschreibung">
              <a:extLst>
                <a:ext uri="{FF2B5EF4-FFF2-40B4-BE49-F238E27FC236}">
                  <a16:creationId xmlns:a16="http://schemas.microsoft.com/office/drawing/2014/main" id="{8E9877AB-38C4-6C25-2B9C-0DDCF31CAC59}"/>
                </a:ext>
              </a:extLst>
            </p:cNvPr>
            <p:cNvPicPr>
              <a:picLocks noChangeAspect="1"/>
            </p:cNvPicPr>
            <p:nvPr/>
          </p:nvPicPr>
          <p:blipFill>
            <a:blip r:embed="rId1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0908212" y="1754999"/>
              <a:ext cx="814157" cy="610618"/>
            </a:xfrm>
            <a:prstGeom prst="rect">
              <a:avLst/>
            </a:prstGeom>
          </p:spPr>
        </p:pic>
        <p:pic>
          <p:nvPicPr>
            <p:cNvPr id="98" name="Grafik 97">
              <a:extLst>
                <a:ext uri="{FF2B5EF4-FFF2-40B4-BE49-F238E27FC236}">
                  <a16:creationId xmlns:a16="http://schemas.microsoft.com/office/drawing/2014/main" id="{9468951C-0962-9012-4365-99B75F364C9B}"/>
                </a:ext>
              </a:extLst>
            </p:cNvPr>
            <p:cNvPicPr>
              <a:picLocks noChangeAspect="1"/>
            </p:cNvPicPr>
            <p:nvPr/>
          </p:nvPicPr>
          <p:blipFill>
            <a:blip r:embed="rId18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323506" y="1721366"/>
              <a:ext cx="5618586" cy="2707328"/>
            </a:xfrm>
            <a:prstGeom prst="rect">
              <a:avLst/>
            </a:prstGeom>
          </p:spPr>
        </p:pic>
        <p:pic>
          <p:nvPicPr>
            <p:cNvPr id="99" name="Grafik 98">
              <a:extLst>
                <a:ext uri="{FF2B5EF4-FFF2-40B4-BE49-F238E27FC236}">
                  <a16:creationId xmlns:a16="http://schemas.microsoft.com/office/drawing/2014/main" id="{5717B2B3-E1AE-BA15-8997-281D0D5A7E26}"/>
                </a:ext>
              </a:extLst>
            </p:cNvPr>
            <p:cNvPicPr>
              <a:picLocks noChangeAspect="1"/>
            </p:cNvPicPr>
            <p:nvPr/>
          </p:nvPicPr>
          <p:blipFill>
            <a:blip r:embed="rId19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581072" y="4446672"/>
              <a:ext cx="814157" cy="610618"/>
            </a:xfrm>
            <a:prstGeom prst="rect">
              <a:avLst/>
            </a:prstGeom>
          </p:spPr>
        </p:pic>
      </p:grpSp>
      <p:pic>
        <p:nvPicPr>
          <p:cNvPr id="103" name="Grafik 102">
            <a:extLst>
              <a:ext uri="{FF2B5EF4-FFF2-40B4-BE49-F238E27FC236}">
                <a16:creationId xmlns:a16="http://schemas.microsoft.com/office/drawing/2014/main" id="{F5218157-4099-86F2-D213-52329BD2CE9E}"/>
              </a:ext>
            </a:extLst>
          </p:cNvPr>
          <p:cNvPicPr>
            <a:picLocks noChangeAspect="1"/>
          </p:cNvPicPr>
          <p:nvPr/>
        </p:nvPicPr>
        <p:blipFill>
          <a:blip r:embed="rId2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661679" y="2728562"/>
            <a:ext cx="740798" cy="547215"/>
          </a:xfrm>
          <a:prstGeom prst="rect">
            <a:avLst/>
          </a:prstGeom>
        </p:spPr>
      </p:pic>
      <p:sp>
        <p:nvSpPr>
          <p:cNvPr id="45" name="Textfeld 44">
            <a:extLst>
              <a:ext uri="{FF2B5EF4-FFF2-40B4-BE49-F238E27FC236}">
                <a16:creationId xmlns:a16="http://schemas.microsoft.com/office/drawing/2014/main" id="{6ED7849F-B77B-031F-232B-53F1C0071BD2}"/>
              </a:ext>
            </a:extLst>
          </p:cNvPr>
          <p:cNvSpPr txBox="1"/>
          <p:nvPr/>
        </p:nvSpPr>
        <p:spPr bwMode="gray">
          <a:xfrm>
            <a:off x="228028" y="2668482"/>
            <a:ext cx="1996618" cy="65598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/>
          <a:p>
            <a:pPr algn="ctr"/>
            <a:r>
              <a:rPr lang="de-DE" dirty="0"/>
              <a:t>Histologischer</a:t>
            </a:r>
          </a:p>
          <a:p>
            <a:pPr algn="ctr"/>
            <a:r>
              <a:rPr lang="de-DE" dirty="0"/>
              <a:t> Schnitt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4BE02391-7D43-4624-A7B9-60362AA7E67E}"/>
              </a:ext>
            </a:extLst>
          </p:cNvPr>
          <p:cNvSpPr/>
          <p:nvPr/>
        </p:nvSpPr>
        <p:spPr>
          <a:xfrm flipV="1">
            <a:off x="159119" y="1571625"/>
            <a:ext cx="5882893" cy="4498833"/>
          </a:xfrm>
          <a:prstGeom prst="rect">
            <a:avLst/>
          </a:prstGeom>
          <a:solidFill>
            <a:srgbClr val="FFFFFF">
              <a:alpha val="81961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de-DE" sz="1400" dirty="0">
              <a:solidFill>
                <a:schemeClr val="tx1"/>
              </a:solidFill>
            </a:endParaRP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9DC77A17-DA5C-6A93-A643-52C1633654C2}"/>
              </a:ext>
            </a:extLst>
          </p:cNvPr>
          <p:cNvSpPr/>
          <p:nvPr/>
        </p:nvSpPr>
        <p:spPr>
          <a:xfrm flipV="1">
            <a:off x="3571875" y="150683"/>
            <a:ext cx="2787756" cy="1420941"/>
          </a:xfrm>
          <a:prstGeom prst="rect">
            <a:avLst/>
          </a:prstGeom>
          <a:solidFill>
            <a:srgbClr val="FFFFFF">
              <a:alpha val="81961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de-DE" sz="1400" dirty="0">
              <a:solidFill>
                <a:schemeClr val="tx1"/>
              </a:solidFill>
            </a:endParaRPr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95BDB505-27BE-9972-5B63-1DED2A296A56}"/>
              </a:ext>
            </a:extLst>
          </p:cNvPr>
          <p:cNvSpPr/>
          <p:nvPr/>
        </p:nvSpPr>
        <p:spPr>
          <a:xfrm>
            <a:off x="8446294" y="2343529"/>
            <a:ext cx="1178143" cy="1799166"/>
          </a:xfrm>
          <a:prstGeom prst="rect">
            <a:avLst/>
          </a:prstGeom>
          <a:solidFill>
            <a:srgbClr val="FFFFFF">
              <a:alpha val="81961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de-DE" sz="14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1918219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Grafik 10" descr="Ein Bild, das Metallwaren enthält.&#10;&#10;Automatisch generierte Beschreibung">
            <a:extLst>
              <a:ext uri="{FF2B5EF4-FFF2-40B4-BE49-F238E27FC236}">
                <a16:creationId xmlns:a16="http://schemas.microsoft.com/office/drawing/2014/main" id="{100CE3D3-23E5-FBF4-AA49-15B72151BC9C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8199" y="1737021"/>
            <a:ext cx="1104207" cy="828156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BE0C3F02-9301-B1B5-BF23-6541B2A99BC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395588"/>
            <a:ext cx="11233150" cy="374398"/>
          </a:xfrm>
        </p:spPr>
        <p:txBody>
          <a:bodyPr/>
          <a:lstStyle/>
          <a:p>
            <a:r>
              <a:rPr lang="de-DE" dirty="0"/>
              <a:t>Methode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98B23D54-B433-8416-EBB9-2247CE1B277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5A82B2D-840F-4167-AD44-C02BC9C87CCB}" type="datetime1">
              <a:rPr lang="de-DE" noProof="0" smtClean="0"/>
              <a:t>15.11.22</a:t>
            </a:fld>
            <a:endParaRPr lang="de-DE" noProof="0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07D74B38-8548-258C-E24A-CC0064A6E9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/>
              <a:t>© Universität zu Lübeck</a:t>
            </a:r>
            <a:endParaRPr lang="de-DE" noProof="0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5D0CA9A8-1676-2235-4614-F6A9FDAD2C4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 noProof="0"/>
              <a:t>Seite</a:t>
            </a:r>
            <a:r>
              <a:rPr lang="en-US"/>
              <a:t> </a:t>
            </a:r>
            <a:fld id="{401BA3E4-5E55-4F99-AF09-CC6D6B2539E2}" type="slidenum">
              <a:rPr lang="en-US" smtClean="0"/>
              <a:pPr/>
              <a:t>46</a:t>
            </a:fld>
            <a:endParaRPr lang="en-US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6D94A8A-5D89-58E6-9847-DDBBB69105D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9425" y="778321"/>
            <a:ext cx="11233150" cy="280782"/>
          </a:xfrm>
        </p:spPr>
        <p:txBody>
          <a:bodyPr/>
          <a:lstStyle/>
          <a:p>
            <a:r>
              <a:rPr lang="de-DE" sz="1800" dirty="0">
                <a:solidFill>
                  <a:srgbClr val="000000"/>
                </a:solidFill>
                <a:latin typeface="Myriad Pro" panose="020B0503030403020204"/>
              </a:rPr>
              <a:t>Plaque Segmentierung </a:t>
            </a:r>
            <a:r>
              <a:rPr lang="de-DE" sz="1600" dirty="0"/>
              <a:t>—</a:t>
            </a:r>
            <a:r>
              <a:rPr lang="de-DE" sz="1800" dirty="0">
                <a:solidFill>
                  <a:srgbClr val="000000"/>
                </a:solidFill>
                <a:latin typeface="Myriad Pro" panose="020B0503030403020204"/>
              </a:rPr>
              <a:t> Unüberwachtes Lernen mit W-Net</a:t>
            </a:r>
            <a:endParaRPr lang="de-DE" sz="1800" dirty="0"/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2EE0F55D-43FE-180E-4F6C-5EFE5061EDF6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89533" y="1703388"/>
            <a:ext cx="7620250" cy="3671834"/>
          </a:xfrm>
          <a:prstGeom prst="rect">
            <a:avLst/>
          </a:prstGeom>
        </p:spPr>
      </p:pic>
      <p:pic>
        <p:nvPicPr>
          <p:cNvPr id="14" name="Grafik 13">
            <a:extLst>
              <a:ext uri="{FF2B5EF4-FFF2-40B4-BE49-F238E27FC236}">
                <a16:creationId xmlns:a16="http://schemas.microsoft.com/office/drawing/2014/main" id="{723350F6-1E66-C3FE-8F25-1520628C26D9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89533" y="1703388"/>
            <a:ext cx="7620250" cy="3671834"/>
          </a:xfrm>
          <a:prstGeom prst="rect">
            <a:avLst/>
          </a:prstGeom>
        </p:spPr>
      </p:pic>
      <p:pic>
        <p:nvPicPr>
          <p:cNvPr id="16" name="Grafik 15">
            <a:extLst>
              <a:ext uri="{FF2B5EF4-FFF2-40B4-BE49-F238E27FC236}">
                <a16:creationId xmlns:a16="http://schemas.microsoft.com/office/drawing/2014/main" id="{52F33A2E-100F-E7B4-9C63-D157557F2458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89533" y="1703388"/>
            <a:ext cx="7620250" cy="3671834"/>
          </a:xfrm>
          <a:prstGeom prst="rect">
            <a:avLst/>
          </a:prstGeom>
        </p:spPr>
      </p:pic>
      <p:pic>
        <p:nvPicPr>
          <p:cNvPr id="18" name="Grafik 17">
            <a:extLst>
              <a:ext uri="{FF2B5EF4-FFF2-40B4-BE49-F238E27FC236}">
                <a16:creationId xmlns:a16="http://schemas.microsoft.com/office/drawing/2014/main" id="{F9D2B8DB-BE3A-EF1A-D1F8-86CE622638DC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89533" y="1703388"/>
            <a:ext cx="7620250" cy="3671834"/>
          </a:xfrm>
          <a:prstGeom prst="rect">
            <a:avLst/>
          </a:prstGeom>
        </p:spPr>
      </p:pic>
      <p:pic>
        <p:nvPicPr>
          <p:cNvPr id="9" name="Grafik 8">
            <a:extLst>
              <a:ext uri="{FF2B5EF4-FFF2-40B4-BE49-F238E27FC236}">
                <a16:creationId xmlns:a16="http://schemas.microsoft.com/office/drawing/2014/main" id="{C6A13AF9-F5CB-B859-4F38-81B4326B8E63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623052" y="5194738"/>
            <a:ext cx="1104207" cy="828156"/>
          </a:xfrm>
          <a:prstGeom prst="rect">
            <a:avLst/>
          </a:prstGeom>
        </p:spPr>
      </p:pic>
      <p:cxnSp>
        <p:nvCxnSpPr>
          <p:cNvPr id="17" name="Gerade Verbindung mit Pfeil 16">
            <a:extLst>
              <a:ext uri="{FF2B5EF4-FFF2-40B4-BE49-F238E27FC236}">
                <a16:creationId xmlns:a16="http://schemas.microsoft.com/office/drawing/2014/main" id="{588BBA7B-03FE-2414-585F-96193CE4E493}"/>
              </a:ext>
            </a:extLst>
          </p:cNvPr>
          <p:cNvCxnSpPr>
            <a:cxnSpLocks/>
          </p:cNvCxnSpPr>
          <p:nvPr/>
        </p:nvCxnSpPr>
        <p:spPr>
          <a:xfrm>
            <a:off x="5175156" y="3318471"/>
            <a:ext cx="1" cy="1846170"/>
          </a:xfrm>
          <a:prstGeom prst="straightConnector1">
            <a:avLst/>
          </a:prstGeom>
          <a:ln w="34925">
            <a:solidFill>
              <a:schemeClr val="bg2"/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2" name="Grafik 21">
            <a:extLst>
              <a:ext uri="{FF2B5EF4-FFF2-40B4-BE49-F238E27FC236}">
                <a16:creationId xmlns:a16="http://schemas.microsoft.com/office/drawing/2014/main" id="{E9735A1B-8B02-CC1A-2900-5EB9C7C43246}"/>
              </a:ext>
            </a:extLst>
          </p:cNvPr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21502" y="191192"/>
            <a:ext cx="3744886" cy="1130532"/>
          </a:xfrm>
          <a:prstGeom prst="rect">
            <a:avLst/>
          </a:prstGeom>
          <a:noFill/>
        </p:spPr>
      </p:pic>
      <p:pic>
        <p:nvPicPr>
          <p:cNvPr id="13" name="Grafik 12" descr="Ein Bild, das Metallwaren enthält.&#10;&#10;Automatisch generierte Beschreibung">
            <a:extLst>
              <a:ext uri="{FF2B5EF4-FFF2-40B4-BE49-F238E27FC236}">
                <a16:creationId xmlns:a16="http://schemas.microsoft.com/office/drawing/2014/main" id="{F0A60B83-1EAB-3D5A-6A48-1B70CDBE159D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226704" y="1737021"/>
            <a:ext cx="1104207" cy="828156"/>
          </a:xfrm>
          <a:prstGeom prst="rect">
            <a:avLst/>
          </a:prstGeom>
        </p:spPr>
      </p:pic>
      <p:sp>
        <p:nvSpPr>
          <p:cNvPr id="7" name="Textplatzhalter 9">
            <a:extLst>
              <a:ext uri="{FF2B5EF4-FFF2-40B4-BE49-F238E27FC236}">
                <a16:creationId xmlns:a16="http://schemas.microsoft.com/office/drawing/2014/main" id="{59DCF43F-CB20-CBA0-18F7-0860C6B0B14E}"/>
              </a:ext>
            </a:extLst>
          </p:cNvPr>
          <p:cNvSpPr txBox="1">
            <a:spLocks/>
          </p:cNvSpPr>
          <p:nvPr/>
        </p:nvSpPr>
        <p:spPr bwMode="gray">
          <a:xfrm>
            <a:off x="4116748" y="6149879"/>
            <a:ext cx="7849639" cy="17158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1600" b="1" i="0" kern="1200">
                <a:solidFill>
                  <a:schemeClr val="accent1"/>
                </a:solidFill>
                <a:latin typeface="Myriad Pro" panose="020B0503030403020204" pitchFamily="34" charset="0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1400" b="0" i="0" kern="120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1" i="0" kern="120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+mn-cs"/>
              </a:defRPr>
            </a:lvl3pPr>
            <a:lvl4pPr marL="18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b="0" i="0" kern="120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+mn-cs"/>
              </a:defRPr>
            </a:lvl4pPr>
            <a:lvl5pPr marL="36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b="0" i="0" kern="120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b="0" i="0" kern="120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+mn-cs"/>
              </a:defRPr>
            </a:lvl6pPr>
            <a:lvl7pPr marL="216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buFont typeface="+mj-lt"/>
              <a:buAutoNum type="arabicPeriod"/>
              <a:defRPr sz="1400" b="0" i="0" kern="120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lphaLcParenR"/>
              <a:defRPr sz="1400" b="0" i="0" kern="120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+mn-cs"/>
              </a:defRPr>
            </a:lvl8pPr>
            <a:lvl9pPr marL="648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romanLcPeriod"/>
              <a:defRPr sz="1400" b="0" i="0" kern="120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+mn-cs"/>
              </a:defRPr>
            </a:lvl9pPr>
          </a:lstStyle>
          <a:p>
            <a:pPr lvl="1"/>
            <a:r>
              <a:rPr lang="en-US" sz="1100" dirty="0"/>
              <a:t>X. Xia and B. </a:t>
            </a:r>
            <a:r>
              <a:rPr lang="en-US" sz="1100" dirty="0" err="1"/>
              <a:t>Kulis</a:t>
            </a:r>
            <a:r>
              <a:rPr lang="en-US" sz="1100" dirty="0"/>
              <a:t>. W-Net: A Deep Model for Fully Unsupervised Image Segmentation, 2017. </a:t>
            </a:r>
          </a:p>
        </p:txBody>
      </p:sp>
    </p:spTree>
    <p:extLst>
      <p:ext uri="{BB962C8B-B14F-4D97-AF65-F5344CB8AC3E}">
        <p14:creationId xmlns:p14="http://schemas.microsoft.com/office/powerpoint/2010/main" val="24067374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7" name="Gruppieren 56">
            <a:extLst>
              <a:ext uri="{FF2B5EF4-FFF2-40B4-BE49-F238E27FC236}">
                <a16:creationId xmlns:a16="http://schemas.microsoft.com/office/drawing/2014/main" id="{B899E091-2E0E-FEC2-5969-62C5858266EC}"/>
              </a:ext>
            </a:extLst>
          </p:cNvPr>
          <p:cNvGrpSpPr/>
          <p:nvPr/>
        </p:nvGrpSpPr>
        <p:grpSpPr>
          <a:xfrm>
            <a:off x="8507416" y="3686835"/>
            <a:ext cx="1428996" cy="954534"/>
            <a:chOff x="6945760" y="3688197"/>
            <a:chExt cx="1428996" cy="954534"/>
          </a:xfrm>
        </p:grpSpPr>
        <p:sp>
          <p:nvSpPr>
            <p:cNvPr id="58" name="Rechteck 57">
              <a:extLst>
                <a:ext uri="{FF2B5EF4-FFF2-40B4-BE49-F238E27FC236}">
                  <a16:creationId xmlns:a16="http://schemas.microsoft.com/office/drawing/2014/main" id="{3FC348C0-7B95-8590-BBC3-EA523FD7F994}"/>
                </a:ext>
              </a:extLst>
            </p:cNvPr>
            <p:cNvSpPr/>
            <p:nvPr/>
          </p:nvSpPr>
          <p:spPr>
            <a:xfrm>
              <a:off x="8158732" y="3688197"/>
              <a:ext cx="216024" cy="197547"/>
            </a:xfrm>
            <a:prstGeom prst="rect">
              <a:avLst/>
            </a:prstGeom>
            <a:solidFill>
              <a:srgbClr val="20908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59" name="Rechteck 58">
              <a:extLst>
                <a:ext uri="{FF2B5EF4-FFF2-40B4-BE49-F238E27FC236}">
                  <a16:creationId xmlns:a16="http://schemas.microsoft.com/office/drawing/2014/main" id="{90F5C550-2363-2751-15B9-5EF3D4A9584C}"/>
                </a:ext>
              </a:extLst>
            </p:cNvPr>
            <p:cNvSpPr/>
            <p:nvPr/>
          </p:nvSpPr>
          <p:spPr>
            <a:xfrm>
              <a:off x="8158732" y="3940526"/>
              <a:ext cx="216024" cy="197547"/>
            </a:xfrm>
            <a:prstGeom prst="rect">
              <a:avLst/>
            </a:prstGeom>
            <a:solidFill>
              <a:srgbClr val="1E978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60" name="Rechteck 59">
              <a:extLst>
                <a:ext uri="{FF2B5EF4-FFF2-40B4-BE49-F238E27FC236}">
                  <a16:creationId xmlns:a16="http://schemas.microsoft.com/office/drawing/2014/main" id="{8A34B5BC-B08E-1391-2CF7-282165C763CA}"/>
                </a:ext>
              </a:extLst>
            </p:cNvPr>
            <p:cNvSpPr/>
            <p:nvPr/>
          </p:nvSpPr>
          <p:spPr>
            <a:xfrm>
              <a:off x="8158732" y="4445184"/>
              <a:ext cx="216024" cy="197547"/>
            </a:xfrm>
            <a:prstGeom prst="rect">
              <a:avLst/>
            </a:prstGeom>
            <a:solidFill>
              <a:srgbClr val="2D698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61" name="Rechteck 60">
              <a:extLst>
                <a:ext uri="{FF2B5EF4-FFF2-40B4-BE49-F238E27FC236}">
                  <a16:creationId xmlns:a16="http://schemas.microsoft.com/office/drawing/2014/main" id="{47BD31B8-F467-3764-871F-3BDD847F4B9E}"/>
                </a:ext>
              </a:extLst>
            </p:cNvPr>
            <p:cNvSpPr/>
            <p:nvPr/>
          </p:nvSpPr>
          <p:spPr>
            <a:xfrm>
              <a:off x="8158732" y="4192855"/>
              <a:ext cx="216024" cy="197547"/>
            </a:xfrm>
            <a:prstGeom prst="rect">
              <a:avLst/>
            </a:prstGeom>
            <a:solidFill>
              <a:srgbClr val="287A8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62" name="Rechteck 61">
              <a:extLst>
                <a:ext uri="{FF2B5EF4-FFF2-40B4-BE49-F238E27FC236}">
                  <a16:creationId xmlns:a16="http://schemas.microsoft.com/office/drawing/2014/main" id="{71188745-9383-7228-FB46-C7E18B0B70FF}"/>
                </a:ext>
              </a:extLst>
            </p:cNvPr>
            <p:cNvSpPr/>
            <p:nvPr/>
          </p:nvSpPr>
          <p:spPr>
            <a:xfrm>
              <a:off x="6945760" y="4066690"/>
              <a:ext cx="216024" cy="197547"/>
            </a:xfrm>
            <a:prstGeom prst="rect">
              <a:avLst/>
            </a:prstGeom>
            <a:solidFill>
              <a:srgbClr val="FDE72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</p:grpSp>
      <p:sp>
        <p:nvSpPr>
          <p:cNvPr id="2" name="Titel 1">
            <a:extLst>
              <a:ext uri="{FF2B5EF4-FFF2-40B4-BE49-F238E27FC236}">
                <a16:creationId xmlns:a16="http://schemas.microsoft.com/office/drawing/2014/main" id="{BE0C3F02-9301-B1B5-BF23-6541B2A99BC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395588"/>
            <a:ext cx="11233150" cy="374398"/>
          </a:xfrm>
        </p:spPr>
        <p:txBody>
          <a:bodyPr/>
          <a:lstStyle/>
          <a:p>
            <a:r>
              <a:rPr lang="de-DE" dirty="0"/>
              <a:t>Grundlage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98B23D54-B433-8416-EBB9-2247CE1B277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5A82B2D-840F-4167-AD44-C02BC9C87CCB}" type="datetime1">
              <a:rPr lang="de-DE" noProof="0" smtClean="0"/>
              <a:t>15.11.22</a:t>
            </a:fld>
            <a:endParaRPr lang="de-DE" noProof="0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07D74B38-8548-258C-E24A-CC0064A6E9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/>
              <a:t>© Universität zu Lübeck</a:t>
            </a:r>
            <a:endParaRPr lang="de-DE" noProof="0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5D0CA9A8-1676-2235-4614-F6A9FDAD2C4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 noProof="0"/>
              <a:t>Seite</a:t>
            </a:r>
            <a:r>
              <a:rPr lang="en-US"/>
              <a:t> </a:t>
            </a:r>
            <a:fld id="{401BA3E4-5E55-4F99-AF09-CC6D6B2539E2}" type="slidenum">
              <a:rPr lang="en-US" smtClean="0"/>
              <a:pPr/>
              <a:t>47</a:t>
            </a:fld>
            <a:endParaRPr lang="en-US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6D94A8A-5D89-58E6-9847-DDBBB69105D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9425" y="778321"/>
            <a:ext cx="11233150" cy="280782"/>
          </a:xfrm>
        </p:spPr>
        <p:txBody>
          <a:bodyPr/>
          <a:lstStyle/>
          <a:p>
            <a:r>
              <a:rPr lang="de-DE" sz="1800" b="0" i="0" kern="1200" dirty="0">
                <a:solidFill>
                  <a:srgbClr val="000000"/>
                </a:solidFill>
                <a:effectLst/>
                <a:latin typeface="Myriad Pro" panose="020B0503030403020204"/>
                <a:ea typeface="+mn-ea"/>
                <a:cs typeface="+mn-cs"/>
              </a:rPr>
              <a:t>Segmentierung </a:t>
            </a:r>
            <a:r>
              <a:rPr lang="de-DE" sz="1600" dirty="0"/>
              <a:t>—</a:t>
            </a:r>
            <a:r>
              <a:rPr lang="de-DE" sz="1800" dirty="0">
                <a:solidFill>
                  <a:srgbClr val="000000"/>
                </a:solidFill>
                <a:latin typeface="Myriad Pro" panose="020B0503030403020204"/>
              </a:rPr>
              <a:t> Unüberwachtes Lernen mit W-Net</a:t>
            </a:r>
            <a:endParaRPr lang="de-DE" sz="1800" dirty="0">
              <a:effectLst/>
            </a:endParaRP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11B7D8A0-0ED8-25CD-E8BA-150ABFC3D2E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8199" y="1703388"/>
            <a:ext cx="11233150" cy="3299237"/>
          </a:xfrm>
        </p:spPr>
        <p:txBody>
          <a:bodyPr/>
          <a:lstStyle/>
          <a:p>
            <a:pPr lvl="2"/>
            <a:r>
              <a:rPr lang="de-DE" dirty="0"/>
              <a:t>Reconstruction Loss</a:t>
            </a:r>
          </a:p>
          <a:p>
            <a:pPr lvl="3"/>
            <a:r>
              <a:rPr lang="de-DE" dirty="0"/>
              <a:t> </a:t>
            </a:r>
          </a:p>
          <a:p>
            <a:pPr lvl="2"/>
            <a:endParaRPr lang="de-DE" dirty="0"/>
          </a:p>
          <a:p>
            <a:pPr lvl="2"/>
            <a:endParaRPr lang="de-DE" dirty="0"/>
          </a:p>
          <a:p>
            <a:pPr lvl="2"/>
            <a:endParaRPr lang="de-DE" dirty="0"/>
          </a:p>
          <a:p>
            <a:pPr lvl="2"/>
            <a:endParaRPr lang="de-DE" dirty="0"/>
          </a:p>
          <a:p>
            <a:pPr lvl="2"/>
            <a:r>
              <a:rPr lang="de-DE" dirty="0"/>
              <a:t>Soft N-Cut Loss basiert auf dem N-Cut Loss</a:t>
            </a:r>
          </a:p>
          <a:p>
            <a:pPr lvl="2"/>
            <a:endParaRPr lang="de-DE" dirty="0"/>
          </a:p>
          <a:p>
            <a:pPr lvl="2"/>
            <a:endParaRPr lang="de-DE" dirty="0"/>
          </a:p>
          <a:p>
            <a:pPr lvl="3"/>
            <a:r>
              <a:rPr lang="de-DE" dirty="0"/>
              <a:t> </a:t>
            </a:r>
          </a:p>
          <a:p>
            <a:pPr lvl="2"/>
            <a:endParaRPr lang="de-DE" dirty="0"/>
          </a:p>
          <a:p>
            <a:pPr lvl="2"/>
            <a:endParaRPr lang="de-DE" dirty="0"/>
          </a:p>
          <a:p>
            <a:pPr lvl="2"/>
            <a:r>
              <a:rPr lang="de-DE" dirty="0"/>
              <a:t>                                                                           </a:t>
            </a:r>
          </a:p>
          <a:p>
            <a:pPr marL="0" lvl="3" indent="0">
              <a:buNone/>
            </a:pPr>
            <a:r>
              <a:rPr lang="de-DE" dirty="0"/>
              <a:t> </a:t>
            </a:r>
          </a:p>
        </p:txBody>
      </p:sp>
      <p:pic>
        <p:nvPicPr>
          <p:cNvPr id="21" name="Grafik 20" descr="\documentclass{article}&#10;\usepackage{amsmath}&#10;\pagestyle{empty}&#10;\begin{document}&#10;&#10;&#10;\begin{align*}&#10;J_{\text{reconstruction}}&amp;=\left\|\mathbf{X}-U_{Dec}\left(U_{Enc}\left(\mathbf{X} ; W_{Enc}\right) ; W_{Dec}\right)\right\|_2^2 \\&#10;J_{\text {soft N-cut}}(V, K)&amp;=K-\sum_{k=1}^K \frac{\sum_{u \in V} p\left(u=A_k\right) \sum_{u \in V} w(u, v) p\left(v=A_k\right)}{\sum_{u \in V} p\left(u=A_k\right) \sum_{t \in V} w(u, t)}&#10;\end{align*}&#10;&#10;\end{document}" title="IguanaTex Bitmap Display">
            <a:extLst>
              <a:ext uri="{FF2B5EF4-FFF2-40B4-BE49-F238E27FC236}">
                <a16:creationId xmlns:a16="http://schemas.microsoft.com/office/drawing/2014/main" id="{5E84B62C-C279-16BD-246B-44A123A60392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 rotWithShape="1"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35996" y="1933710"/>
            <a:ext cx="5360000" cy="281945"/>
          </a:xfrm>
          <a:prstGeom prst="rect">
            <a:avLst/>
          </a:prstGeom>
        </p:spPr>
      </p:pic>
      <p:cxnSp>
        <p:nvCxnSpPr>
          <p:cNvPr id="23" name="Gerade Verbindung mit Pfeil 22">
            <a:extLst>
              <a:ext uri="{FF2B5EF4-FFF2-40B4-BE49-F238E27FC236}">
                <a16:creationId xmlns:a16="http://schemas.microsoft.com/office/drawing/2014/main" id="{81BD11CC-E480-DA60-33F2-6D3ADBD0B4C7}"/>
              </a:ext>
            </a:extLst>
          </p:cNvPr>
          <p:cNvCxnSpPr>
            <a:cxnSpLocks/>
          </p:cNvCxnSpPr>
          <p:nvPr/>
        </p:nvCxnSpPr>
        <p:spPr>
          <a:xfrm flipV="1">
            <a:off x="2040682" y="2161703"/>
            <a:ext cx="0" cy="243872"/>
          </a:xfrm>
          <a:prstGeom prst="straightConnector1">
            <a:avLst/>
          </a:prstGeom>
          <a:ln w="34925">
            <a:solidFill>
              <a:schemeClr val="bg2"/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Gerade Verbindung mit Pfeil 25">
            <a:extLst>
              <a:ext uri="{FF2B5EF4-FFF2-40B4-BE49-F238E27FC236}">
                <a16:creationId xmlns:a16="http://schemas.microsoft.com/office/drawing/2014/main" id="{662EC482-C785-1208-9F3E-D5B767A7F4C1}"/>
              </a:ext>
            </a:extLst>
          </p:cNvPr>
          <p:cNvCxnSpPr>
            <a:cxnSpLocks/>
          </p:cNvCxnSpPr>
          <p:nvPr/>
        </p:nvCxnSpPr>
        <p:spPr>
          <a:xfrm flipV="1">
            <a:off x="3761630" y="2161703"/>
            <a:ext cx="0" cy="243872"/>
          </a:xfrm>
          <a:prstGeom prst="straightConnector1">
            <a:avLst/>
          </a:prstGeom>
          <a:ln w="34925">
            <a:solidFill>
              <a:schemeClr val="bg2"/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Gerade Verbindung mit Pfeil 26">
            <a:extLst>
              <a:ext uri="{FF2B5EF4-FFF2-40B4-BE49-F238E27FC236}">
                <a16:creationId xmlns:a16="http://schemas.microsoft.com/office/drawing/2014/main" id="{8725E790-4922-3008-A1CE-840AF51E576A}"/>
              </a:ext>
            </a:extLst>
          </p:cNvPr>
          <p:cNvCxnSpPr>
            <a:cxnSpLocks/>
          </p:cNvCxnSpPr>
          <p:nvPr/>
        </p:nvCxnSpPr>
        <p:spPr>
          <a:xfrm flipV="1">
            <a:off x="4373574" y="2161703"/>
            <a:ext cx="0" cy="243872"/>
          </a:xfrm>
          <a:prstGeom prst="straightConnector1">
            <a:avLst/>
          </a:prstGeom>
          <a:ln w="34925">
            <a:solidFill>
              <a:schemeClr val="bg2"/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feld 28">
            <a:extLst>
              <a:ext uri="{FF2B5EF4-FFF2-40B4-BE49-F238E27FC236}">
                <a16:creationId xmlns:a16="http://schemas.microsoft.com/office/drawing/2014/main" id="{2B80DEE5-4B0B-98DC-640E-CC7D28857527}"/>
              </a:ext>
            </a:extLst>
          </p:cNvPr>
          <p:cNvSpPr txBox="1"/>
          <p:nvPr/>
        </p:nvSpPr>
        <p:spPr bwMode="gray">
          <a:xfrm>
            <a:off x="1565485" y="2506739"/>
            <a:ext cx="950393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de-DE" sz="1400" dirty="0"/>
              <a:t>Eingabe</a:t>
            </a:r>
          </a:p>
        </p:txBody>
      </p:sp>
      <p:sp>
        <p:nvSpPr>
          <p:cNvPr id="30" name="Textfeld 29">
            <a:extLst>
              <a:ext uri="{FF2B5EF4-FFF2-40B4-BE49-F238E27FC236}">
                <a16:creationId xmlns:a16="http://schemas.microsoft.com/office/drawing/2014/main" id="{3280CFFA-1564-09A0-4F6C-EB887EFB9705}"/>
              </a:ext>
            </a:extLst>
          </p:cNvPr>
          <p:cNvSpPr txBox="1"/>
          <p:nvPr/>
        </p:nvSpPr>
        <p:spPr bwMode="gray">
          <a:xfrm>
            <a:off x="3028419" y="2386669"/>
            <a:ext cx="2099254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de-DE" sz="1400" dirty="0"/>
              <a:t>Parameter</a:t>
            </a:r>
          </a:p>
          <a:p>
            <a:pPr algn="ctr"/>
            <a:r>
              <a:rPr lang="de-DE" sz="1400" dirty="0"/>
              <a:t>Encoder und Decoder</a:t>
            </a:r>
          </a:p>
        </p:txBody>
      </p:sp>
      <p:pic>
        <p:nvPicPr>
          <p:cNvPr id="13" name="Grafik 12" descr="\documentclass{article}&#10;\usepackage{amsmath}&#10;\pagestyle{empty}&#10;\begin{document}&#10;&#10;&#10;\begin{equation*}&#10;\begin{aligned}&#10;J_{\text{Soft N-Cut}}&amp;=K-\sum_{k=1}^K \frac{\sum_{u \in V, v \in V} w(u, v) p\left(u=A_k\right) p\left(v=A_k\right)}{\sum_{u \in A_k, t \in V} w(u, t) p\left(u=A_k\right)}&#10;\end{aligned}&#10;\end{equation*}&#10;&#10;\end{document}" title="IguanaTex Bitmap Display">
            <a:extLst>
              <a:ext uri="{FF2B5EF4-FFF2-40B4-BE49-F238E27FC236}">
                <a16:creationId xmlns:a16="http://schemas.microsoft.com/office/drawing/2014/main" id="{2B93C550-8900-EAB6-1CD4-30C4B67BC5B4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84178" y="3627465"/>
            <a:ext cx="4715202" cy="521050"/>
          </a:xfrm>
          <a:prstGeom prst="rect">
            <a:avLst/>
          </a:prstGeom>
        </p:spPr>
      </p:pic>
      <p:pic>
        <p:nvPicPr>
          <p:cNvPr id="48" name="Grafik 47" descr="\documentclass{article}&#10;\usepackage{amsmath}&#10;\pagestyle{empty}&#10;\begin{document}&#10;&#10;\begin{equation*}&#10;\begin{array}{ll}&#10;A_k &amp; \text { Set of pixels in segment } k \\&#10;V &amp; \text { Set of all pixels } \\&#10;w &amp; \text { Weight between two pixels } \\&#10;p\left(u=A_k\right) &amp; \text { Probability of node } u \text { belongs to class } A_k&#10;\end{array}&#10;\end{equation*}&#10;&#10;&#10;\end{document}" title="IguanaTex Bitmap Display">
            <a:extLst>
              <a:ext uri="{FF2B5EF4-FFF2-40B4-BE49-F238E27FC236}">
                <a16:creationId xmlns:a16="http://schemas.microsoft.com/office/drawing/2014/main" id="{3990DE4F-5B46-5944-D1FB-FA559B974651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10342" y="4388228"/>
            <a:ext cx="4244903" cy="809144"/>
          </a:xfrm>
          <a:prstGeom prst="rect">
            <a:avLst/>
          </a:prstGeom>
        </p:spPr>
      </p:pic>
      <p:pic>
        <p:nvPicPr>
          <p:cNvPr id="56" name="Grafik 55">
            <a:extLst>
              <a:ext uri="{FF2B5EF4-FFF2-40B4-BE49-F238E27FC236}">
                <a16:creationId xmlns:a16="http://schemas.microsoft.com/office/drawing/2014/main" id="{51378BA2-3B62-C6EC-A315-7EA2C250EDCC}"/>
              </a:ext>
            </a:extLst>
          </p:cNvPr>
          <p:cNvPicPr>
            <a:picLocks noChangeAspect="1"/>
          </p:cNvPicPr>
          <p:nvPr/>
        </p:nvPicPr>
        <p:blipFill rotWithShape="1"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109833" y="1721021"/>
            <a:ext cx="1826579" cy="1522149"/>
          </a:xfrm>
          <a:prstGeom prst="rect">
            <a:avLst/>
          </a:prstGeom>
        </p:spPr>
      </p:pic>
      <p:sp>
        <p:nvSpPr>
          <p:cNvPr id="66" name="Geschweifte Klammer links 65">
            <a:extLst>
              <a:ext uri="{FF2B5EF4-FFF2-40B4-BE49-F238E27FC236}">
                <a16:creationId xmlns:a16="http://schemas.microsoft.com/office/drawing/2014/main" id="{7A02FDE6-D188-59E8-FB22-1CC163E1E3BD}"/>
              </a:ext>
            </a:extLst>
          </p:cNvPr>
          <p:cNvSpPr/>
          <p:nvPr/>
        </p:nvSpPr>
        <p:spPr>
          <a:xfrm>
            <a:off x="9432292" y="3695571"/>
            <a:ext cx="186291" cy="946253"/>
          </a:xfrm>
          <a:prstGeom prst="lef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68" name="Geschweifte Klammer links 67">
            <a:extLst>
              <a:ext uri="{FF2B5EF4-FFF2-40B4-BE49-F238E27FC236}">
                <a16:creationId xmlns:a16="http://schemas.microsoft.com/office/drawing/2014/main" id="{5FDAC3DA-6DCA-F7D3-6958-3F3CCF88DBC7}"/>
              </a:ext>
            </a:extLst>
          </p:cNvPr>
          <p:cNvSpPr/>
          <p:nvPr/>
        </p:nvSpPr>
        <p:spPr>
          <a:xfrm>
            <a:off x="7671789" y="1739364"/>
            <a:ext cx="372878" cy="1495945"/>
          </a:xfrm>
          <a:prstGeom prst="leftBrace">
            <a:avLst>
              <a:gd name="adj1" fmla="val 44850"/>
              <a:gd name="adj2" fmla="val 50000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72" name="Grafik 71" descr="\documentclass{article}&#10;\usepackage{amsmath}&#10;\pagestyle{empty}&#10;\begin{document}&#10;&#10;$V$&#10;&#10;&#10;\end{document}" title="IguanaTex Bitmap Display">
            <a:extLst>
              <a:ext uri="{FF2B5EF4-FFF2-40B4-BE49-F238E27FC236}">
                <a16:creationId xmlns:a16="http://schemas.microsoft.com/office/drawing/2014/main" id="{093DCFD9-6968-2596-073C-8A92881292D2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1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24125" y="2437395"/>
            <a:ext cx="126933" cy="124800"/>
          </a:xfrm>
          <a:prstGeom prst="rect">
            <a:avLst/>
          </a:prstGeom>
        </p:spPr>
      </p:pic>
      <p:pic>
        <p:nvPicPr>
          <p:cNvPr id="74" name="Grafik 73" descr="\documentclass{article}&#10;\usepackage{amsmath}&#10;\pagestyle{empty}&#10;\begin{document}&#10;&#10;Example: $k=1,...,5$&#10;&#10;&#10;\end{document}" title="IguanaTex Bitmap Display">
            <a:extLst>
              <a:ext uri="{FF2B5EF4-FFF2-40B4-BE49-F238E27FC236}">
                <a16:creationId xmlns:a16="http://schemas.microsoft.com/office/drawing/2014/main" id="{7B172665-929A-DE7A-4A9A-4A81712ED273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1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89611" y="3346886"/>
            <a:ext cx="1606400" cy="156800"/>
          </a:xfrm>
          <a:prstGeom prst="rect">
            <a:avLst/>
          </a:prstGeom>
        </p:spPr>
      </p:pic>
      <p:pic>
        <p:nvPicPr>
          <p:cNvPr id="76" name="Grafik 75" descr="\documentclass{article}&#10;\usepackage{amsmath}&#10;\pagestyle{empty}&#10;\begin{document}&#10;&#10;&#10;$A_1$&#10;&#10;\end{document}" title="IguanaTex Bitmap Display">
            <a:extLst>
              <a:ext uri="{FF2B5EF4-FFF2-40B4-BE49-F238E27FC236}">
                <a16:creationId xmlns:a16="http://schemas.microsoft.com/office/drawing/2014/main" id="{8B0685C9-43B4-604F-D9E1-ED820D2A2DCE}"/>
              </a:ext>
            </a:extLst>
          </p:cNvPr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1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38720" y="4081601"/>
            <a:ext cx="185600" cy="153600"/>
          </a:xfrm>
          <a:prstGeom prst="rect">
            <a:avLst/>
          </a:prstGeom>
        </p:spPr>
      </p:pic>
      <p:pic>
        <p:nvPicPr>
          <p:cNvPr id="78" name="Grafik 77" descr="\documentclass{article}&#10;\usepackage{amsmath}&#10;\pagestyle{empty}&#10;\begin{document}&#10;&#10;&#10;$V - A_1$&#10;&#10;\end{document}" title="IguanaTex Bitmap Display">
            <a:extLst>
              <a:ext uri="{FF2B5EF4-FFF2-40B4-BE49-F238E27FC236}">
                <a16:creationId xmlns:a16="http://schemas.microsoft.com/office/drawing/2014/main" id="{7D334CF2-F031-0ABC-1655-1F77CFAC54E6}"/>
              </a:ext>
            </a:extLst>
          </p:cNvPr>
          <p:cNvPicPr>
            <a:picLocks noChangeAspect="1"/>
          </p:cNvPicPr>
          <p:nvPr>
            <p:custDataLst>
              <p:tags r:id="rId7"/>
            </p:custDataLst>
          </p:nvPr>
        </p:nvPicPr>
        <p:blipFill>
          <a:blip r:embed="rId1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802722" y="4085935"/>
            <a:ext cx="540800" cy="144932"/>
          </a:xfrm>
          <a:prstGeom prst="rect">
            <a:avLst/>
          </a:prstGeom>
        </p:spPr>
      </p:pic>
      <p:pic>
        <p:nvPicPr>
          <p:cNvPr id="79" name="Grafik 78">
            <a:extLst>
              <a:ext uri="{FF2B5EF4-FFF2-40B4-BE49-F238E27FC236}">
                <a16:creationId xmlns:a16="http://schemas.microsoft.com/office/drawing/2014/main" id="{428F9FAD-EC4D-349F-73A3-BBB6B769103C}"/>
              </a:ext>
            </a:extLst>
          </p:cNvPr>
          <p:cNvPicPr>
            <a:picLocks noChangeAspect="1"/>
          </p:cNvPicPr>
          <p:nvPr/>
        </p:nvPicPr>
        <p:blipFill>
          <a:blip r:embed="rId1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21502" y="191192"/>
            <a:ext cx="3744886" cy="1130532"/>
          </a:xfrm>
          <a:prstGeom prst="rect">
            <a:avLst/>
          </a:prstGeom>
          <a:noFill/>
        </p:spPr>
      </p:pic>
      <p:sp>
        <p:nvSpPr>
          <p:cNvPr id="14" name="Textplatzhalter 9">
            <a:extLst>
              <a:ext uri="{FF2B5EF4-FFF2-40B4-BE49-F238E27FC236}">
                <a16:creationId xmlns:a16="http://schemas.microsoft.com/office/drawing/2014/main" id="{790CD36C-E9F3-1196-82BD-6DD3F0F01178}"/>
              </a:ext>
            </a:extLst>
          </p:cNvPr>
          <p:cNvSpPr txBox="1">
            <a:spLocks/>
          </p:cNvSpPr>
          <p:nvPr/>
        </p:nvSpPr>
        <p:spPr bwMode="gray">
          <a:xfrm>
            <a:off x="4116748" y="6149879"/>
            <a:ext cx="7849639" cy="54399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1600" b="1" i="0" kern="1200">
                <a:solidFill>
                  <a:schemeClr val="accent1"/>
                </a:solidFill>
                <a:latin typeface="Myriad Pro" panose="020B0503030403020204" pitchFamily="34" charset="0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1400" b="0" i="0" kern="120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1" i="0" kern="120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+mn-cs"/>
              </a:defRPr>
            </a:lvl3pPr>
            <a:lvl4pPr marL="18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b="0" i="0" kern="120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+mn-cs"/>
              </a:defRPr>
            </a:lvl4pPr>
            <a:lvl5pPr marL="36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b="0" i="0" kern="120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b="0" i="0" kern="120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+mn-cs"/>
              </a:defRPr>
            </a:lvl6pPr>
            <a:lvl7pPr marL="216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buFont typeface="+mj-lt"/>
              <a:buAutoNum type="arabicPeriod"/>
              <a:defRPr sz="1400" b="0" i="0" kern="120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lphaLcParenR"/>
              <a:defRPr sz="1400" b="0" i="0" kern="120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+mn-cs"/>
              </a:defRPr>
            </a:lvl8pPr>
            <a:lvl9pPr marL="648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romanLcPeriod"/>
              <a:defRPr sz="1400" b="0" i="0" kern="120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+mn-cs"/>
              </a:defRPr>
            </a:lvl9pPr>
          </a:lstStyle>
          <a:p>
            <a:pPr lvl="1"/>
            <a:r>
              <a:rPr lang="en-US" sz="1100" dirty="0"/>
              <a:t>X. Xia and B. </a:t>
            </a:r>
            <a:r>
              <a:rPr lang="en-US" sz="1100" dirty="0" err="1"/>
              <a:t>Kulis</a:t>
            </a:r>
            <a:r>
              <a:rPr lang="en-US" sz="1100" dirty="0"/>
              <a:t>. W-Net: A Deep Model for Fully Unsupervised Image Segmentation, 2017.</a:t>
            </a:r>
            <a:br>
              <a:rPr lang="en-US" sz="1100" dirty="0"/>
            </a:br>
            <a:r>
              <a:rPr lang="en-US" sz="1100" dirty="0"/>
              <a:t>J. Shi and J. Malik. Normalized Cuts and Image Segmentation. IEEE Transactions on Pattern Analysis and Machine Intelligence, :888–905, 2000. </a:t>
            </a:r>
          </a:p>
        </p:txBody>
      </p:sp>
    </p:spTree>
    <p:extLst>
      <p:ext uri="{BB962C8B-B14F-4D97-AF65-F5344CB8AC3E}">
        <p14:creationId xmlns:p14="http://schemas.microsoft.com/office/powerpoint/2010/main" val="241584962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9" grpId="0"/>
      <p:bldP spid="30" grpId="0"/>
      <p:bldP spid="66" grpId="0" animBg="1"/>
      <p:bldP spid="68" grpId="0" animBg="1"/>
    </p:bld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B9F5726-9743-559C-44B7-28BCF753CDA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ethode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0A4E1061-0C55-7450-F7F3-0ECA40053FB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225054-8F4D-4B67-8803-E473E83FD8A6}" type="datetime1">
              <a:rPr lang="de-DE" noProof="0" smtClean="0"/>
              <a:t>15.11.22</a:t>
            </a:fld>
            <a:endParaRPr lang="de-DE" noProof="0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85026CBD-C28D-1239-FF11-CB093AC93CB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/>
              <a:t>© Universität zu Lübeck</a:t>
            </a:r>
            <a:endParaRPr lang="de-DE" noProof="0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B3D8F5EA-A8A7-1DEA-C1C9-FE439AFE483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 noProof="0"/>
              <a:t>Seite</a:t>
            </a:r>
            <a:r>
              <a:rPr lang="en-US"/>
              <a:t> </a:t>
            </a:r>
            <a:fld id="{401BA3E4-5E55-4F99-AF09-CC6D6B2539E2}" type="slidenum">
              <a:rPr lang="en-US" smtClean="0"/>
              <a:pPr/>
              <a:t>48</a:t>
            </a:fld>
            <a:endParaRPr lang="en-US" dirty="0"/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660676AF-70D0-59AF-4157-1564C600A56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9425" y="778321"/>
            <a:ext cx="11233150" cy="312008"/>
          </a:xfrm>
        </p:spPr>
        <p:txBody>
          <a:bodyPr/>
          <a:lstStyle/>
          <a:p>
            <a:r>
              <a:rPr lang="de-DE" dirty="0"/>
              <a:t>Unüberwachtes Lernen mit W-Net </a:t>
            </a:r>
            <a:r>
              <a:rPr lang="de-DE" dirty="0">
                <a:solidFill>
                  <a:srgbClr val="084653"/>
                </a:solidFill>
                <a:latin typeface="Myriad Pro" panose="020B0503030403020204"/>
              </a:rPr>
              <a:t>— </a:t>
            </a:r>
            <a:r>
              <a:rPr lang="de-DE" dirty="0" err="1">
                <a:solidFill>
                  <a:srgbClr val="084653"/>
                </a:solidFill>
                <a:latin typeface="Myriad Pro" panose="020B0503030403020204"/>
              </a:rPr>
              <a:t>Weightings</a:t>
            </a:r>
            <a:r>
              <a:rPr lang="de-DE" dirty="0"/>
              <a:t> </a:t>
            </a:r>
            <a:r>
              <a:rPr lang="de-DE" sz="2000" b="0" i="0" kern="1200" dirty="0">
                <a:solidFill>
                  <a:srgbClr val="084653"/>
                </a:solidFill>
                <a:effectLst/>
                <a:latin typeface="Myriad Pro" panose="020B0503030403020204"/>
                <a:ea typeface="+mn-ea"/>
                <a:cs typeface="+mn-cs"/>
              </a:rPr>
              <a:t> </a:t>
            </a:r>
            <a:endParaRPr lang="de-DE" dirty="0"/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8FAE9A0D-F9B2-6E44-ACDA-6BDAD567765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8199" y="1703388"/>
            <a:ext cx="11233150" cy="4010200"/>
          </a:xfrm>
        </p:spPr>
        <p:txBody>
          <a:bodyPr/>
          <a:lstStyle/>
          <a:p>
            <a:pPr lvl="2"/>
            <a:r>
              <a:rPr lang="de-DE" dirty="0"/>
              <a:t>Default</a:t>
            </a:r>
          </a:p>
          <a:p>
            <a:pPr lvl="2"/>
            <a:endParaRPr lang="de-DE" dirty="0"/>
          </a:p>
          <a:p>
            <a:pPr lvl="3"/>
            <a:r>
              <a:rPr lang="de-DE" dirty="0"/>
              <a:t> </a:t>
            </a:r>
          </a:p>
          <a:p>
            <a:pPr lvl="2"/>
            <a:endParaRPr lang="de-DE" dirty="0"/>
          </a:p>
          <a:p>
            <a:pPr lvl="2"/>
            <a:r>
              <a:rPr lang="de-DE" dirty="0"/>
              <a:t>Linear</a:t>
            </a:r>
          </a:p>
          <a:p>
            <a:pPr lvl="2"/>
            <a:endParaRPr lang="de-DE" dirty="0"/>
          </a:p>
          <a:p>
            <a:pPr lvl="3"/>
            <a:r>
              <a:rPr lang="de-DE" dirty="0"/>
              <a:t> </a:t>
            </a:r>
          </a:p>
          <a:p>
            <a:pPr lvl="2"/>
            <a:endParaRPr lang="de-DE" dirty="0"/>
          </a:p>
          <a:p>
            <a:pPr lvl="2"/>
            <a:r>
              <a:rPr lang="de-DE" dirty="0" err="1"/>
              <a:t>Intensity</a:t>
            </a:r>
            <a:endParaRPr lang="de-DE" dirty="0"/>
          </a:p>
          <a:p>
            <a:pPr lvl="2"/>
            <a:endParaRPr lang="de-DE" dirty="0"/>
          </a:p>
          <a:p>
            <a:pPr lvl="3"/>
            <a:r>
              <a:rPr lang="de-DE" dirty="0"/>
              <a:t> </a:t>
            </a:r>
          </a:p>
          <a:p>
            <a:pPr lvl="2"/>
            <a:endParaRPr lang="de-DE" dirty="0"/>
          </a:p>
          <a:p>
            <a:pPr lvl="2"/>
            <a:r>
              <a:rPr lang="de-DE" dirty="0" err="1"/>
              <a:t>Two</a:t>
            </a:r>
            <a:r>
              <a:rPr lang="de-DE" dirty="0"/>
              <a:t> Radii</a:t>
            </a:r>
          </a:p>
          <a:p>
            <a:pPr lvl="2"/>
            <a:endParaRPr lang="de-DE" dirty="0"/>
          </a:p>
          <a:p>
            <a:pPr lvl="3"/>
            <a:r>
              <a:rPr lang="de-DE" dirty="0"/>
              <a:t> </a:t>
            </a:r>
          </a:p>
          <a:p>
            <a:pPr lvl="2"/>
            <a:endParaRPr lang="de-DE" dirty="0"/>
          </a:p>
          <a:p>
            <a:pPr lvl="2"/>
            <a:endParaRPr lang="de-DE" dirty="0"/>
          </a:p>
        </p:txBody>
      </p:sp>
      <p:pic>
        <p:nvPicPr>
          <p:cNvPr id="21" name="Grafik 20" descr="\documentclass{article}&#10;\usepackage{amsmath}&#10;\pagestyle{empty}&#10;\begin{document}&#10;&#10;&#10;\begin{equation*}&#10;w_{i j}=e^{\frac{-\|F(i)-F(j)\|_2^2}{\sigma_I^2}} *\left\{\begin{array}{cc}&#10;e^\frac{-\|X(i)-X(j)\|_2^2}{\sigma_X^2} &amp; \text { if }\|X(i)-X(j)\|_2&lt;r_1 \\&#10;0 &amp; \text { otherwise }&#10;\end{array}\right.&#10;\end{equation*}&#10;&#10;\end{document}" title="IguanaTex Bitmap Display">
            <a:extLst>
              <a:ext uri="{FF2B5EF4-FFF2-40B4-BE49-F238E27FC236}">
                <a16:creationId xmlns:a16="http://schemas.microsoft.com/office/drawing/2014/main" id="{ABCD04C3-48AC-7837-7F94-D4C60DBC240F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5561" y="2001097"/>
            <a:ext cx="4905599" cy="556800"/>
          </a:xfrm>
          <a:prstGeom prst="rect">
            <a:avLst/>
          </a:prstGeom>
        </p:spPr>
      </p:pic>
      <p:pic>
        <p:nvPicPr>
          <p:cNvPr id="23" name="Grafik 22" descr="\documentclass{article}&#10;\usepackage{amsmath}&#10;\pagestyle{empty}&#10;\begin{document}&#10;&#10;\begin{equation*}&#10;w_{i j}=e^{\frac{-\|F(i)-F(j)\|_2^2}{\sigma_I^2}} *\left\{\begin{array}{ccc}&#10;1 &amp; \text { if }\|X(i)-X(j)\|_2=0 \\&#10;\frac{1}{\|X(i)-X(j)\|_2^2} &amp; \text { else if }\|X(i)-X(j)\|_2&lt;r_1 %\text{ and }\|X(i)-X(j)\|_2\neq0 &#10;\\&#10;0 &amp; \text { otherwise }&#10;\end{array}\right.&#10;\end{equation*}&#10;&#10;\end{document}" title="IguanaTex Bitmap Display">
            <a:extLst>
              <a:ext uri="{FF2B5EF4-FFF2-40B4-BE49-F238E27FC236}">
                <a16:creationId xmlns:a16="http://schemas.microsoft.com/office/drawing/2014/main" id="{2E80A9FD-6E48-0583-DA63-431A0A37F5AD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5561" y="2915667"/>
            <a:ext cx="5180800" cy="642133"/>
          </a:xfrm>
          <a:prstGeom prst="rect">
            <a:avLst/>
          </a:prstGeom>
        </p:spPr>
      </p:pic>
      <p:pic>
        <p:nvPicPr>
          <p:cNvPr id="25" name="Grafik 24" descr="\documentclass{article}&#10;\usepackage{amsmath}&#10;\pagestyle{empty}&#10;\begin{document}&#10;\begin{equation*}&#10;w_{i j}=e^{\frac{-\|F(i)-F(j)\|_2^2}{\sigma_I^2}} *\left\{\begin{array}{cc}&#10;1 &amp; \text { if }\|X(i)-X(j)\|_2&lt;r_1&#10;\\&#10;0 &amp; \text { otherwise }&#10;\end{array}\right.&#10;\end{equation*}&#10;&#10;&#10;&#10;\end{document}" title="IguanaTex Bitmap Display">
            <a:extLst>
              <a:ext uri="{FF2B5EF4-FFF2-40B4-BE49-F238E27FC236}">
                <a16:creationId xmlns:a16="http://schemas.microsoft.com/office/drawing/2014/main" id="{E87914C4-F8CB-282A-19EB-F6BD590499EB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5561" y="3915570"/>
            <a:ext cx="3951999" cy="473600"/>
          </a:xfrm>
          <a:prstGeom prst="rect">
            <a:avLst/>
          </a:prstGeom>
        </p:spPr>
      </p:pic>
      <p:pic>
        <p:nvPicPr>
          <p:cNvPr id="27" name="Grafik 26" descr="\documentclass{article}&#10;\usepackage{amsmath}&#10;\pagestyle{empty}&#10;\begin{document}&#10;\begin{equation*}&#10;w_{i j}=e^{\frac{-\|F(i)-F(j)\|_2^2}{\sigma_I^2}} *\left\{\begin{array}{ccc}&#10;e^\frac{-\|X(i)-X(j)\|_2^2}{\sigma_X^2} &amp; \text { if }\|X(i)-X(j)\|_2&lt;r_1 \\&#10;1 &amp; \text { if } r_1&lt;\|X(i)-X(j)\|_2&lt;r_2&#10;\\&#10;0 &amp; \text { otherwise }&#10;\end{array}\right.&#10;, r_1 &lt; r_2 &#10;\end{equation*}&#10;&#10;&#10;&#10;\end{document}" title="IguanaTex Bitmap Display">
            <a:extLst>
              <a:ext uri="{FF2B5EF4-FFF2-40B4-BE49-F238E27FC236}">
                <a16:creationId xmlns:a16="http://schemas.microsoft.com/office/drawing/2014/main" id="{90ACB5FA-E666-0A3D-9149-5CC426C229CC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1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5561" y="4731496"/>
            <a:ext cx="6088533" cy="769067"/>
          </a:xfrm>
          <a:prstGeom prst="rect">
            <a:avLst/>
          </a:prstGeom>
        </p:spPr>
      </p:pic>
      <p:grpSp>
        <p:nvGrpSpPr>
          <p:cNvPr id="28" name="Gruppieren 27">
            <a:extLst>
              <a:ext uri="{FF2B5EF4-FFF2-40B4-BE49-F238E27FC236}">
                <a16:creationId xmlns:a16="http://schemas.microsoft.com/office/drawing/2014/main" id="{4052D86E-3C7E-0224-24EB-19047CDC0163}"/>
              </a:ext>
            </a:extLst>
          </p:cNvPr>
          <p:cNvGrpSpPr/>
          <p:nvPr/>
        </p:nvGrpSpPr>
        <p:grpSpPr>
          <a:xfrm>
            <a:off x="7516835" y="1672284"/>
            <a:ext cx="2652030" cy="3487042"/>
            <a:chOff x="9298570" y="1326149"/>
            <a:chExt cx="2652030" cy="3487042"/>
          </a:xfrm>
        </p:grpSpPr>
        <p:pic>
          <p:nvPicPr>
            <p:cNvPr id="29" name="Grafik 28">
              <a:extLst>
                <a:ext uri="{FF2B5EF4-FFF2-40B4-BE49-F238E27FC236}">
                  <a16:creationId xmlns:a16="http://schemas.microsoft.com/office/drawing/2014/main" id="{722B216F-C1D8-A72A-52BD-1F170BECCF8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98570" y="1326149"/>
              <a:ext cx="2652030" cy="2195551"/>
            </a:xfrm>
            <a:prstGeom prst="rect">
              <a:avLst/>
            </a:prstGeom>
          </p:spPr>
        </p:pic>
        <p:grpSp>
          <p:nvGrpSpPr>
            <p:cNvPr id="30" name="Gruppieren 29">
              <a:extLst>
                <a:ext uri="{FF2B5EF4-FFF2-40B4-BE49-F238E27FC236}">
                  <a16:creationId xmlns:a16="http://schemas.microsoft.com/office/drawing/2014/main" id="{6A2BC75F-ED31-D321-48F4-57769062EBDF}"/>
                </a:ext>
              </a:extLst>
            </p:cNvPr>
            <p:cNvGrpSpPr/>
            <p:nvPr/>
          </p:nvGrpSpPr>
          <p:grpSpPr>
            <a:xfrm>
              <a:off x="9867175" y="2539052"/>
              <a:ext cx="1548354" cy="2274139"/>
              <a:chOff x="9795167" y="2641168"/>
              <a:chExt cx="1548354" cy="2274139"/>
            </a:xfrm>
          </p:grpSpPr>
          <p:sp>
            <p:nvSpPr>
              <p:cNvPr id="31" name="Rechteck 30">
                <a:extLst>
                  <a:ext uri="{FF2B5EF4-FFF2-40B4-BE49-F238E27FC236}">
                    <a16:creationId xmlns:a16="http://schemas.microsoft.com/office/drawing/2014/main" id="{20352408-7EAE-3F20-26BD-9A27BC221B89}"/>
                  </a:ext>
                </a:extLst>
              </p:cNvPr>
              <p:cNvSpPr/>
              <p:nvPr/>
            </p:nvSpPr>
            <p:spPr>
              <a:xfrm>
                <a:off x="10461600" y="3153569"/>
                <a:ext cx="45719" cy="45719"/>
              </a:xfrm>
              <a:prstGeom prst="rect">
                <a:avLst/>
              </a:prstGeom>
              <a:noFill/>
              <a:ln w="63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grpSp>
            <p:nvGrpSpPr>
              <p:cNvPr id="32" name="Gruppieren 31">
                <a:extLst>
                  <a:ext uri="{FF2B5EF4-FFF2-40B4-BE49-F238E27FC236}">
                    <a16:creationId xmlns:a16="http://schemas.microsoft.com/office/drawing/2014/main" id="{6756E99E-36B9-1AFA-1D38-601A3344B262}"/>
                  </a:ext>
                </a:extLst>
              </p:cNvPr>
              <p:cNvGrpSpPr/>
              <p:nvPr/>
            </p:nvGrpSpPr>
            <p:grpSpPr>
              <a:xfrm>
                <a:off x="9795167" y="2641168"/>
                <a:ext cx="1548354" cy="2274139"/>
                <a:chOff x="9795167" y="2641168"/>
                <a:chExt cx="1548354" cy="2274139"/>
              </a:xfrm>
            </p:grpSpPr>
            <p:sp>
              <p:nvSpPr>
                <p:cNvPr id="33" name="Rechteck 32">
                  <a:extLst>
                    <a:ext uri="{FF2B5EF4-FFF2-40B4-BE49-F238E27FC236}">
                      <a16:creationId xmlns:a16="http://schemas.microsoft.com/office/drawing/2014/main" id="{7C2BC9E7-9AFC-4553-5091-FEA1EC26FC85}"/>
                    </a:ext>
                  </a:extLst>
                </p:cNvPr>
                <p:cNvSpPr/>
                <p:nvPr/>
              </p:nvSpPr>
              <p:spPr>
                <a:xfrm>
                  <a:off x="9843955" y="4421542"/>
                  <a:ext cx="216024" cy="197547"/>
                </a:xfrm>
                <a:prstGeom prst="rect">
                  <a:avLst/>
                </a:prstGeom>
                <a:solidFill>
                  <a:srgbClr val="DEE2E2"/>
                </a:solidFill>
                <a:ln w="9525"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/>
                </a:p>
              </p:txBody>
            </p:sp>
            <p:sp>
              <p:nvSpPr>
                <p:cNvPr id="34" name="Rechteck 33">
                  <a:extLst>
                    <a:ext uri="{FF2B5EF4-FFF2-40B4-BE49-F238E27FC236}">
                      <a16:creationId xmlns:a16="http://schemas.microsoft.com/office/drawing/2014/main" id="{C7BFD5A9-0CE1-3D82-EBE6-69491B8AF34D}"/>
                    </a:ext>
                  </a:extLst>
                </p:cNvPr>
                <p:cNvSpPr/>
                <p:nvPr/>
              </p:nvSpPr>
              <p:spPr>
                <a:xfrm>
                  <a:off x="11055777" y="4447626"/>
                  <a:ext cx="216024" cy="197547"/>
                </a:xfrm>
                <a:prstGeom prst="rect">
                  <a:avLst/>
                </a:prstGeom>
                <a:solidFill>
                  <a:srgbClr val="986572"/>
                </a:solidFill>
                <a:ln w="6350"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/>
                </a:p>
              </p:txBody>
            </p:sp>
            <p:sp>
              <p:nvSpPr>
                <p:cNvPr id="35" name="Rechteck 34">
                  <a:extLst>
                    <a:ext uri="{FF2B5EF4-FFF2-40B4-BE49-F238E27FC236}">
                      <a16:creationId xmlns:a16="http://schemas.microsoft.com/office/drawing/2014/main" id="{CD436FDB-4820-B608-6D84-06EC36988938}"/>
                    </a:ext>
                  </a:extLst>
                </p:cNvPr>
                <p:cNvSpPr/>
                <p:nvPr/>
              </p:nvSpPr>
              <p:spPr>
                <a:xfrm flipV="1">
                  <a:off x="10873568" y="2951232"/>
                  <a:ext cx="45771" cy="45719"/>
                </a:xfrm>
                <a:prstGeom prst="rect">
                  <a:avLst/>
                </a:prstGeom>
                <a:noFill/>
                <a:ln w="6350"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/>
                </a:p>
              </p:txBody>
            </p:sp>
            <p:cxnSp>
              <p:nvCxnSpPr>
                <p:cNvPr id="36" name="Gerade Verbindung mit Pfeil 35">
                  <a:extLst>
                    <a:ext uri="{FF2B5EF4-FFF2-40B4-BE49-F238E27FC236}">
                      <a16:creationId xmlns:a16="http://schemas.microsoft.com/office/drawing/2014/main" id="{D6C21BA1-5327-17D0-B1BC-50868405B3E7}"/>
                    </a:ext>
                  </a:extLst>
                </p:cNvPr>
                <p:cNvCxnSpPr/>
                <p:nvPr/>
              </p:nvCxnSpPr>
              <p:spPr>
                <a:xfrm flipV="1">
                  <a:off x="9951967" y="3212976"/>
                  <a:ext cx="509633" cy="1080120"/>
                </a:xfrm>
                <a:prstGeom prst="straightConnector1">
                  <a:avLst/>
                </a:prstGeom>
                <a:ln>
                  <a:tailEnd type="triangle"/>
                </a:ln>
              </p:spPr>
              <p:style>
                <a:lnRef idx="1">
                  <a:schemeClr val="dk1"/>
                </a:lnRef>
                <a:fillRef idx="0">
                  <a:schemeClr val="dk1"/>
                </a:fillRef>
                <a:effectRef idx="0">
                  <a:schemeClr val="dk1"/>
                </a:effectRef>
                <a:fontRef idx="minor">
                  <a:schemeClr val="tx1"/>
                </a:fontRef>
              </p:style>
            </p:cxnSp>
            <p:cxnSp>
              <p:nvCxnSpPr>
                <p:cNvPr id="37" name="Gerade Verbindung mit Pfeil 36">
                  <a:extLst>
                    <a:ext uri="{FF2B5EF4-FFF2-40B4-BE49-F238E27FC236}">
                      <a16:creationId xmlns:a16="http://schemas.microsoft.com/office/drawing/2014/main" id="{8E816A23-BF60-896B-3257-A9E67A3B827C}"/>
                    </a:ext>
                  </a:extLst>
                </p:cNvPr>
                <p:cNvCxnSpPr/>
                <p:nvPr/>
              </p:nvCxnSpPr>
              <p:spPr>
                <a:xfrm flipH="1" flipV="1">
                  <a:off x="10908316" y="3042291"/>
                  <a:ext cx="255473" cy="1285084"/>
                </a:xfrm>
                <a:prstGeom prst="straightConnector1">
                  <a:avLst/>
                </a:prstGeom>
                <a:ln>
                  <a:tailEnd type="triangle"/>
                </a:ln>
              </p:spPr>
              <p:style>
                <a:lnRef idx="1">
                  <a:schemeClr val="dk1"/>
                </a:lnRef>
                <a:fillRef idx="0">
                  <a:schemeClr val="dk1"/>
                </a:fillRef>
                <a:effectRef idx="0">
                  <a:schemeClr val="dk1"/>
                </a:effectRef>
                <a:fontRef idx="minor">
                  <a:schemeClr val="tx1"/>
                </a:fontRef>
              </p:style>
            </p:cxnSp>
            <p:pic>
              <p:nvPicPr>
                <p:cNvPr id="38" name="Grafik 37" descr="\documentclass{article}&#10;\usepackage{amsmath}&#10;\pagestyle{empty}&#10;\begin{document}&#10;&#10;&#10;$F(i)$&#10;&#10;\end{document}" title="IguanaTex Bitmap Display">
                  <a:extLst>
                    <a:ext uri="{FF2B5EF4-FFF2-40B4-BE49-F238E27FC236}">
                      <a16:creationId xmlns:a16="http://schemas.microsoft.com/office/drawing/2014/main" id="{846E1E54-18B4-6DD0-0443-044E99BB7C62}"/>
                    </a:ext>
                  </a:extLst>
                </p:cNvPr>
                <p:cNvPicPr>
                  <a:picLocks noChangeAspect="1"/>
                </p:cNvPicPr>
                <p:nvPr>
                  <p:custDataLst>
                    <p:tags r:id="rId5"/>
                  </p:custDataLst>
                </p:nvPr>
              </p:nvPicPr>
              <p:blipFill>
                <a:blip r:embed="rId16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9795167" y="4703134"/>
                  <a:ext cx="313600" cy="178133"/>
                </a:xfrm>
                <a:prstGeom prst="rect">
                  <a:avLst/>
                </a:prstGeom>
              </p:spPr>
            </p:pic>
            <p:pic>
              <p:nvPicPr>
                <p:cNvPr id="39" name="Grafik 38" descr="\documentclass{article}&#10;\usepackage{amsmath}&#10;\pagestyle{empty}&#10;\begin{document}&#10;&#10;&#10;$F(j)$&#10;\end{document}" title="IguanaTex Bitmap Display">
                  <a:extLst>
                    <a:ext uri="{FF2B5EF4-FFF2-40B4-BE49-F238E27FC236}">
                      <a16:creationId xmlns:a16="http://schemas.microsoft.com/office/drawing/2014/main" id="{007460C9-013D-63D2-EC09-4E0A5DDDAC10}"/>
                    </a:ext>
                  </a:extLst>
                </p:cNvPr>
                <p:cNvPicPr>
                  <a:picLocks noChangeAspect="1"/>
                </p:cNvPicPr>
                <p:nvPr>
                  <p:custDataLst>
                    <p:tags r:id="rId6"/>
                  </p:custDataLst>
                </p:nvPr>
              </p:nvPicPr>
              <p:blipFill>
                <a:blip r:embed="rId17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0996322" y="4737174"/>
                  <a:ext cx="334933" cy="178133"/>
                </a:xfrm>
                <a:prstGeom prst="rect">
                  <a:avLst/>
                </a:prstGeom>
              </p:spPr>
            </p:pic>
            <p:pic>
              <p:nvPicPr>
                <p:cNvPr id="40" name="Grafik 39" descr="\documentclass{article}&#10;\usepackage{amsmath}&#10;\pagestyle{empty}&#10;\begin{document}&#10;&#10;&#10;$X(i)$&#10;&#10;\end{document}" title="IguanaTex Bitmap Display">
                  <a:extLst>
                    <a:ext uri="{FF2B5EF4-FFF2-40B4-BE49-F238E27FC236}">
                      <a16:creationId xmlns:a16="http://schemas.microsoft.com/office/drawing/2014/main" id="{5BBACE12-CF1F-F6D1-8B40-9249DAD96E77}"/>
                    </a:ext>
                  </a:extLst>
                </p:cNvPr>
                <p:cNvPicPr>
                  <a:picLocks noChangeAspect="1"/>
                </p:cNvPicPr>
                <p:nvPr>
                  <p:custDataLst>
                    <p:tags r:id="rId7"/>
                  </p:custDataLst>
                </p:nvPr>
              </p:nvPicPr>
              <p:blipFill>
                <a:blip r:embed="rId18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0286452" y="2975456"/>
                  <a:ext cx="338133" cy="178133"/>
                </a:xfrm>
                <a:prstGeom prst="rect">
                  <a:avLst/>
                </a:prstGeom>
              </p:spPr>
            </p:pic>
            <p:pic>
              <p:nvPicPr>
                <p:cNvPr id="41" name="Grafik 40" descr="\documentclass{article}&#10;\usepackage{amsmath}&#10;\pagestyle{empty}&#10;\begin{document}&#10;&#10;&#10;$X(j)$&#10;&#10;\end{document}" title="IguanaTex Bitmap Display">
                  <a:extLst>
                    <a:ext uri="{FF2B5EF4-FFF2-40B4-BE49-F238E27FC236}">
                      <a16:creationId xmlns:a16="http://schemas.microsoft.com/office/drawing/2014/main" id="{948CAA90-347E-76FD-9543-191BE950008C}"/>
                    </a:ext>
                  </a:extLst>
                </p:cNvPr>
                <p:cNvPicPr>
                  <a:picLocks noChangeAspect="1"/>
                </p:cNvPicPr>
                <p:nvPr>
                  <p:custDataLst>
                    <p:tags r:id="rId8"/>
                  </p:custDataLst>
                </p:nvPr>
              </p:nvPicPr>
              <p:blipFill>
                <a:blip r:embed="rId19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0984054" y="2817694"/>
                  <a:ext cx="359467" cy="178133"/>
                </a:xfrm>
                <a:prstGeom prst="rect">
                  <a:avLst/>
                </a:prstGeom>
              </p:spPr>
            </p:pic>
            <p:sp>
              <p:nvSpPr>
                <p:cNvPr id="42" name="Ellipse 41">
                  <a:extLst>
                    <a:ext uri="{FF2B5EF4-FFF2-40B4-BE49-F238E27FC236}">
                      <a16:creationId xmlns:a16="http://schemas.microsoft.com/office/drawing/2014/main" id="{5B14308E-D93B-9FB4-11AE-6B84AF22C3C6}"/>
                    </a:ext>
                  </a:extLst>
                </p:cNvPr>
                <p:cNvSpPr/>
                <p:nvPr/>
              </p:nvSpPr>
              <p:spPr>
                <a:xfrm>
                  <a:off x="9951967" y="2641168"/>
                  <a:ext cx="1038780" cy="1009552"/>
                </a:xfrm>
                <a:prstGeom prst="ellipse">
                  <a:avLst/>
                </a:prstGeom>
                <a:noFill/>
                <a:ln w="6350">
                  <a:solidFill>
                    <a:srgbClr val="FF000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/>
                </a:p>
              </p:txBody>
            </p:sp>
            <p:cxnSp>
              <p:nvCxnSpPr>
                <p:cNvPr id="43" name="Gerade Verbindung mit Pfeil 42">
                  <a:extLst>
                    <a:ext uri="{FF2B5EF4-FFF2-40B4-BE49-F238E27FC236}">
                      <a16:creationId xmlns:a16="http://schemas.microsoft.com/office/drawing/2014/main" id="{A87FEB48-AFF7-D755-78FD-94827B43CC74}"/>
                    </a:ext>
                  </a:extLst>
                </p:cNvPr>
                <p:cNvCxnSpPr/>
                <p:nvPr/>
              </p:nvCxnSpPr>
              <p:spPr>
                <a:xfrm flipH="1" flipV="1">
                  <a:off x="9980128" y="3171862"/>
                  <a:ext cx="469052" cy="4576"/>
                </a:xfrm>
                <a:prstGeom prst="straightConnector1">
                  <a:avLst/>
                </a:prstGeom>
                <a:ln>
                  <a:solidFill>
                    <a:srgbClr val="FF0000"/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pic>
              <p:nvPicPr>
                <p:cNvPr id="44" name="Grafik 43" descr="\documentclass{article}&#10;\usepackage{amsmath}&#10;\pagestyle{empty}&#10;\begin{document}&#10;&#10;&#10;$r$&#10;&#10;\end{document}" title="IguanaTex Bitmap Display">
                  <a:extLst>
                    <a:ext uri="{FF2B5EF4-FFF2-40B4-BE49-F238E27FC236}">
                      <a16:creationId xmlns:a16="http://schemas.microsoft.com/office/drawing/2014/main" id="{8B6E588F-5C1E-E370-B0AF-54C997474F9C}"/>
                    </a:ext>
                  </a:extLst>
                </p:cNvPr>
                <p:cNvPicPr>
                  <a:picLocks noChangeAspect="1"/>
                </p:cNvPicPr>
                <p:nvPr>
                  <p:custDataLst>
                    <p:tags r:id="rId9"/>
                  </p:custDataLst>
                </p:nvPr>
              </p:nvPicPr>
              <p:blipFill>
                <a:blip r:embed="rId20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0153950" y="3084530"/>
                  <a:ext cx="67786" cy="73681"/>
                </a:xfrm>
                <a:prstGeom prst="rect">
                  <a:avLst/>
                </a:prstGeom>
              </p:spPr>
            </p:pic>
          </p:grpSp>
        </p:grpSp>
      </p:grpSp>
      <p:pic>
        <p:nvPicPr>
          <p:cNvPr id="45" name="Grafik 44">
            <a:extLst>
              <a:ext uri="{FF2B5EF4-FFF2-40B4-BE49-F238E27FC236}">
                <a16:creationId xmlns:a16="http://schemas.microsoft.com/office/drawing/2014/main" id="{1AB12BC9-682F-A134-7E2E-A90EFA54FC65}"/>
              </a:ext>
            </a:extLst>
          </p:cNvPr>
          <p:cNvPicPr>
            <a:picLocks noChangeAspect="1"/>
          </p:cNvPicPr>
          <p:nvPr/>
        </p:nvPicPr>
        <p:blipFill>
          <a:blip r:embed="rId2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21502" y="191192"/>
            <a:ext cx="3744886" cy="1130532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76992740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9DCD257-76C2-2954-544B-D1E4273BE94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395588"/>
            <a:ext cx="11233150" cy="374398"/>
          </a:xfrm>
        </p:spPr>
        <p:txBody>
          <a:bodyPr/>
          <a:lstStyle/>
          <a:p>
            <a:r>
              <a:rPr lang="de-DE" dirty="0"/>
              <a:t>Evaluatio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E0A1FBC4-0C69-7513-005D-D8A0741CED1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5A82B2D-840F-4167-AD44-C02BC9C87CCB}" type="datetime1">
              <a:rPr lang="de-DE" noProof="0" smtClean="0"/>
              <a:t>15.11.22</a:t>
            </a:fld>
            <a:endParaRPr lang="de-DE" noProof="0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14AACBA-3C77-2FAE-5360-371943E0EC4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/>
              <a:t>© Universität zu Lübeck</a:t>
            </a:r>
            <a:endParaRPr lang="de-DE" noProof="0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F7262EE3-6CB5-A669-D8F7-87F25555352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 noProof="0"/>
              <a:t>Seite</a:t>
            </a:r>
            <a:r>
              <a:rPr lang="en-US"/>
              <a:t> </a:t>
            </a:r>
            <a:fld id="{401BA3E4-5E55-4F99-AF09-CC6D6B2539E2}" type="slidenum">
              <a:rPr lang="en-US" smtClean="0"/>
              <a:pPr/>
              <a:t>49</a:t>
            </a:fld>
            <a:endParaRPr lang="en-US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46883BBC-723C-AFE5-F12D-9DEF1D8B32B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9425" y="778321"/>
            <a:ext cx="11233150" cy="894219"/>
          </a:xfrm>
        </p:spPr>
        <p:txBody>
          <a:bodyPr/>
          <a:lstStyle/>
          <a:p>
            <a:r>
              <a:rPr lang="de-DE" dirty="0"/>
              <a:t>Plaque Segmentierung </a:t>
            </a:r>
            <a:r>
              <a:rPr lang="de-DE" sz="2000" b="0" i="0" kern="1200" dirty="0">
                <a:solidFill>
                  <a:srgbClr val="084653"/>
                </a:solidFill>
                <a:effectLst/>
                <a:latin typeface="Myriad Pro" panose="020B0503030403020204"/>
                <a:ea typeface="+mn-ea"/>
                <a:cs typeface="+mn-cs"/>
              </a:rPr>
              <a:t>—</a:t>
            </a:r>
            <a:r>
              <a:rPr lang="de-DE" dirty="0"/>
              <a:t> W-Net</a:t>
            </a:r>
          </a:p>
          <a:p>
            <a:endParaRPr lang="de-DE" dirty="0"/>
          </a:p>
        </p:txBody>
      </p:sp>
      <p:pic>
        <p:nvPicPr>
          <p:cNvPr id="9" name="Grafik 8" descr="Ein Bild, das Metallwaren enthält.&#10;&#10;Automatisch generierte Beschreibung">
            <a:extLst>
              <a:ext uri="{FF2B5EF4-FFF2-40B4-BE49-F238E27FC236}">
                <a16:creationId xmlns:a16="http://schemas.microsoft.com/office/drawing/2014/main" id="{6B87B623-F7CE-CF3E-7055-26D277A3C5D8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8199" y="1702800"/>
            <a:ext cx="1440000" cy="1080000"/>
          </a:xfrm>
          <a:prstGeom prst="rect">
            <a:avLst/>
          </a:prstGeom>
        </p:spPr>
      </p:pic>
      <p:pic>
        <p:nvPicPr>
          <p:cNvPr id="11" name="Grafik 10" descr="Ein Bild, das Silhouette enthält.&#10;&#10;Automatisch generierte Beschreibung">
            <a:extLst>
              <a:ext uri="{FF2B5EF4-FFF2-40B4-BE49-F238E27FC236}">
                <a16:creationId xmlns:a16="http://schemas.microsoft.com/office/drawing/2014/main" id="{83CF0BF4-6209-66C0-36EA-7E158530D21D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08048" y="1702800"/>
            <a:ext cx="1440000" cy="1080000"/>
          </a:xfrm>
          <a:prstGeom prst="rect">
            <a:avLst/>
          </a:prstGeom>
        </p:spPr>
      </p:pic>
      <p:pic>
        <p:nvPicPr>
          <p:cNvPr id="21" name="Grafik 20" descr="Ein Bild, das Karte enthält.&#10;&#10;Automatisch generierte Beschreibung">
            <a:extLst>
              <a:ext uri="{FF2B5EF4-FFF2-40B4-BE49-F238E27FC236}">
                <a16:creationId xmlns:a16="http://schemas.microsoft.com/office/drawing/2014/main" id="{96FBAD3A-E0F8-AA75-D30F-A0271AB5EED8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52060" y="1702800"/>
            <a:ext cx="1440000" cy="1080000"/>
          </a:xfrm>
          <a:prstGeom prst="rect">
            <a:avLst/>
          </a:prstGeom>
        </p:spPr>
      </p:pic>
      <p:pic>
        <p:nvPicPr>
          <p:cNvPr id="23" name="Grafik 22" descr="Ein Bild, das Vektorgrafiken enthält.&#10;&#10;Automatisch generierte Beschreibung">
            <a:extLst>
              <a:ext uri="{FF2B5EF4-FFF2-40B4-BE49-F238E27FC236}">
                <a16:creationId xmlns:a16="http://schemas.microsoft.com/office/drawing/2014/main" id="{DD39BEFA-44BF-67F1-86E4-45C6295C45AD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81909" y="1702800"/>
            <a:ext cx="1440000" cy="1080000"/>
          </a:xfrm>
          <a:prstGeom prst="rect">
            <a:avLst/>
          </a:prstGeom>
        </p:spPr>
      </p:pic>
      <p:pic>
        <p:nvPicPr>
          <p:cNvPr id="25" name="Grafik 24" descr="Ein Bild, das Vektorgrafiken enthält.&#10;&#10;Automatisch generierte Beschreibung">
            <a:extLst>
              <a:ext uri="{FF2B5EF4-FFF2-40B4-BE49-F238E27FC236}">
                <a16:creationId xmlns:a16="http://schemas.microsoft.com/office/drawing/2014/main" id="{63563EDC-2ED9-25B9-DB42-7707590C428C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8199" y="3207600"/>
            <a:ext cx="1440000" cy="1080000"/>
          </a:xfrm>
          <a:prstGeom prst="rect">
            <a:avLst/>
          </a:prstGeom>
        </p:spPr>
      </p:pic>
      <p:pic>
        <p:nvPicPr>
          <p:cNvPr id="27" name="Grafik 26">
            <a:extLst>
              <a:ext uri="{FF2B5EF4-FFF2-40B4-BE49-F238E27FC236}">
                <a16:creationId xmlns:a16="http://schemas.microsoft.com/office/drawing/2014/main" id="{57896DFA-3372-2C2E-67B3-D2969A7446F9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09600" y="3207600"/>
            <a:ext cx="1440000" cy="1080000"/>
          </a:xfrm>
          <a:prstGeom prst="rect">
            <a:avLst/>
          </a:prstGeom>
        </p:spPr>
      </p:pic>
      <p:pic>
        <p:nvPicPr>
          <p:cNvPr id="29" name="Grafik 28">
            <a:extLst>
              <a:ext uri="{FF2B5EF4-FFF2-40B4-BE49-F238E27FC236}">
                <a16:creationId xmlns:a16="http://schemas.microsoft.com/office/drawing/2014/main" id="{815F06F3-565B-B9C6-34E7-3D88F2C1BFAF}"/>
              </a:ext>
            </a:extLst>
          </p:cNvPr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81909" y="3207600"/>
            <a:ext cx="1440000" cy="1080000"/>
          </a:xfrm>
          <a:prstGeom prst="rect">
            <a:avLst/>
          </a:prstGeom>
        </p:spPr>
      </p:pic>
      <p:pic>
        <p:nvPicPr>
          <p:cNvPr id="31" name="Grafik 30">
            <a:extLst>
              <a:ext uri="{FF2B5EF4-FFF2-40B4-BE49-F238E27FC236}">
                <a16:creationId xmlns:a16="http://schemas.microsoft.com/office/drawing/2014/main" id="{EC4DBEB9-1E56-5ECC-7A49-12CDA2CD87E0}"/>
              </a:ext>
            </a:extLst>
          </p:cNvPr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52060" y="3207600"/>
            <a:ext cx="1440000" cy="1080000"/>
          </a:xfrm>
          <a:prstGeom prst="rect">
            <a:avLst/>
          </a:prstGeom>
        </p:spPr>
      </p:pic>
      <p:pic>
        <p:nvPicPr>
          <p:cNvPr id="37" name="Grafik 36" descr="Ein Bild, das Vektorgrafiken enthält.&#10;&#10;Automatisch generierte Beschreibung">
            <a:extLst>
              <a:ext uri="{FF2B5EF4-FFF2-40B4-BE49-F238E27FC236}">
                <a16:creationId xmlns:a16="http://schemas.microsoft.com/office/drawing/2014/main" id="{DE6357B3-0B9A-EA84-3DE9-B6D46D674A40}"/>
              </a:ext>
            </a:extLst>
          </p:cNvPr>
          <p:cNvPicPr>
            <a:picLocks noChangeAspect="1"/>
          </p:cNvPicPr>
          <p:nvPr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09600" y="4708800"/>
            <a:ext cx="1440000" cy="1080000"/>
          </a:xfrm>
          <a:prstGeom prst="rect">
            <a:avLst/>
          </a:prstGeom>
        </p:spPr>
      </p:pic>
      <p:pic>
        <p:nvPicPr>
          <p:cNvPr id="39" name="Grafik 38">
            <a:extLst>
              <a:ext uri="{FF2B5EF4-FFF2-40B4-BE49-F238E27FC236}">
                <a16:creationId xmlns:a16="http://schemas.microsoft.com/office/drawing/2014/main" id="{54DC34AE-FA87-E110-69D3-52E0E78495A8}"/>
              </a:ext>
            </a:extLst>
          </p:cNvPr>
          <p:cNvPicPr>
            <a:picLocks noChangeAspect="1"/>
          </p:cNvPicPr>
          <p:nvPr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7010" y="4708800"/>
            <a:ext cx="1440000" cy="1080000"/>
          </a:xfrm>
          <a:prstGeom prst="rect">
            <a:avLst/>
          </a:prstGeom>
        </p:spPr>
      </p:pic>
      <p:pic>
        <p:nvPicPr>
          <p:cNvPr id="41" name="Grafik 40">
            <a:extLst>
              <a:ext uri="{FF2B5EF4-FFF2-40B4-BE49-F238E27FC236}">
                <a16:creationId xmlns:a16="http://schemas.microsoft.com/office/drawing/2014/main" id="{980D3E7B-D37B-B097-97DB-D52C11E6F500}"/>
              </a:ext>
            </a:extLst>
          </p:cNvPr>
          <p:cNvPicPr>
            <a:picLocks noChangeAspect="1"/>
          </p:cNvPicPr>
          <p:nvPr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81909" y="4708800"/>
            <a:ext cx="1440000" cy="1080000"/>
          </a:xfrm>
          <a:prstGeom prst="rect">
            <a:avLst/>
          </a:prstGeom>
        </p:spPr>
      </p:pic>
      <p:pic>
        <p:nvPicPr>
          <p:cNvPr id="43" name="Grafik 42">
            <a:extLst>
              <a:ext uri="{FF2B5EF4-FFF2-40B4-BE49-F238E27FC236}">
                <a16:creationId xmlns:a16="http://schemas.microsoft.com/office/drawing/2014/main" id="{60687892-27F6-4067-D8E4-F134BBEF3D65}"/>
              </a:ext>
            </a:extLst>
          </p:cNvPr>
          <p:cNvPicPr>
            <a:picLocks noChangeAspect="1"/>
          </p:cNvPicPr>
          <p:nvPr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52060" y="4708800"/>
            <a:ext cx="1440000" cy="1080000"/>
          </a:xfrm>
          <a:prstGeom prst="rect">
            <a:avLst/>
          </a:prstGeom>
        </p:spPr>
      </p:pic>
      <p:pic>
        <p:nvPicPr>
          <p:cNvPr id="8" name="Grafik 7">
            <a:extLst>
              <a:ext uri="{FF2B5EF4-FFF2-40B4-BE49-F238E27FC236}">
                <a16:creationId xmlns:a16="http://schemas.microsoft.com/office/drawing/2014/main" id="{DC06BA4A-9E63-8B85-6329-5005AC4291D7}"/>
              </a:ext>
            </a:extLst>
          </p:cNvPr>
          <p:cNvPicPr>
            <a:picLocks noChangeAspect="1"/>
          </p:cNvPicPr>
          <p:nvPr/>
        </p:nvPicPr>
        <p:blipFill>
          <a:blip r:embed="rId1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21502" y="191192"/>
            <a:ext cx="3744886" cy="1130532"/>
          </a:xfrm>
          <a:prstGeom prst="rect">
            <a:avLst/>
          </a:prstGeom>
          <a:noFill/>
        </p:spPr>
      </p:pic>
      <p:sp>
        <p:nvSpPr>
          <p:cNvPr id="10" name="Textplatzhalter 12">
            <a:extLst>
              <a:ext uri="{FF2B5EF4-FFF2-40B4-BE49-F238E27FC236}">
                <a16:creationId xmlns:a16="http://schemas.microsoft.com/office/drawing/2014/main" id="{DAC763EE-0918-FACC-ED85-4BFF252B947E}"/>
              </a:ext>
            </a:extLst>
          </p:cNvPr>
          <p:cNvSpPr txBox="1">
            <a:spLocks/>
          </p:cNvSpPr>
          <p:nvPr/>
        </p:nvSpPr>
        <p:spPr bwMode="gray">
          <a:xfrm>
            <a:off x="477011" y="2782800"/>
            <a:ext cx="1440000" cy="21839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1600" b="1" i="0" kern="1200">
                <a:solidFill>
                  <a:schemeClr val="accent1"/>
                </a:solidFill>
                <a:latin typeface="Myriad Pro" panose="020B0503030403020204" pitchFamily="34" charset="0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1400" b="0" i="0" kern="120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1" i="0" kern="120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+mn-cs"/>
              </a:defRPr>
            </a:lvl3pPr>
            <a:lvl4pPr marL="18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b="0" i="0" kern="120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+mn-cs"/>
              </a:defRPr>
            </a:lvl4pPr>
            <a:lvl5pPr marL="36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b="0" i="0" kern="120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b="0" i="0" kern="120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+mn-cs"/>
              </a:defRPr>
            </a:lvl6pPr>
            <a:lvl7pPr marL="216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buFont typeface="+mj-lt"/>
              <a:buAutoNum type="arabicPeriod"/>
              <a:defRPr sz="1400" b="0" i="0" kern="120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lphaLcParenR"/>
              <a:defRPr sz="1400" b="0" i="0" kern="120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+mn-cs"/>
              </a:defRPr>
            </a:lvl8pPr>
            <a:lvl9pPr marL="648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romanLcPeriod"/>
              <a:defRPr sz="1400" b="0" i="0" kern="120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+mn-cs"/>
              </a:defRPr>
            </a:lvl9pPr>
          </a:lstStyle>
          <a:p>
            <a:pPr lvl="1" algn="ctr"/>
            <a:r>
              <a:rPr lang="de-DE" dirty="0"/>
              <a:t>RGB Input</a:t>
            </a:r>
          </a:p>
        </p:txBody>
      </p:sp>
      <p:sp>
        <p:nvSpPr>
          <p:cNvPr id="12" name="Textplatzhalter 12">
            <a:extLst>
              <a:ext uri="{FF2B5EF4-FFF2-40B4-BE49-F238E27FC236}">
                <a16:creationId xmlns:a16="http://schemas.microsoft.com/office/drawing/2014/main" id="{82104DAD-F171-E860-A8D2-265CED5C6ADD}"/>
              </a:ext>
            </a:extLst>
          </p:cNvPr>
          <p:cNvSpPr txBox="1">
            <a:spLocks/>
          </p:cNvSpPr>
          <p:nvPr/>
        </p:nvSpPr>
        <p:spPr bwMode="gray">
          <a:xfrm>
            <a:off x="2108048" y="2782800"/>
            <a:ext cx="1440000" cy="21839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1600" b="1" i="0" kern="1200">
                <a:solidFill>
                  <a:schemeClr val="accent1"/>
                </a:solidFill>
                <a:latin typeface="Myriad Pro" panose="020B0503030403020204" pitchFamily="34" charset="0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1400" b="0" i="0" kern="120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1" i="0" kern="120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+mn-cs"/>
              </a:defRPr>
            </a:lvl3pPr>
            <a:lvl4pPr marL="18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b="0" i="0" kern="120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+mn-cs"/>
              </a:defRPr>
            </a:lvl4pPr>
            <a:lvl5pPr marL="36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b="0" i="0" kern="120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b="0" i="0" kern="120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+mn-cs"/>
              </a:defRPr>
            </a:lvl6pPr>
            <a:lvl7pPr marL="216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buFont typeface="+mj-lt"/>
              <a:buAutoNum type="arabicPeriod"/>
              <a:defRPr sz="1400" b="0" i="0" kern="120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lphaLcParenR"/>
              <a:defRPr sz="1400" b="0" i="0" kern="120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+mn-cs"/>
              </a:defRPr>
            </a:lvl8pPr>
            <a:lvl9pPr marL="648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romanLcPeriod"/>
              <a:defRPr sz="1400" b="0" i="0" kern="120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+mn-cs"/>
              </a:defRPr>
            </a:lvl9pPr>
          </a:lstStyle>
          <a:p>
            <a:pPr lvl="1" algn="ctr"/>
            <a:r>
              <a:rPr lang="de-DE" dirty="0"/>
              <a:t>Plaque Maske</a:t>
            </a:r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1049666B-4218-0D4A-C4D8-D1D82A495D54}"/>
              </a:ext>
            </a:extLst>
          </p:cNvPr>
          <p:cNvSpPr txBox="1">
            <a:spLocks/>
          </p:cNvSpPr>
          <p:nvPr/>
        </p:nvSpPr>
        <p:spPr bwMode="gray">
          <a:xfrm>
            <a:off x="5052059" y="2786596"/>
            <a:ext cx="3069849" cy="3903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1600" b="1" i="0" kern="1200">
                <a:solidFill>
                  <a:schemeClr val="accent1"/>
                </a:solidFill>
                <a:latin typeface="Myriad Pro" panose="020B0503030403020204" pitchFamily="34" charset="0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1400" b="0" i="0" kern="120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1" i="0" kern="120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+mn-cs"/>
              </a:defRPr>
            </a:lvl3pPr>
            <a:lvl4pPr marL="18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b="0" i="0" kern="120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+mn-cs"/>
              </a:defRPr>
            </a:lvl4pPr>
            <a:lvl5pPr marL="36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b="0" i="0" kern="120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b="0" i="0" kern="120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+mn-cs"/>
              </a:defRPr>
            </a:lvl6pPr>
            <a:lvl7pPr marL="216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buFont typeface="+mj-lt"/>
              <a:buAutoNum type="arabicPeriod"/>
              <a:defRPr sz="1400" b="0" i="0" kern="120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lphaLcParenR"/>
              <a:defRPr sz="1400" b="0" i="0" kern="120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+mn-cs"/>
              </a:defRPr>
            </a:lvl8pPr>
            <a:lvl9pPr marL="648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romanLcPeriod"/>
              <a:defRPr sz="1400" b="0" i="0" kern="120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+mn-cs"/>
              </a:defRPr>
            </a:lvl9pPr>
          </a:lstStyle>
          <a:p>
            <a:pPr lvl="1" algn="ctr"/>
            <a:r>
              <a:rPr lang="de-DE" sz="1200" dirty="0"/>
              <a:t>Paper Update, Default </a:t>
            </a:r>
            <a:r>
              <a:rPr lang="de-DE" sz="1200" dirty="0" err="1"/>
              <a:t>Weighting</a:t>
            </a:r>
            <a:br>
              <a:rPr lang="de-DE" sz="1200" dirty="0"/>
            </a:br>
            <a:r>
              <a:rPr lang="de-DE" sz="1200" dirty="0"/>
              <a:t>Epoche 250 und 1000</a:t>
            </a:r>
          </a:p>
        </p:txBody>
      </p:sp>
      <p:sp>
        <p:nvSpPr>
          <p:cNvPr id="14" name="Textplatzhalter 12">
            <a:extLst>
              <a:ext uri="{FF2B5EF4-FFF2-40B4-BE49-F238E27FC236}">
                <a16:creationId xmlns:a16="http://schemas.microsoft.com/office/drawing/2014/main" id="{839BC8DD-BAEC-D86C-4A03-4F7C11417629}"/>
              </a:ext>
            </a:extLst>
          </p:cNvPr>
          <p:cNvSpPr txBox="1">
            <a:spLocks/>
          </p:cNvSpPr>
          <p:nvPr/>
        </p:nvSpPr>
        <p:spPr bwMode="gray">
          <a:xfrm>
            <a:off x="5052058" y="4284850"/>
            <a:ext cx="3069849" cy="3903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1600" b="1" i="0" kern="1200">
                <a:solidFill>
                  <a:schemeClr val="accent1"/>
                </a:solidFill>
                <a:latin typeface="Myriad Pro" panose="020B0503030403020204" pitchFamily="34" charset="0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1400" b="0" i="0" kern="120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1" i="0" kern="120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+mn-cs"/>
              </a:defRPr>
            </a:lvl3pPr>
            <a:lvl4pPr marL="18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b="0" i="0" kern="120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+mn-cs"/>
              </a:defRPr>
            </a:lvl4pPr>
            <a:lvl5pPr marL="36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b="0" i="0" kern="120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b="0" i="0" kern="120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+mn-cs"/>
              </a:defRPr>
            </a:lvl6pPr>
            <a:lvl7pPr marL="216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buFont typeface="+mj-lt"/>
              <a:buAutoNum type="arabicPeriod"/>
              <a:defRPr sz="1400" b="0" i="0" kern="120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lphaLcParenR"/>
              <a:defRPr sz="1400" b="0" i="0" kern="120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+mn-cs"/>
              </a:defRPr>
            </a:lvl8pPr>
            <a:lvl9pPr marL="648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romanLcPeriod"/>
              <a:defRPr sz="1400" b="0" i="0" kern="120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+mn-cs"/>
              </a:defRPr>
            </a:lvl9pPr>
          </a:lstStyle>
          <a:p>
            <a:pPr lvl="1" algn="ctr"/>
            <a:r>
              <a:rPr lang="de-DE" sz="1200" dirty="0" err="1"/>
              <a:t>Combined</a:t>
            </a:r>
            <a:r>
              <a:rPr lang="de-DE" sz="1200" dirty="0"/>
              <a:t> Update, Linear </a:t>
            </a:r>
            <a:r>
              <a:rPr lang="de-DE" sz="1200" dirty="0" err="1"/>
              <a:t>Weighting</a:t>
            </a:r>
            <a:br>
              <a:rPr lang="de-DE" sz="1200" dirty="0"/>
            </a:br>
            <a:r>
              <a:rPr lang="de-DE" sz="1200" dirty="0"/>
              <a:t>Epoche 250 und 1000</a:t>
            </a:r>
          </a:p>
        </p:txBody>
      </p:sp>
      <p:sp>
        <p:nvSpPr>
          <p:cNvPr id="15" name="Textplatzhalter 12">
            <a:extLst>
              <a:ext uri="{FF2B5EF4-FFF2-40B4-BE49-F238E27FC236}">
                <a16:creationId xmlns:a16="http://schemas.microsoft.com/office/drawing/2014/main" id="{315DDF66-5428-E34C-F2A9-A55CDFAB7CD9}"/>
              </a:ext>
            </a:extLst>
          </p:cNvPr>
          <p:cNvSpPr txBox="1">
            <a:spLocks/>
          </p:cNvSpPr>
          <p:nvPr/>
        </p:nvSpPr>
        <p:spPr bwMode="gray">
          <a:xfrm>
            <a:off x="5052058" y="5783104"/>
            <a:ext cx="3069849" cy="3903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1600" b="1" i="0" kern="1200">
                <a:solidFill>
                  <a:schemeClr val="accent1"/>
                </a:solidFill>
                <a:latin typeface="Myriad Pro" panose="020B0503030403020204" pitchFamily="34" charset="0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1400" b="0" i="0" kern="120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1" i="0" kern="120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+mn-cs"/>
              </a:defRPr>
            </a:lvl3pPr>
            <a:lvl4pPr marL="18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b="0" i="0" kern="120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+mn-cs"/>
              </a:defRPr>
            </a:lvl4pPr>
            <a:lvl5pPr marL="36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b="0" i="0" kern="120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b="0" i="0" kern="120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+mn-cs"/>
              </a:defRPr>
            </a:lvl6pPr>
            <a:lvl7pPr marL="216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buFont typeface="+mj-lt"/>
              <a:buAutoNum type="arabicPeriod"/>
              <a:defRPr sz="1400" b="0" i="0" kern="120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lphaLcParenR"/>
              <a:defRPr sz="1400" b="0" i="0" kern="120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+mn-cs"/>
              </a:defRPr>
            </a:lvl8pPr>
            <a:lvl9pPr marL="648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romanLcPeriod"/>
              <a:defRPr sz="1400" b="0" i="0" kern="120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+mn-cs"/>
              </a:defRPr>
            </a:lvl9pPr>
          </a:lstStyle>
          <a:p>
            <a:pPr lvl="1" algn="ctr"/>
            <a:r>
              <a:rPr lang="de-DE" sz="1200" dirty="0" err="1"/>
              <a:t>Combined</a:t>
            </a:r>
            <a:r>
              <a:rPr lang="de-DE" sz="1200" dirty="0"/>
              <a:t> Update, </a:t>
            </a:r>
            <a:r>
              <a:rPr lang="de-DE" sz="1200" dirty="0" err="1"/>
              <a:t>Two</a:t>
            </a:r>
            <a:r>
              <a:rPr lang="de-DE" sz="1200" dirty="0"/>
              <a:t> Radii </a:t>
            </a:r>
            <a:r>
              <a:rPr lang="de-DE" sz="1200" dirty="0" err="1"/>
              <a:t>Weighting</a:t>
            </a:r>
            <a:br>
              <a:rPr lang="de-DE" sz="1200" dirty="0"/>
            </a:br>
            <a:r>
              <a:rPr lang="de-DE" sz="1200" dirty="0"/>
              <a:t>Epoche 250 und 1000</a:t>
            </a:r>
          </a:p>
        </p:txBody>
      </p:sp>
      <p:sp>
        <p:nvSpPr>
          <p:cNvPr id="16" name="Textplatzhalter 12">
            <a:extLst>
              <a:ext uri="{FF2B5EF4-FFF2-40B4-BE49-F238E27FC236}">
                <a16:creationId xmlns:a16="http://schemas.microsoft.com/office/drawing/2014/main" id="{C8FC48F0-D0EB-0C97-7E38-3E522EDCEA0D}"/>
              </a:ext>
            </a:extLst>
          </p:cNvPr>
          <p:cNvSpPr txBox="1">
            <a:spLocks/>
          </p:cNvSpPr>
          <p:nvPr/>
        </p:nvSpPr>
        <p:spPr bwMode="gray">
          <a:xfrm>
            <a:off x="479752" y="4284850"/>
            <a:ext cx="3069849" cy="3903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1600" b="1" i="0" kern="1200">
                <a:solidFill>
                  <a:schemeClr val="accent1"/>
                </a:solidFill>
                <a:latin typeface="Myriad Pro" panose="020B0503030403020204" pitchFamily="34" charset="0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1400" b="0" i="0" kern="120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1" i="0" kern="120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+mn-cs"/>
              </a:defRPr>
            </a:lvl3pPr>
            <a:lvl4pPr marL="18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b="0" i="0" kern="120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+mn-cs"/>
              </a:defRPr>
            </a:lvl4pPr>
            <a:lvl5pPr marL="36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b="0" i="0" kern="120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b="0" i="0" kern="120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+mn-cs"/>
              </a:defRPr>
            </a:lvl6pPr>
            <a:lvl7pPr marL="216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buFont typeface="+mj-lt"/>
              <a:buAutoNum type="arabicPeriod"/>
              <a:defRPr sz="1400" b="0" i="0" kern="120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lphaLcParenR"/>
              <a:defRPr sz="1400" b="0" i="0" kern="120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+mn-cs"/>
              </a:defRPr>
            </a:lvl8pPr>
            <a:lvl9pPr marL="648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romanLcPeriod"/>
              <a:defRPr sz="1400" b="0" i="0" kern="120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+mn-cs"/>
              </a:defRPr>
            </a:lvl9pPr>
          </a:lstStyle>
          <a:p>
            <a:pPr lvl="1" algn="ctr"/>
            <a:r>
              <a:rPr lang="de-DE" sz="1200" dirty="0" err="1"/>
              <a:t>Combined</a:t>
            </a:r>
            <a:r>
              <a:rPr lang="de-DE" sz="1200" dirty="0"/>
              <a:t> Update, Default </a:t>
            </a:r>
            <a:r>
              <a:rPr lang="de-DE" sz="1200" dirty="0" err="1"/>
              <a:t>Weighting</a:t>
            </a:r>
            <a:br>
              <a:rPr lang="de-DE" sz="1200" dirty="0"/>
            </a:br>
            <a:r>
              <a:rPr lang="de-DE" sz="1200" dirty="0"/>
              <a:t>Epoche 250 und 1000</a:t>
            </a:r>
          </a:p>
        </p:txBody>
      </p:sp>
      <p:sp>
        <p:nvSpPr>
          <p:cNvPr id="17" name="Textplatzhalter 12">
            <a:extLst>
              <a:ext uri="{FF2B5EF4-FFF2-40B4-BE49-F238E27FC236}">
                <a16:creationId xmlns:a16="http://schemas.microsoft.com/office/drawing/2014/main" id="{173FEE89-1934-A45D-7DFB-F7269E6CEAD6}"/>
              </a:ext>
            </a:extLst>
          </p:cNvPr>
          <p:cNvSpPr txBox="1">
            <a:spLocks/>
          </p:cNvSpPr>
          <p:nvPr/>
        </p:nvSpPr>
        <p:spPr bwMode="gray">
          <a:xfrm>
            <a:off x="479751" y="5783104"/>
            <a:ext cx="3069849" cy="3903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1600" b="1" i="0" kern="1200">
                <a:solidFill>
                  <a:schemeClr val="accent1"/>
                </a:solidFill>
                <a:latin typeface="Myriad Pro" panose="020B0503030403020204" pitchFamily="34" charset="0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1400" b="0" i="0" kern="120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1" i="0" kern="120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+mn-cs"/>
              </a:defRPr>
            </a:lvl3pPr>
            <a:lvl4pPr marL="18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b="0" i="0" kern="120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+mn-cs"/>
              </a:defRPr>
            </a:lvl4pPr>
            <a:lvl5pPr marL="36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b="0" i="0" kern="120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b="0" i="0" kern="120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+mn-cs"/>
              </a:defRPr>
            </a:lvl6pPr>
            <a:lvl7pPr marL="216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buFont typeface="+mj-lt"/>
              <a:buAutoNum type="arabicPeriod"/>
              <a:defRPr sz="1400" b="0" i="0" kern="120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lphaLcParenR"/>
              <a:defRPr sz="1400" b="0" i="0" kern="120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+mn-cs"/>
              </a:defRPr>
            </a:lvl8pPr>
            <a:lvl9pPr marL="648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romanLcPeriod"/>
              <a:defRPr sz="1400" b="0" i="0" kern="120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+mn-cs"/>
              </a:defRPr>
            </a:lvl9pPr>
          </a:lstStyle>
          <a:p>
            <a:pPr lvl="1" algn="ctr"/>
            <a:r>
              <a:rPr lang="de-DE" sz="1200" dirty="0" err="1"/>
              <a:t>Combined</a:t>
            </a:r>
            <a:r>
              <a:rPr lang="de-DE" sz="1200" dirty="0"/>
              <a:t> Update, </a:t>
            </a:r>
            <a:r>
              <a:rPr lang="de-DE" sz="1200" dirty="0" err="1"/>
              <a:t>Intensity</a:t>
            </a:r>
            <a:r>
              <a:rPr lang="de-DE" sz="1200" dirty="0"/>
              <a:t> </a:t>
            </a:r>
            <a:r>
              <a:rPr lang="de-DE" sz="1200" dirty="0" err="1"/>
              <a:t>Weighting</a:t>
            </a:r>
            <a:br>
              <a:rPr lang="de-DE" sz="1200" dirty="0"/>
            </a:br>
            <a:r>
              <a:rPr lang="de-DE" sz="1200" dirty="0"/>
              <a:t>Epoche 250 und 1000</a:t>
            </a:r>
          </a:p>
        </p:txBody>
      </p:sp>
      <p:pic>
        <p:nvPicPr>
          <p:cNvPr id="18" name="Grafik 17" descr="Ein Bild, das Zubehör enthält.&#10;&#10;Automatisch generierte Beschreibung">
            <a:extLst>
              <a:ext uri="{FF2B5EF4-FFF2-40B4-BE49-F238E27FC236}">
                <a16:creationId xmlns:a16="http://schemas.microsoft.com/office/drawing/2014/main" id="{6B1EECA6-1BA9-FCDE-4007-A2A0E1763380}"/>
              </a:ext>
            </a:extLst>
          </p:cNvPr>
          <p:cNvPicPr>
            <a:picLocks noChangeAspect="1"/>
          </p:cNvPicPr>
          <p:nvPr/>
        </p:nvPicPr>
        <p:blipFill>
          <a:blip r:embed="rId1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7010" y="1705257"/>
            <a:ext cx="1440000" cy="1080000"/>
          </a:xfrm>
          <a:prstGeom prst="rect">
            <a:avLst/>
          </a:prstGeom>
        </p:spPr>
      </p:pic>
      <p:pic>
        <p:nvPicPr>
          <p:cNvPr id="19" name="Grafik 18" descr="Ein Bild, das Silhouette, Nachthimmel enthält.&#10;&#10;Automatisch generierte Beschreibung">
            <a:extLst>
              <a:ext uri="{FF2B5EF4-FFF2-40B4-BE49-F238E27FC236}">
                <a16:creationId xmlns:a16="http://schemas.microsoft.com/office/drawing/2014/main" id="{BCD8C3D5-D876-03A4-1E8B-D1046F42D831}"/>
              </a:ext>
            </a:extLst>
          </p:cNvPr>
          <p:cNvPicPr>
            <a:picLocks noChangeAspect="1"/>
          </p:cNvPicPr>
          <p:nvPr/>
        </p:nvPicPr>
        <p:blipFill>
          <a:blip r:embed="rId1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11622" y="1702598"/>
            <a:ext cx="1440000" cy="1080000"/>
          </a:xfrm>
          <a:prstGeom prst="rect">
            <a:avLst/>
          </a:prstGeom>
        </p:spPr>
      </p:pic>
      <p:pic>
        <p:nvPicPr>
          <p:cNvPr id="20" name="Grafik 19" descr="Ein Bild, das Pfeil enthält.&#10;&#10;Automatisch generierte Beschreibung">
            <a:extLst>
              <a:ext uri="{FF2B5EF4-FFF2-40B4-BE49-F238E27FC236}">
                <a16:creationId xmlns:a16="http://schemas.microsoft.com/office/drawing/2014/main" id="{04DA2D57-0560-B4A0-8986-60D94AF91D5C}"/>
              </a:ext>
            </a:extLst>
          </p:cNvPr>
          <p:cNvPicPr>
            <a:picLocks noChangeAspect="1"/>
          </p:cNvPicPr>
          <p:nvPr/>
        </p:nvPicPr>
        <p:blipFill>
          <a:blip r:embed="rId1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81909" y="1703804"/>
            <a:ext cx="1440000" cy="1080000"/>
          </a:xfrm>
          <a:prstGeom prst="rect">
            <a:avLst/>
          </a:prstGeom>
        </p:spPr>
      </p:pic>
      <p:pic>
        <p:nvPicPr>
          <p:cNvPr id="22" name="Grafik 21" descr="Ein Bild, das Silhouette, Vektorgrafiken enthält.&#10;&#10;Automatisch generierte Beschreibung">
            <a:extLst>
              <a:ext uri="{FF2B5EF4-FFF2-40B4-BE49-F238E27FC236}">
                <a16:creationId xmlns:a16="http://schemas.microsoft.com/office/drawing/2014/main" id="{7288ED8F-FA11-B6FC-3AD8-4EA04A210B2B}"/>
              </a:ext>
            </a:extLst>
          </p:cNvPr>
          <p:cNvPicPr>
            <a:picLocks noChangeAspect="1"/>
          </p:cNvPicPr>
          <p:nvPr/>
        </p:nvPicPr>
        <p:blipFill>
          <a:blip r:embed="rId1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52060" y="1701928"/>
            <a:ext cx="1440000" cy="1080000"/>
          </a:xfrm>
          <a:prstGeom prst="rect">
            <a:avLst/>
          </a:prstGeom>
        </p:spPr>
      </p:pic>
      <p:pic>
        <p:nvPicPr>
          <p:cNvPr id="24" name="Grafik 23">
            <a:extLst>
              <a:ext uri="{FF2B5EF4-FFF2-40B4-BE49-F238E27FC236}">
                <a16:creationId xmlns:a16="http://schemas.microsoft.com/office/drawing/2014/main" id="{391AC494-CDE2-4857-FC5A-4E52AE28A561}"/>
              </a:ext>
            </a:extLst>
          </p:cNvPr>
          <p:cNvPicPr>
            <a:picLocks noChangeAspect="1"/>
          </p:cNvPicPr>
          <p:nvPr/>
        </p:nvPicPr>
        <p:blipFill>
          <a:blip r:embed="rId1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08280" y="3207609"/>
            <a:ext cx="1440000" cy="1080000"/>
          </a:xfrm>
          <a:prstGeom prst="rect">
            <a:avLst/>
          </a:prstGeom>
        </p:spPr>
      </p:pic>
      <p:pic>
        <p:nvPicPr>
          <p:cNvPr id="26" name="Grafik 25" descr="Ein Bild, das lila enthält.&#10;&#10;Automatisch generierte Beschreibung">
            <a:extLst>
              <a:ext uri="{FF2B5EF4-FFF2-40B4-BE49-F238E27FC236}">
                <a16:creationId xmlns:a16="http://schemas.microsoft.com/office/drawing/2014/main" id="{532A24C9-B90E-62EA-6AC4-FD2745550270}"/>
              </a:ext>
            </a:extLst>
          </p:cNvPr>
          <p:cNvPicPr>
            <a:picLocks noChangeAspect="1"/>
          </p:cNvPicPr>
          <p:nvPr/>
        </p:nvPicPr>
        <p:blipFill>
          <a:blip r:embed="rId2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5337" y="3208659"/>
            <a:ext cx="1440000" cy="1080000"/>
          </a:xfrm>
          <a:prstGeom prst="rect">
            <a:avLst/>
          </a:prstGeom>
        </p:spPr>
      </p:pic>
      <p:pic>
        <p:nvPicPr>
          <p:cNvPr id="28" name="Grafik 27">
            <a:extLst>
              <a:ext uri="{FF2B5EF4-FFF2-40B4-BE49-F238E27FC236}">
                <a16:creationId xmlns:a16="http://schemas.microsoft.com/office/drawing/2014/main" id="{B80FB338-B737-479E-83DC-C3BFE639DB1E}"/>
              </a:ext>
            </a:extLst>
          </p:cNvPr>
          <p:cNvPicPr>
            <a:picLocks noChangeAspect="1"/>
          </p:cNvPicPr>
          <p:nvPr/>
        </p:nvPicPr>
        <p:blipFill>
          <a:blip r:embed="rId2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52060" y="3208321"/>
            <a:ext cx="1440000" cy="1080000"/>
          </a:xfrm>
          <a:prstGeom prst="rect">
            <a:avLst/>
          </a:prstGeom>
        </p:spPr>
      </p:pic>
      <p:pic>
        <p:nvPicPr>
          <p:cNvPr id="30" name="Grafik 29">
            <a:extLst>
              <a:ext uri="{FF2B5EF4-FFF2-40B4-BE49-F238E27FC236}">
                <a16:creationId xmlns:a16="http://schemas.microsoft.com/office/drawing/2014/main" id="{1B4C92E8-91F2-69A2-7665-3CF14AADBD00}"/>
              </a:ext>
            </a:extLst>
          </p:cNvPr>
          <p:cNvPicPr>
            <a:picLocks noChangeAspect="1"/>
          </p:cNvPicPr>
          <p:nvPr/>
        </p:nvPicPr>
        <p:blipFill>
          <a:blip r:embed="rId2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81909" y="3205226"/>
            <a:ext cx="1440000" cy="1080000"/>
          </a:xfrm>
          <a:prstGeom prst="rect">
            <a:avLst/>
          </a:prstGeom>
        </p:spPr>
      </p:pic>
      <p:pic>
        <p:nvPicPr>
          <p:cNvPr id="32" name="Grafik 31">
            <a:extLst>
              <a:ext uri="{FF2B5EF4-FFF2-40B4-BE49-F238E27FC236}">
                <a16:creationId xmlns:a16="http://schemas.microsoft.com/office/drawing/2014/main" id="{E8F67178-A2E9-A3B9-43D1-52AADF495733}"/>
              </a:ext>
            </a:extLst>
          </p:cNvPr>
          <p:cNvPicPr>
            <a:picLocks noChangeAspect="1"/>
          </p:cNvPicPr>
          <p:nvPr/>
        </p:nvPicPr>
        <p:blipFill>
          <a:blip r:embed="rId2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08048" y="4711426"/>
            <a:ext cx="1440000" cy="1080000"/>
          </a:xfrm>
          <a:prstGeom prst="rect">
            <a:avLst/>
          </a:prstGeom>
        </p:spPr>
      </p:pic>
      <p:pic>
        <p:nvPicPr>
          <p:cNvPr id="33" name="Grafik 32" descr="Ein Bild, das lila enthält.&#10;&#10;Automatisch generierte Beschreibung">
            <a:extLst>
              <a:ext uri="{FF2B5EF4-FFF2-40B4-BE49-F238E27FC236}">
                <a16:creationId xmlns:a16="http://schemas.microsoft.com/office/drawing/2014/main" id="{D515E5A6-281D-91CB-46CD-C8E64FA4E50F}"/>
              </a:ext>
            </a:extLst>
          </p:cNvPr>
          <p:cNvPicPr>
            <a:picLocks noChangeAspect="1"/>
          </p:cNvPicPr>
          <p:nvPr/>
        </p:nvPicPr>
        <p:blipFill>
          <a:blip r:embed="rId2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6142" y="4710533"/>
            <a:ext cx="1440000" cy="1080000"/>
          </a:xfrm>
          <a:prstGeom prst="rect">
            <a:avLst/>
          </a:prstGeom>
        </p:spPr>
      </p:pic>
      <p:pic>
        <p:nvPicPr>
          <p:cNvPr id="34" name="Grafik 33">
            <a:extLst>
              <a:ext uri="{FF2B5EF4-FFF2-40B4-BE49-F238E27FC236}">
                <a16:creationId xmlns:a16="http://schemas.microsoft.com/office/drawing/2014/main" id="{F0DF2A24-EDFA-F4FC-2A2D-200AE8288E78}"/>
              </a:ext>
            </a:extLst>
          </p:cNvPr>
          <p:cNvPicPr>
            <a:picLocks noChangeAspect="1"/>
          </p:cNvPicPr>
          <p:nvPr/>
        </p:nvPicPr>
        <p:blipFill>
          <a:blip r:embed="rId2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81909" y="4710533"/>
            <a:ext cx="1440000" cy="1080000"/>
          </a:xfrm>
          <a:prstGeom prst="rect">
            <a:avLst/>
          </a:prstGeom>
        </p:spPr>
      </p:pic>
      <p:pic>
        <p:nvPicPr>
          <p:cNvPr id="35" name="Grafik 34">
            <a:extLst>
              <a:ext uri="{FF2B5EF4-FFF2-40B4-BE49-F238E27FC236}">
                <a16:creationId xmlns:a16="http://schemas.microsoft.com/office/drawing/2014/main" id="{BAAA4ED1-713B-616A-85E1-B2FD4CAEA519}"/>
              </a:ext>
            </a:extLst>
          </p:cNvPr>
          <p:cNvPicPr>
            <a:picLocks noChangeAspect="1"/>
          </p:cNvPicPr>
          <p:nvPr/>
        </p:nvPicPr>
        <p:blipFill>
          <a:blip r:embed="rId2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50676" y="4710533"/>
            <a:ext cx="1440000" cy="108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0793571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5" fill="hold">
                      <p:stCondLst>
                        <p:cond delay="indefinite"/>
                      </p:stCondLst>
                      <p:childTnLst>
                        <p:par>
                          <p:cTn id="56" fill="hold">
                            <p:stCondLst>
                              <p:cond delay="0"/>
                            </p:stCondLst>
                            <p:childTnLst>
                              <p:par>
                                <p:cTn id="5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/>
      <p:bldP spid="12" grpId="0"/>
      <p:bldP spid="13" grpId="0"/>
      <p:bldP spid="14" grpId="0"/>
      <p:bldP spid="15" grpId="0"/>
      <p:bldP spid="16" grpId="0"/>
      <p:bldP spid="17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E836E37-D940-8CE8-B81C-EEDE9D8423F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Einleitung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35CC3CF5-EE91-8D7B-6116-310AFBBD27F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62B3568-9F39-45BA-8ABC-B5488CC74074}" type="datetime1">
              <a:rPr lang="de-DE" noProof="0" smtClean="0"/>
              <a:t>15.11.22</a:t>
            </a:fld>
            <a:endParaRPr lang="de-DE" noProof="0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974BFF5-189A-99BC-B7DE-CEF59AE6C08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/>
              <a:t>© Universität zu Lübeck</a:t>
            </a:r>
            <a:endParaRPr lang="de-DE" noProof="0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1E288BF3-09D0-88EB-876E-2BFB9C49028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 noProof="0"/>
              <a:t>Seite</a:t>
            </a:r>
            <a:r>
              <a:rPr lang="en-US"/>
              <a:t> </a:t>
            </a:r>
            <a:fld id="{401BA3E4-5E55-4F99-AF09-CC6D6B2539E2}" type="slidenum">
              <a:rPr lang="en-US" smtClean="0"/>
              <a:pPr/>
              <a:t>5</a:t>
            </a:fld>
            <a:endParaRPr lang="en-US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4C506A99-810A-A44F-18BA-12D6B785CC9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9425" y="778321"/>
            <a:ext cx="11233150" cy="312008"/>
          </a:xfrm>
        </p:spPr>
        <p:txBody>
          <a:bodyPr/>
          <a:lstStyle/>
          <a:p>
            <a:r>
              <a:rPr lang="de-DE" dirty="0"/>
              <a:t>Motivation — Westlicher Lebensstil</a:t>
            </a:r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F1D7834C-7E3B-DA31-EC85-17E78868218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8199" y="1703388"/>
            <a:ext cx="11233150" cy="2660024"/>
          </a:xfrm>
        </p:spPr>
        <p:txBody>
          <a:bodyPr/>
          <a:lstStyle/>
          <a:p>
            <a:pPr lvl="2"/>
            <a:r>
              <a:rPr lang="de-DE" dirty="0">
                <a:sym typeface="Wingdings" panose="05000000000000000000" pitchFamily="2" charset="2"/>
              </a:rPr>
              <a:t>Wenig Bewegung, </a:t>
            </a:r>
            <a:r>
              <a:rPr lang="de-DE" dirty="0" err="1">
                <a:sym typeface="Wingdings" panose="05000000000000000000" pitchFamily="2" charset="2"/>
              </a:rPr>
              <a:t>fettlastige</a:t>
            </a:r>
            <a:r>
              <a:rPr lang="de-DE" dirty="0">
                <a:sym typeface="Wingdings" panose="05000000000000000000" pitchFamily="2" charset="2"/>
              </a:rPr>
              <a:t> Ernährung oder Rauchen</a:t>
            </a:r>
          </a:p>
          <a:p>
            <a:pPr lvl="3"/>
            <a:r>
              <a:rPr lang="de-DE" dirty="0">
                <a:sym typeface="Wingdings" panose="05000000000000000000" pitchFamily="2" charset="2"/>
              </a:rPr>
              <a:t>Steigende Übergewichtigkeit und Bluthochdruck</a:t>
            </a:r>
          </a:p>
          <a:p>
            <a:pPr lvl="3"/>
            <a:r>
              <a:rPr lang="de-DE" dirty="0">
                <a:sym typeface="Wingdings" panose="05000000000000000000" pitchFamily="2" charset="2"/>
              </a:rPr>
              <a:t>Reduktion der Lebenserwartung</a:t>
            </a:r>
          </a:p>
          <a:p>
            <a:pPr lvl="2"/>
            <a:r>
              <a:rPr lang="de-DE" dirty="0">
                <a:sym typeface="Wingdings" panose="05000000000000000000" pitchFamily="2" charset="2"/>
              </a:rPr>
              <a:t>Hauptursache: Atherosklerose</a:t>
            </a:r>
          </a:p>
          <a:p>
            <a:pPr lvl="3"/>
            <a:r>
              <a:rPr lang="de-DE" dirty="0">
                <a:sym typeface="Wingdings" panose="05000000000000000000" pitchFamily="2" charset="2"/>
              </a:rPr>
              <a:t>Multifaktorielle degenerative Erkrankung der Arterien</a:t>
            </a:r>
          </a:p>
          <a:p>
            <a:pPr lvl="3"/>
            <a:r>
              <a:rPr lang="de-DE" dirty="0">
                <a:sym typeface="Wingdings" panose="05000000000000000000" pitchFamily="2" charset="2"/>
              </a:rPr>
              <a:t>Bilden von Ablagerungen (Plaques) in den Arterien</a:t>
            </a:r>
          </a:p>
          <a:p>
            <a:pPr lvl="4"/>
            <a:r>
              <a:rPr lang="de-DE" dirty="0">
                <a:sym typeface="Wingdings" panose="05000000000000000000" pitchFamily="2" charset="2"/>
              </a:rPr>
              <a:t>Ischämischen Herzerkrankungen, Thrombosen oder Schlaganfällen</a:t>
            </a:r>
          </a:p>
          <a:p>
            <a:pPr lvl="3"/>
            <a:r>
              <a:rPr lang="de-DE" dirty="0">
                <a:sym typeface="Wingdings" panose="05000000000000000000" pitchFamily="2" charset="2"/>
              </a:rPr>
              <a:t>Haupttodesursache in Industriestaaten </a:t>
            </a:r>
          </a:p>
          <a:p>
            <a:endParaRPr lang="de-DE" dirty="0"/>
          </a:p>
          <a:p>
            <a:endParaRPr lang="de-DE" dirty="0"/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C1B1E077-FCEB-9CE2-4440-36B2BFE72B67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21502" y="198172"/>
            <a:ext cx="3744886" cy="1130532"/>
          </a:xfrm>
          <a:prstGeom prst="rect">
            <a:avLst/>
          </a:prstGeom>
          <a:noFill/>
        </p:spPr>
      </p:pic>
      <p:pic>
        <p:nvPicPr>
          <p:cNvPr id="7" name="Grafik 6">
            <a:extLst>
              <a:ext uri="{FF2B5EF4-FFF2-40B4-BE49-F238E27FC236}">
                <a16:creationId xmlns:a16="http://schemas.microsoft.com/office/drawing/2014/main" id="{74E03557-B556-105B-89B6-B4EAEB144B9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78199" y="3753945"/>
            <a:ext cx="7001183" cy="2145524"/>
          </a:xfrm>
          <a:prstGeom prst="rect">
            <a:avLst/>
          </a:prstGeom>
        </p:spPr>
      </p:pic>
      <p:sp>
        <p:nvSpPr>
          <p:cNvPr id="9" name="Textplatzhalter 9">
            <a:extLst>
              <a:ext uri="{FF2B5EF4-FFF2-40B4-BE49-F238E27FC236}">
                <a16:creationId xmlns:a16="http://schemas.microsoft.com/office/drawing/2014/main" id="{717AD3D1-5128-42B7-D574-4F65FE540D1C}"/>
              </a:ext>
            </a:extLst>
          </p:cNvPr>
          <p:cNvSpPr txBox="1">
            <a:spLocks/>
          </p:cNvSpPr>
          <p:nvPr/>
        </p:nvSpPr>
        <p:spPr bwMode="gray">
          <a:xfrm>
            <a:off x="4116749" y="6331251"/>
            <a:ext cx="7594600" cy="35779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1600" b="1" i="0" kern="1200">
                <a:solidFill>
                  <a:schemeClr val="accent1"/>
                </a:solidFill>
                <a:latin typeface="Myriad Pro" panose="020B0503030403020204" pitchFamily="34" charset="0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1400" b="0" i="0" kern="120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1" i="0" kern="120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+mn-cs"/>
              </a:defRPr>
            </a:lvl3pPr>
            <a:lvl4pPr marL="18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b="0" i="0" kern="120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+mn-cs"/>
              </a:defRPr>
            </a:lvl4pPr>
            <a:lvl5pPr marL="36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b="0" i="0" kern="120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b="0" i="0" kern="120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+mn-cs"/>
              </a:defRPr>
            </a:lvl6pPr>
            <a:lvl7pPr marL="216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buFont typeface="+mj-lt"/>
              <a:buAutoNum type="arabicPeriod"/>
              <a:defRPr sz="1400" b="0" i="0" kern="120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lphaLcParenR"/>
              <a:defRPr sz="1400" b="0" i="0" kern="120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+mn-cs"/>
              </a:defRPr>
            </a:lvl8pPr>
            <a:lvl9pPr marL="648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romanLcPeriod"/>
              <a:defRPr sz="1400" b="0" i="0" kern="120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+mn-cs"/>
              </a:defRPr>
            </a:lvl9pPr>
          </a:lstStyle>
          <a:p>
            <a:pPr lvl="1"/>
            <a:r>
              <a:rPr lang="en-US" sz="1100" dirty="0"/>
              <a:t>W. Koenig and N. Arnold. Biomarkers of Atherosclerotic Plaque Instability and Rupture. Arteriosclerosis, Thrombosis, and Vascular Biology, 27:15–26, 2007.</a:t>
            </a:r>
            <a:endParaRPr lang="de-DE" sz="1100" dirty="0"/>
          </a:p>
        </p:txBody>
      </p:sp>
    </p:spTree>
    <p:extLst>
      <p:ext uri="{BB962C8B-B14F-4D97-AF65-F5344CB8AC3E}">
        <p14:creationId xmlns:p14="http://schemas.microsoft.com/office/powerpoint/2010/main" val="252919137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9DCD257-76C2-2954-544B-D1E4273BE94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395588"/>
            <a:ext cx="11233150" cy="374398"/>
          </a:xfrm>
        </p:spPr>
        <p:txBody>
          <a:bodyPr/>
          <a:lstStyle/>
          <a:p>
            <a:r>
              <a:rPr lang="de-DE" dirty="0"/>
              <a:t>Methode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E0A1FBC4-0C69-7513-005D-D8A0741CED1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5A82B2D-840F-4167-AD44-C02BC9C87CCB}" type="datetime1">
              <a:rPr lang="de-DE" noProof="0" smtClean="0"/>
              <a:t>15.11.22</a:t>
            </a:fld>
            <a:endParaRPr lang="de-DE" noProof="0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14AACBA-3C77-2FAE-5360-371943E0EC4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/>
              <a:t>© Universität zu Lübeck</a:t>
            </a:r>
            <a:endParaRPr lang="de-DE" noProof="0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F7262EE3-6CB5-A669-D8F7-87F25555352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 noProof="0"/>
              <a:t>Seite</a:t>
            </a:r>
            <a:r>
              <a:rPr lang="en-US"/>
              <a:t> </a:t>
            </a:r>
            <a:fld id="{401BA3E4-5E55-4F99-AF09-CC6D6B2539E2}" type="slidenum">
              <a:rPr lang="en-US" smtClean="0"/>
              <a:pPr/>
              <a:t>50</a:t>
            </a:fld>
            <a:endParaRPr lang="en-US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46883BBC-723C-AFE5-F12D-9DEF1D8B32B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9425" y="778321"/>
            <a:ext cx="11233150" cy="894219"/>
          </a:xfrm>
        </p:spPr>
        <p:txBody>
          <a:bodyPr/>
          <a:lstStyle/>
          <a:p>
            <a:r>
              <a:rPr lang="de-DE" dirty="0"/>
              <a:t>Plaque Segmentierung </a:t>
            </a:r>
            <a:r>
              <a:rPr lang="de-DE" sz="2000" b="0" i="0" kern="1200" dirty="0">
                <a:solidFill>
                  <a:srgbClr val="084653"/>
                </a:solidFill>
                <a:effectLst/>
                <a:latin typeface="Myriad Pro" panose="020B0503030403020204"/>
                <a:ea typeface="+mn-ea"/>
                <a:cs typeface="+mn-cs"/>
              </a:rPr>
              <a:t>—</a:t>
            </a:r>
            <a:r>
              <a:rPr lang="de-DE" dirty="0"/>
              <a:t> W-Net</a:t>
            </a:r>
          </a:p>
          <a:p>
            <a:endParaRPr lang="de-DE" dirty="0"/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3A11C3C1-6496-7B32-54C5-169236C89428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96399" y="1702800"/>
            <a:ext cx="2400000" cy="1800000"/>
          </a:xfrm>
          <a:prstGeom prst="rect">
            <a:avLst/>
          </a:prstGeom>
        </p:spPr>
      </p:pic>
      <p:pic>
        <p:nvPicPr>
          <p:cNvPr id="13" name="Grafik 12" descr="Ein Bild, das Gemüse enthält.&#10;&#10;Automatisch generierte Beschreibung">
            <a:extLst>
              <a:ext uri="{FF2B5EF4-FFF2-40B4-BE49-F238E27FC236}">
                <a16:creationId xmlns:a16="http://schemas.microsoft.com/office/drawing/2014/main" id="{ED87971B-431C-504B-8ED9-B4B18C3A0248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7385" y="1702800"/>
            <a:ext cx="2400000" cy="1800000"/>
          </a:xfrm>
          <a:prstGeom prst="rect">
            <a:avLst/>
          </a:prstGeom>
        </p:spPr>
      </p:pic>
      <p:pic>
        <p:nvPicPr>
          <p:cNvPr id="15" name="Grafik 14" descr="Ein Bild, das Silhouette enthält.&#10;&#10;Automatisch generierte Beschreibung">
            <a:extLst>
              <a:ext uri="{FF2B5EF4-FFF2-40B4-BE49-F238E27FC236}">
                <a16:creationId xmlns:a16="http://schemas.microsoft.com/office/drawing/2014/main" id="{B84D44DA-8E6B-2469-8C91-CF61CFF8AF5E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96399" y="3920400"/>
            <a:ext cx="2400000" cy="1800000"/>
          </a:xfrm>
          <a:prstGeom prst="rect">
            <a:avLst/>
          </a:prstGeom>
        </p:spPr>
      </p:pic>
      <p:pic>
        <p:nvPicPr>
          <p:cNvPr id="17" name="Grafik 16">
            <a:extLst>
              <a:ext uri="{FF2B5EF4-FFF2-40B4-BE49-F238E27FC236}">
                <a16:creationId xmlns:a16="http://schemas.microsoft.com/office/drawing/2014/main" id="{9E79AA58-66BB-1F31-E264-8C198BDE85FE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7385" y="3920400"/>
            <a:ext cx="2400000" cy="1800000"/>
          </a:xfrm>
          <a:prstGeom prst="rect">
            <a:avLst/>
          </a:prstGeom>
        </p:spPr>
      </p:pic>
      <p:pic>
        <p:nvPicPr>
          <p:cNvPr id="27" name="Grafik 26" descr="Ein Bild, das Kette enthält.&#10;&#10;Automatisch generierte Beschreibung">
            <a:extLst>
              <a:ext uri="{FF2B5EF4-FFF2-40B4-BE49-F238E27FC236}">
                <a16:creationId xmlns:a16="http://schemas.microsoft.com/office/drawing/2014/main" id="{BB80D11D-7748-884C-4BB1-E6D6F4E3E790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717600" y="1702800"/>
            <a:ext cx="2400000" cy="1800000"/>
          </a:xfrm>
          <a:prstGeom prst="rect">
            <a:avLst/>
          </a:prstGeom>
        </p:spPr>
      </p:pic>
      <p:pic>
        <p:nvPicPr>
          <p:cNvPr id="29" name="Grafik 28" descr="Ein Bild, das Wurm enthält.&#10;&#10;Automatisch generierte Beschreibung">
            <a:extLst>
              <a:ext uri="{FF2B5EF4-FFF2-40B4-BE49-F238E27FC236}">
                <a16:creationId xmlns:a16="http://schemas.microsoft.com/office/drawing/2014/main" id="{71FF172F-393B-16F7-FB05-A7949587B9A1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717600" y="3920400"/>
            <a:ext cx="2400000" cy="1800000"/>
          </a:xfrm>
          <a:prstGeom prst="rect">
            <a:avLst/>
          </a:prstGeom>
        </p:spPr>
      </p:pic>
      <p:pic>
        <p:nvPicPr>
          <p:cNvPr id="7" name="Grafik 6">
            <a:extLst>
              <a:ext uri="{FF2B5EF4-FFF2-40B4-BE49-F238E27FC236}">
                <a16:creationId xmlns:a16="http://schemas.microsoft.com/office/drawing/2014/main" id="{65337727-3523-F274-5B34-8D25B810C736}"/>
              </a:ext>
            </a:extLst>
          </p:cNvPr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21502" y="191192"/>
            <a:ext cx="3744886" cy="1130532"/>
          </a:xfrm>
          <a:prstGeom prst="rect">
            <a:avLst/>
          </a:prstGeom>
          <a:noFill/>
        </p:spPr>
      </p:pic>
      <p:sp>
        <p:nvSpPr>
          <p:cNvPr id="14" name="Textplatzhalter 12">
            <a:extLst>
              <a:ext uri="{FF2B5EF4-FFF2-40B4-BE49-F238E27FC236}">
                <a16:creationId xmlns:a16="http://schemas.microsoft.com/office/drawing/2014/main" id="{F80BFF95-8042-F8FF-5994-A40CA127738D}"/>
              </a:ext>
            </a:extLst>
          </p:cNvPr>
          <p:cNvSpPr txBox="1">
            <a:spLocks/>
          </p:cNvSpPr>
          <p:nvPr/>
        </p:nvSpPr>
        <p:spPr bwMode="gray">
          <a:xfrm>
            <a:off x="957385" y="5724356"/>
            <a:ext cx="1440000" cy="21839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1600" b="1" i="0" kern="1200">
                <a:solidFill>
                  <a:schemeClr val="accent1"/>
                </a:solidFill>
                <a:latin typeface="Myriad Pro" panose="020B0503030403020204" pitchFamily="34" charset="0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1400" b="0" i="0" kern="120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1" i="0" kern="120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+mn-cs"/>
              </a:defRPr>
            </a:lvl3pPr>
            <a:lvl4pPr marL="18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b="0" i="0" kern="120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+mn-cs"/>
              </a:defRPr>
            </a:lvl4pPr>
            <a:lvl5pPr marL="36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b="0" i="0" kern="120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b="0" i="0" kern="120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+mn-cs"/>
              </a:defRPr>
            </a:lvl6pPr>
            <a:lvl7pPr marL="216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buFont typeface="+mj-lt"/>
              <a:buAutoNum type="arabicPeriod"/>
              <a:defRPr sz="1400" b="0" i="0" kern="120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lphaLcParenR"/>
              <a:defRPr sz="1400" b="0" i="0" kern="120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+mn-cs"/>
              </a:defRPr>
            </a:lvl8pPr>
            <a:lvl9pPr marL="648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romanLcPeriod"/>
              <a:defRPr sz="1400" b="0" i="0" kern="120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+mn-cs"/>
              </a:defRPr>
            </a:lvl9pPr>
          </a:lstStyle>
          <a:p>
            <a:pPr lvl="1" algn="ctr"/>
            <a:r>
              <a:rPr lang="de-DE" dirty="0"/>
              <a:t>RGB Input</a:t>
            </a:r>
          </a:p>
        </p:txBody>
      </p:sp>
      <p:sp>
        <p:nvSpPr>
          <p:cNvPr id="16" name="Textplatzhalter 12">
            <a:extLst>
              <a:ext uri="{FF2B5EF4-FFF2-40B4-BE49-F238E27FC236}">
                <a16:creationId xmlns:a16="http://schemas.microsoft.com/office/drawing/2014/main" id="{EF13CAAC-44E0-4116-AD14-83E4C07D4504}"/>
              </a:ext>
            </a:extLst>
          </p:cNvPr>
          <p:cNvSpPr txBox="1">
            <a:spLocks/>
          </p:cNvSpPr>
          <p:nvPr/>
        </p:nvSpPr>
        <p:spPr bwMode="gray">
          <a:xfrm>
            <a:off x="4076399" y="5712452"/>
            <a:ext cx="1440000" cy="21839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1600" b="1" i="0" kern="1200">
                <a:solidFill>
                  <a:schemeClr val="accent1"/>
                </a:solidFill>
                <a:latin typeface="Myriad Pro" panose="020B0503030403020204" pitchFamily="34" charset="0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1400" b="0" i="0" kern="120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1" i="0" kern="120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+mn-cs"/>
              </a:defRPr>
            </a:lvl3pPr>
            <a:lvl4pPr marL="18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b="0" i="0" kern="120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+mn-cs"/>
              </a:defRPr>
            </a:lvl4pPr>
            <a:lvl5pPr marL="36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b="0" i="0" kern="120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b="0" i="0" kern="120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+mn-cs"/>
              </a:defRPr>
            </a:lvl6pPr>
            <a:lvl7pPr marL="216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buFont typeface="+mj-lt"/>
              <a:buAutoNum type="arabicPeriod"/>
              <a:defRPr sz="1400" b="0" i="0" kern="120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lphaLcParenR"/>
              <a:defRPr sz="1400" b="0" i="0" kern="120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+mn-cs"/>
              </a:defRPr>
            </a:lvl8pPr>
            <a:lvl9pPr marL="648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romanLcPeriod"/>
              <a:defRPr sz="1400" b="0" i="0" kern="120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+mn-cs"/>
              </a:defRPr>
            </a:lvl9pPr>
          </a:lstStyle>
          <a:p>
            <a:pPr lvl="1" algn="ctr"/>
            <a:r>
              <a:rPr lang="de-DE" dirty="0"/>
              <a:t>Plaque Maske</a:t>
            </a:r>
          </a:p>
        </p:txBody>
      </p:sp>
      <p:sp>
        <p:nvSpPr>
          <p:cNvPr id="18" name="Textplatzhalter 12">
            <a:extLst>
              <a:ext uri="{FF2B5EF4-FFF2-40B4-BE49-F238E27FC236}">
                <a16:creationId xmlns:a16="http://schemas.microsoft.com/office/drawing/2014/main" id="{104EF981-AAA3-0971-79B0-BC6735B140F0}"/>
              </a:ext>
            </a:extLst>
          </p:cNvPr>
          <p:cNvSpPr txBox="1">
            <a:spLocks/>
          </p:cNvSpPr>
          <p:nvPr/>
        </p:nvSpPr>
        <p:spPr bwMode="gray">
          <a:xfrm>
            <a:off x="6382674" y="5735695"/>
            <a:ext cx="3069849" cy="3903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1600" b="1" i="0" kern="1200">
                <a:solidFill>
                  <a:schemeClr val="accent1"/>
                </a:solidFill>
                <a:latin typeface="Myriad Pro" panose="020B0503030403020204" pitchFamily="34" charset="0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1400" b="0" i="0" kern="120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1" i="0" kern="120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+mn-cs"/>
              </a:defRPr>
            </a:lvl3pPr>
            <a:lvl4pPr marL="18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b="0" i="0" kern="120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+mn-cs"/>
              </a:defRPr>
            </a:lvl4pPr>
            <a:lvl5pPr marL="36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b="0" i="0" kern="120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b="0" i="0" kern="120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+mn-cs"/>
              </a:defRPr>
            </a:lvl6pPr>
            <a:lvl7pPr marL="216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buFont typeface="+mj-lt"/>
              <a:buAutoNum type="arabicPeriod"/>
              <a:defRPr sz="1400" b="0" i="0" kern="120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lphaLcParenR"/>
              <a:defRPr sz="1400" b="0" i="0" kern="120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+mn-cs"/>
              </a:defRPr>
            </a:lvl8pPr>
            <a:lvl9pPr marL="648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romanLcPeriod"/>
              <a:defRPr sz="1400" b="0" i="0" kern="120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+mn-cs"/>
              </a:defRPr>
            </a:lvl9pPr>
          </a:lstStyle>
          <a:p>
            <a:pPr lvl="1" algn="ctr"/>
            <a:r>
              <a:rPr lang="de-DE" sz="1200" dirty="0" err="1"/>
              <a:t>Combined</a:t>
            </a:r>
            <a:r>
              <a:rPr lang="de-DE" sz="1200" dirty="0"/>
              <a:t> Update, Linear </a:t>
            </a:r>
            <a:r>
              <a:rPr lang="de-DE" sz="1200" dirty="0" err="1"/>
              <a:t>Weighting</a:t>
            </a:r>
            <a:br>
              <a:rPr lang="de-DE" sz="1200" dirty="0"/>
            </a:br>
            <a:r>
              <a:rPr lang="de-DE" sz="1200" dirty="0"/>
              <a:t>Epoche 1000</a:t>
            </a:r>
          </a:p>
        </p:txBody>
      </p:sp>
      <p:pic>
        <p:nvPicPr>
          <p:cNvPr id="19" name="Grafik 18" descr="Ein Bild, das Silhouette enthält.&#10;&#10;Automatisch generierte Beschreibung">
            <a:extLst>
              <a:ext uri="{FF2B5EF4-FFF2-40B4-BE49-F238E27FC236}">
                <a16:creationId xmlns:a16="http://schemas.microsoft.com/office/drawing/2014/main" id="{76687F5D-CE49-BF85-BD0E-C1DB2CFE04E4}"/>
              </a:ext>
            </a:extLst>
          </p:cNvPr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717600" y="3920400"/>
            <a:ext cx="2400000" cy="1800000"/>
          </a:xfrm>
          <a:prstGeom prst="rect">
            <a:avLst/>
          </a:prstGeom>
        </p:spPr>
      </p:pic>
      <p:pic>
        <p:nvPicPr>
          <p:cNvPr id="20" name="Grafik 19" descr="Ein Bild, das Silhouette enthält.&#10;&#10;Automatisch generierte Beschreibung">
            <a:extLst>
              <a:ext uri="{FF2B5EF4-FFF2-40B4-BE49-F238E27FC236}">
                <a16:creationId xmlns:a16="http://schemas.microsoft.com/office/drawing/2014/main" id="{13B21689-4236-59FD-9B5C-EFFF9AE4C90D}"/>
              </a:ext>
            </a:extLst>
          </p:cNvPr>
          <p:cNvPicPr>
            <a:picLocks noChangeAspect="1"/>
          </p:cNvPicPr>
          <p:nvPr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96640" y="1702800"/>
            <a:ext cx="2400000" cy="1800000"/>
          </a:xfrm>
          <a:prstGeom prst="rect">
            <a:avLst/>
          </a:prstGeom>
        </p:spPr>
      </p:pic>
      <p:pic>
        <p:nvPicPr>
          <p:cNvPr id="21" name="Grafik 20">
            <a:extLst>
              <a:ext uri="{FF2B5EF4-FFF2-40B4-BE49-F238E27FC236}">
                <a16:creationId xmlns:a16="http://schemas.microsoft.com/office/drawing/2014/main" id="{8158FEDA-538E-8152-CC8C-15BDD11B16BE}"/>
              </a:ext>
            </a:extLst>
          </p:cNvPr>
          <p:cNvPicPr>
            <a:picLocks noChangeAspect="1"/>
          </p:cNvPicPr>
          <p:nvPr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7386" y="1702800"/>
            <a:ext cx="2400000" cy="1800000"/>
          </a:xfrm>
          <a:prstGeom prst="rect">
            <a:avLst/>
          </a:prstGeom>
        </p:spPr>
      </p:pic>
      <p:pic>
        <p:nvPicPr>
          <p:cNvPr id="22" name="Grafik 21">
            <a:extLst>
              <a:ext uri="{FF2B5EF4-FFF2-40B4-BE49-F238E27FC236}">
                <a16:creationId xmlns:a16="http://schemas.microsoft.com/office/drawing/2014/main" id="{7B5BEE04-1FD1-6547-AB06-E9C25D9D23E3}"/>
              </a:ext>
            </a:extLst>
          </p:cNvPr>
          <p:cNvPicPr>
            <a:picLocks noChangeAspect="1"/>
          </p:cNvPicPr>
          <p:nvPr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96640" y="3920400"/>
            <a:ext cx="2400000" cy="1800000"/>
          </a:xfrm>
          <a:prstGeom prst="rect">
            <a:avLst/>
          </a:prstGeom>
        </p:spPr>
      </p:pic>
      <p:pic>
        <p:nvPicPr>
          <p:cNvPr id="23" name="Grafik 22">
            <a:extLst>
              <a:ext uri="{FF2B5EF4-FFF2-40B4-BE49-F238E27FC236}">
                <a16:creationId xmlns:a16="http://schemas.microsoft.com/office/drawing/2014/main" id="{E0EE73F3-4583-2382-9AFB-F71C0C28CE30}"/>
              </a:ext>
            </a:extLst>
          </p:cNvPr>
          <p:cNvPicPr>
            <a:picLocks noChangeAspect="1"/>
          </p:cNvPicPr>
          <p:nvPr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7386" y="3920400"/>
            <a:ext cx="2400000" cy="1800000"/>
          </a:xfrm>
          <a:prstGeom prst="rect">
            <a:avLst/>
          </a:prstGeom>
        </p:spPr>
      </p:pic>
      <p:pic>
        <p:nvPicPr>
          <p:cNvPr id="24" name="Grafik 23" descr="Ein Bild, das Kette enthält.&#10;&#10;Automatisch generierte Beschreibung">
            <a:extLst>
              <a:ext uri="{FF2B5EF4-FFF2-40B4-BE49-F238E27FC236}">
                <a16:creationId xmlns:a16="http://schemas.microsoft.com/office/drawing/2014/main" id="{98FAFB95-E5EF-58B7-4DD3-00B0EE31E6BF}"/>
              </a:ext>
            </a:extLst>
          </p:cNvPr>
          <p:cNvPicPr>
            <a:picLocks noChangeAspect="1"/>
          </p:cNvPicPr>
          <p:nvPr/>
        </p:nvPicPr>
        <p:blipFill>
          <a:blip r:embed="rId1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717600" y="1702800"/>
            <a:ext cx="2400000" cy="180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334116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/>
      <p:bldP spid="16" grpId="0"/>
      <p:bldP spid="18" grpId="0"/>
    </p:bldLst>
  </p:timing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Bildplatzhalter 12" descr="Ein Bild, das Himmel enthält.&#10;&#10;Automatisch generierte Beschreibung">
            <a:extLst>
              <a:ext uri="{FF2B5EF4-FFF2-40B4-BE49-F238E27FC236}">
                <a16:creationId xmlns:a16="http://schemas.microsoft.com/office/drawing/2014/main" id="{BAFA0B8D-0060-5FEB-66D3-6F69705DB499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/>
      </p:pic>
      <p:sp>
        <p:nvSpPr>
          <p:cNvPr id="9" name="Textplatzhalter 8">
            <a:extLst>
              <a:ext uri="{FF2B5EF4-FFF2-40B4-BE49-F238E27FC236}">
                <a16:creationId xmlns:a16="http://schemas.microsoft.com/office/drawing/2014/main" id="{93F5E213-355C-B56F-9FF9-C505A371391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275388" y="3149600"/>
            <a:ext cx="5916612" cy="1226207"/>
          </a:xfrm>
        </p:spPr>
        <p:txBody>
          <a:bodyPr/>
          <a:lstStyle/>
          <a:p>
            <a:r>
              <a:rPr lang="de-DE" dirty="0"/>
              <a:t>Ausblick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4D46B667-95B2-349D-37EB-C8A5F0E02248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65A82B2D-840F-4167-AD44-C02BC9C87CCB}" type="datetime1">
              <a:rPr lang="de-DE" noProof="0" smtClean="0"/>
              <a:t>15.11.22</a:t>
            </a:fld>
            <a:endParaRPr lang="de-DE" noProof="0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881BEAC0-1C69-69D3-C435-32A778B2A0BE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 noProof="0"/>
              <a:t>© Universität zu Lübeck</a:t>
            </a:r>
            <a:endParaRPr lang="de-DE" noProof="0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B6987747-69EA-90E9-41B1-6715C84A013C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r>
              <a:rPr lang="de-DE" noProof="0"/>
              <a:t>Seite</a:t>
            </a:r>
            <a:r>
              <a:rPr lang="en-US"/>
              <a:t> </a:t>
            </a:r>
            <a:fld id="{401BA3E4-5E55-4F99-AF09-CC6D6B2539E2}" type="slidenum">
              <a:rPr lang="en-US" smtClean="0"/>
              <a:pPr/>
              <a:t>51</a:t>
            </a:fld>
            <a:endParaRPr lang="en-US" dirty="0"/>
          </a:p>
        </p:txBody>
      </p:sp>
      <p:sp>
        <p:nvSpPr>
          <p:cNvPr id="7" name="Textplatzhalter 9">
            <a:extLst>
              <a:ext uri="{FF2B5EF4-FFF2-40B4-BE49-F238E27FC236}">
                <a16:creationId xmlns:a16="http://schemas.microsoft.com/office/drawing/2014/main" id="{9692E8A6-6F51-DF0E-4F98-82B24A96029E}"/>
              </a:ext>
            </a:extLst>
          </p:cNvPr>
          <p:cNvSpPr txBox="1">
            <a:spLocks/>
          </p:cNvSpPr>
          <p:nvPr/>
        </p:nvSpPr>
        <p:spPr bwMode="gray">
          <a:xfrm>
            <a:off x="4116748" y="6149879"/>
            <a:ext cx="7849639" cy="17158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1600" b="1" i="0" kern="1200">
                <a:solidFill>
                  <a:schemeClr val="accent1"/>
                </a:solidFill>
                <a:latin typeface="Myriad Pro" panose="020B0503030403020204" pitchFamily="34" charset="0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1400" b="0" i="0" kern="120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1" i="0" kern="120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+mn-cs"/>
              </a:defRPr>
            </a:lvl3pPr>
            <a:lvl4pPr marL="18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b="0" i="0" kern="120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+mn-cs"/>
              </a:defRPr>
            </a:lvl4pPr>
            <a:lvl5pPr marL="36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b="0" i="0" kern="120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b="0" i="0" kern="120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+mn-cs"/>
              </a:defRPr>
            </a:lvl6pPr>
            <a:lvl7pPr marL="216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buFont typeface="+mj-lt"/>
              <a:buAutoNum type="arabicPeriod"/>
              <a:defRPr sz="1400" b="0" i="0" kern="120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lphaLcParenR"/>
              <a:defRPr sz="1400" b="0" i="0" kern="120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+mn-cs"/>
              </a:defRPr>
            </a:lvl8pPr>
            <a:lvl9pPr marL="648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romanLcPeriod"/>
              <a:defRPr sz="1400" b="0" i="0" kern="120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+mn-cs"/>
              </a:defRPr>
            </a:lvl9pPr>
          </a:lstStyle>
          <a:p>
            <a:pPr lvl="1"/>
            <a:r>
              <a:rPr lang="en-US" sz="1100" dirty="0"/>
              <a:t>https://de.wikipedia.org/wiki/Datei:Mus%C3%A9e_Rodin_1.jpg#globalusage</a:t>
            </a:r>
          </a:p>
        </p:txBody>
      </p:sp>
    </p:spTree>
    <p:extLst>
      <p:ext uri="{BB962C8B-B14F-4D97-AF65-F5344CB8AC3E}">
        <p14:creationId xmlns:p14="http://schemas.microsoft.com/office/powerpoint/2010/main" val="765936876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E0C3F02-9301-B1B5-BF23-6541B2A99BC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395588"/>
            <a:ext cx="11233150" cy="374398"/>
          </a:xfrm>
        </p:spPr>
        <p:txBody>
          <a:bodyPr/>
          <a:lstStyle/>
          <a:p>
            <a:r>
              <a:rPr lang="de-DE" dirty="0"/>
              <a:t>Diskussion und Ausblick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98B23D54-B433-8416-EBB9-2247CE1B277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5A82B2D-840F-4167-AD44-C02BC9C87CCB}" type="datetime1">
              <a:rPr lang="de-DE" noProof="0" smtClean="0"/>
              <a:t>15.11.22</a:t>
            </a:fld>
            <a:endParaRPr lang="de-DE" noProof="0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07D74B38-8548-258C-E24A-CC0064A6E9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/>
              <a:t>© Universität zu Lübeck</a:t>
            </a:r>
            <a:endParaRPr lang="de-DE" noProof="0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5D0CA9A8-1676-2235-4614-F6A9FDAD2C4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 noProof="0"/>
              <a:t>Seite</a:t>
            </a:r>
            <a:r>
              <a:rPr lang="en-US"/>
              <a:t> </a:t>
            </a:r>
            <a:fld id="{401BA3E4-5E55-4F99-AF09-CC6D6B2539E2}" type="slidenum">
              <a:rPr lang="en-US" smtClean="0"/>
              <a:pPr/>
              <a:t>52</a:t>
            </a:fld>
            <a:endParaRPr lang="en-US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6D94A8A-5D89-58E6-9847-DDBBB69105D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9425" y="778321"/>
            <a:ext cx="11233150" cy="280782"/>
          </a:xfrm>
        </p:spPr>
        <p:txBody>
          <a:bodyPr/>
          <a:lstStyle/>
          <a:p>
            <a:pPr marL="0" indent="0" algn="l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900"/>
              </a:spcAft>
            </a:pPr>
            <a:r>
              <a:rPr lang="de-DE" sz="1800" b="0" i="0" kern="1200" dirty="0">
                <a:solidFill>
                  <a:srgbClr val="084653"/>
                </a:solidFill>
                <a:effectLst/>
                <a:latin typeface="Myriad Pro" panose="020B0503030403020204"/>
                <a:ea typeface="+mn-ea"/>
                <a:cs typeface="+mn-cs"/>
              </a:rPr>
              <a:t>Zusammenfassung und Ausblick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11B7D8A0-0ED8-25CD-E8BA-150ABFC3D2E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8199" y="1703388"/>
            <a:ext cx="11233150" cy="3062249"/>
          </a:xfrm>
        </p:spPr>
        <p:txBody>
          <a:bodyPr/>
          <a:lstStyle/>
          <a:p>
            <a:pPr lvl="2"/>
            <a:r>
              <a:rPr lang="de-DE" dirty="0"/>
              <a:t>Segmentierung der Arterien und Plaques </a:t>
            </a:r>
          </a:p>
          <a:p>
            <a:pPr lvl="3"/>
            <a:r>
              <a:rPr lang="de-DE" dirty="0"/>
              <a:t>Wichtig für die Atherosklerose Forschung</a:t>
            </a:r>
          </a:p>
          <a:p>
            <a:pPr lvl="3"/>
            <a:r>
              <a:rPr lang="de-DE" dirty="0"/>
              <a:t>Manuelle Segmentierung von Mäusearterien</a:t>
            </a:r>
          </a:p>
          <a:p>
            <a:pPr lvl="4"/>
            <a:r>
              <a:rPr lang="de-DE" dirty="0"/>
              <a:t>Teurer und zeitintensiver Prozess</a:t>
            </a:r>
          </a:p>
          <a:p>
            <a:pPr lvl="3"/>
            <a:r>
              <a:rPr lang="de-DE" dirty="0"/>
              <a:t>Lösung mit KI untersucht</a:t>
            </a:r>
          </a:p>
          <a:p>
            <a:pPr lvl="2"/>
            <a:r>
              <a:rPr lang="de-DE" dirty="0"/>
              <a:t>Arterien Segmentierung</a:t>
            </a:r>
          </a:p>
          <a:p>
            <a:pPr lvl="3"/>
            <a:r>
              <a:rPr lang="de-DE" dirty="0"/>
              <a:t>Single-Network Approach gibt gute Grundlage</a:t>
            </a:r>
          </a:p>
          <a:p>
            <a:pPr lvl="4"/>
            <a:r>
              <a:rPr lang="de-DE" dirty="0"/>
              <a:t>Verbessert durch Multi-Network Approach und Ensembles</a:t>
            </a:r>
          </a:p>
          <a:p>
            <a:pPr lvl="2"/>
            <a:r>
              <a:rPr lang="de-DE" dirty="0"/>
              <a:t>Plaque Segmentierung</a:t>
            </a:r>
          </a:p>
          <a:p>
            <a:pPr lvl="3"/>
            <a:r>
              <a:rPr lang="de-DE" dirty="0"/>
              <a:t>Datensatz aufbauend auf Threshold-basierter Segmentierung</a:t>
            </a:r>
          </a:p>
          <a:p>
            <a:pPr lvl="3"/>
            <a:r>
              <a:rPr lang="de-DE" dirty="0"/>
              <a:t>W-Net erkennt Plaques</a:t>
            </a:r>
          </a:p>
          <a:p>
            <a:pPr lvl="2"/>
            <a:r>
              <a:rPr lang="de-DE" dirty="0"/>
              <a:t>Future Work</a:t>
            </a:r>
          </a:p>
          <a:p>
            <a:pPr lvl="3"/>
            <a:r>
              <a:rPr lang="de-DE" dirty="0"/>
              <a:t>3D </a:t>
            </a:r>
            <a:r>
              <a:rPr lang="de-DE" dirty="0" err="1"/>
              <a:t>Convolutions</a:t>
            </a:r>
            <a:endParaRPr lang="de-DE" dirty="0"/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5A0C443B-A1ED-7A8F-45D9-33746B18814F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21502" y="191192"/>
            <a:ext cx="3744886" cy="1130532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4182433681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platzhalter 7">
            <a:extLst>
              <a:ext uri="{FF2B5EF4-FFF2-40B4-BE49-F238E27FC236}">
                <a16:creationId xmlns:a16="http://schemas.microsoft.com/office/drawing/2014/main" id="{811B6A1E-9CE8-0659-3983-E5CA8F9E9A9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DE" dirty="0"/>
              <a:t>Vielen Dank für Ihre Aufmerksamkeit</a:t>
            </a:r>
          </a:p>
          <a:p>
            <a:endParaRPr lang="de-DE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BDBCEC1-016A-FBF5-1765-2AD13A5BFA82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65A82B2D-840F-4167-AD44-C02BC9C87CCB}" type="datetime1">
              <a:rPr lang="de-DE" noProof="0" smtClean="0"/>
              <a:t>15.11.22</a:t>
            </a:fld>
            <a:endParaRPr lang="de-DE" noProof="0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C8EEC527-7825-B669-7640-379630FCF2F1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de-DE" noProof="0"/>
              <a:t>© Universität zu Lübeck</a:t>
            </a:r>
            <a:endParaRPr lang="de-DE" noProof="0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56BA4A9A-A898-6B59-BD20-0D847AF4FB50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de-DE" noProof="0" dirty="0"/>
              <a:t>Seit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5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9752641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Grafik 10" descr="Ratte Silhouette">
            <a:extLst>
              <a:ext uri="{FF2B5EF4-FFF2-40B4-BE49-F238E27FC236}">
                <a16:creationId xmlns:a16="http://schemas.microsoft.com/office/drawing/2014/main" id="{2E6C0370-88AD-68F3-6536-F200EDA24FE9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6703077" y="283645"/>
            <a:ext cx="2953785" cy="2953785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BE836E37-D940-8CE8-B81C-EEDE9D8423F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Einleitung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35CC3CF5-EE91-8D7B-6116-310AFBBD27F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62B3568-9F39-45BA-8ABC-B5488CC74074}" type="datetime1">
              <a:rPr lang="de-DE" noProof="0" smtClean="0"/>
              <a:t>15.11.22</a:t>
            </a:fld>
            <a:endParaRPr lang="de-DE" noProof="0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974BFF5-189A-99BC-B7DE-CEF59AE6C08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/>
              <a:t>© Universität zu Lübeck</a:t>
            </a:r>
            <a:endParaRPr lang="de-DE" noProof="0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1E288BF3-09D0-88EB-876E-2BFB9C49028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 noProof="0"/>
              <a:t>Seite</a:t>
            </a:r>
            <a:r>
              <a:rPr lang="en-US"/>
              <a:t> </a:t>
            </a:r>
            <a:fld id="{401BA3E4-5E55-4F99-AF09-CC6D6B2539E2}" type="slidenum">
              <a:rPr lang="en-US" smtClean="0"/>
              <a:pPr/>
              <a:t>6</a:t>
            </a:fld>
            <a:endParaRPr lang="en-US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4C506A99-810A-A44F-18BA-12D6B785CC9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9425" y="778321"/>
            <a:ext cx="11233150" cy="312008"/>
          </a:xfrm>
        </p:spPr>
        <p:txBody>
          <a:bodyPr/>
          <a:lstStyle/>
          <a:p>
            <a:r>
              <a:rPr lang="de-DE" dirty="0"/>
              <a:t>Motivation — Forschung an Mäusen</a:t>
            </a:r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F1D7834C-7E3B-DA31-EC85-17E78868218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8199" y="1703388"/>
            <a:ext cx="11233150" cy="2145524"/>
          </a:xfrm>
        </p:spPr>
        <p:txBody>
          <a:bodyPr/>
          <a:lstStyle/>
          <a:p>
            <a:pPr lvl="2"/>
            <a:r>
              <a:rPr lang="de-DE" dirty="0"/>
              <a:t>Mäuse für Atherosklerose Forschung</a:t>
            </a:r>
          </a:p>
          <a:p>
            <a:pPr lvl="3"/>
            <a:r>
              <a:rPr lang="de-DE" dirty="0">
                <a:sym typeface="Wingdings" panose="05000000000000000000" pitchFamily="2" charset="2"/>
              </a:rPr>
              <a:t>Mäuse werden seziert</a:t>
            </a:r>
          </a:p>
          <a:p>
            <a:pPr lvl="3"/>
            <a:r>
              <a:rPr lang="de-DE" dirty="0">
                <a:sym typeface="Wingdings" panose="05000000000000000000" pitchFamily="2" charset="2"/>
              </a:rPr>
              <a:t>Histologische Schnitte von der </a:t>
            </a:r>
            <a:r>
              <a:rPr lang="de-DE" dirty="0" err="1">
                <a:sym typeface="Wingdings" panose="05000000000000000000" pitchFamily="2" charset="2"/>
              </a:rPr>
              <a:t>Aortenwurzel</a:t>
            </a:r>
            <a:r>
              <a:rPr lang="de-DE" dirty="0">
                <a:sym typeface="Wingdings" panose="05000000000000000000" pitchFamily="2" charset="2"/>
              </a:rPr>
              <a:t> </a:t>
            </a:r>
          </a:p>
          <a:p>
            <a:pPr lvl="3"/>
            <a:r>
              <a:rPr lang="de-DE" dirty="0">
                <a:sym typeface="Wingdings" panose="05000000000000000000" pitchFamily="2" charset="2"/>
              </a:rPr>
              <a:t>Färbung mit </a:t>
            </a:r>
            <a:r>
              <a:rPr lang="de-DE" dirty="0" err="1">
                <a:sym typeface="Wingdings" panose="05000000000000000000" pitchFamily="2" charset="2"/>
              </a:rPr>
              <a:t>OilRedO</a:t>
            </a:r>
            <a:r>
              <a:rPr lang="de-DE" dirty="0">
                <a:sym typeface="Wingdings" panose="05000000000000000000" pitchFamily="2" charset="2"/>
              </a:rPr>
              <a:t> (ORO)</a:t>
            </a:r>
          </a:p>
          <a:p>
            <a:pPr lvl="2"/>
            <a:r>
              <a:rPr lang="de-DE" dirty="0">
                <a:sym typeface="Wingdings" panose="05000000000000000000" pitchFamily="2" charset="2"/>
              </a:rPr>
              <a:t>Bestimmung der Arterien und Plaques</a:t>
            </a:r>
          </a:p>
          <a:p>
            <a:pPr lvl="3"/>
            <a:r>
              <a:rPr lang="de-DE" dirty="0">
                <a:sym typeface="Wingdings" panose="05000000000000000000" pitchFamily="2" charset="2"/>
              </a:rPr>
              <a:t>Arterien werden per Hand am PC „ausgeschnitten“ </a:t>
            </a:r>
          </a:p>
          <a:p>
            <a:pPr lvl="3"/>
            <a:r>
              <a:rPr lang="de-DE" dirty="0">
                <a:sym typeface="Wingdings" panose="05000000000000000000" pitchFamily="2" charset="2"/>
              </a:rPr>
              <a:t>Zeitintensiver und teurer Prozess</a:t>
            </a:r>
          </a:p>
          <a:p>
            <a:pPr lvl="3"/>
            <a:r>
              <a:rPr lang="de-DE" dirty="0" err="1">
                <a:sym typeface="Wingdings" panose="05000000000000000000" pitchFamily="2" charset="2"/>
              </a:rPr>
              <a:t>Plaquebestimmung</a:t>
            </a:r>
            <a:r>
              <a:rPr lang="de-DE" dirty="0">
                <a:sym typeface="Wingdings" panose="05000000000000000000" pitchFamily="2" charset="2"/>
              </a:rPr>
              <a:t> durch Threshold-basierte Segmentierung</a:t>
            </a:r>
            <a:endParaRPr lang="de-DE" dirty="0"/>
          </a:p>
          <a:p>
            <a:endParaRPr lang="de-DE" dirty="0"/>
          </a:p>
        </p:txBody>
      </p:sp>
      <p:cxnSp>
        <p:nvCxnSpPr>
          <p:cNvPr id="9" name="Gerade Verbindung mit Pfeil 8">
            <a:extLst>
              <a:ext uri="{FF2B5EF4-FFF2-40B4-BE49-F238E27FC236}">
                <a16:creationId xmlns:a16="http://schemas.microsoft.com/office/drawing/2014/main" id="{58DEA993-C140-C0E0-EC40-E3930AE8E75E}"/>
              </a:ext>
            </a:extLst>
          </p:cNvPr>
          <p:cNvCxnSpPr>
            <a:cxnSpLocks/>
          </p:cNvCxnSpPr>
          <p:nvPr/>
        </p:nvCxnSpPr>
        <p:spPr>
          <a:xfrm>
            <a:off x="8179970" y="2536292"/>
            <a:ext cx="1" cy="447004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Grafik 6">
            <a:extLst>
              <a:ext uri="{FF2B5EF4-FFF2-40B4-BE49-F238E27FC236}">
                <a16:creationId xmlns:a16="http://schemas.microsoft.com/office/drawing/2014/main" id="{525F1B93-0F84-E897-0C6F-35169B1321E3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21502" y="191192"/>
            <a:ext cx="3744886" cy="1130532"/>
          </a:xfrm>
          <a:prstGeom prst="rect">
            <a:avLst/>
          </a:prstGeom>
          <a:noFill/>
        </p:spPr>
      </p:pic>
      <p:pic>
        <p:nvPicPr>
          <p:cNvPr id="17" name="out">
            <a:hlinkClick r:id="" action="ppaction://media"/>
            <a:extLst>
              <a:ext uri="{FF2B5EF4-FFF2-40B4-BE49-F238E27FC236}">
                <a16:creationId xmlns:a16="http://schemas.microsoft.com/office/drawing/2014/main" id="{18A5EFBF-8A90-CC3E-86AD-714A6A0ED1B4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7"/>
          <a:stretch>
            <a:fillRect/>
          </a:stretch>
        </p:blipFill>
        <p:spPr>
          <a:xfrm>
            <a:off x="5702409" y="3038307"/>
            <a:ext cx="4955122" cy="2787256"/>
          </a:xfrm>
          <a:prstGeom prst="rect">
            <a:avLst/>
          </a:prstGeom>
        </p:spPr>
      </p:pic>
      <p:sp>
        <p:nvSpPr>
          <p:cNvPr id="18" name="Rechteck 17">
            <a:extLst>
              <a:ext uri="{FF2B5EF4-FFF2-40B4-BE49-F238E27FC236}">
                <a16:creationId xmlns:a16="http://schemas.microsoft.com/office/drawing/2014/main" id="{0B1CC775-2EF4-B8D3-3F11-362C5DA23507}"/>
              </a:ext>
            </a:extLst>
          </p:cNvPr>
          <p:cNvSpPr/>
          <p:nvPr/>
        </p:nvSpPr>
        <p:spPr>
          <a:xfrm>
            <a:off x="5595833" y="2991344"/>
            <a:ext cx="5462692" cy="2941254"/>
          </a:xfrm>
          <a:prstGeom prst="rect">
            <a:avLst/>
          </a:prstGeom>
          <a:solidFill>
            <a:srgbClr val="FFFF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de-DE" sz="14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0279325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14" dur="16562" fill="hold"/>
                                        <p:tgtEl>
                                          <p:spTgt spid="17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15" repeatCount="indefinite" fill="hold" display="0">
                  <p:stCondLst>
                    <p:cond delay="indefinite"/>
                  </p:stCondLst>
                </p:cTn>
                <p:tgtEl>
                  <p:spTgt spid="17"/>
                </p:tgtEl>
              </p:cMediaNode>
            </p:video>
            <p:seq concurrent="1" nextAc="seek">
              <p:cTn id="16" restart="whenNotActive" fill="hold" evtFilter="cancelBubble" nodeType="interactiveSeq">
                <p:stCondLst>
                  <p:cond evt="onClick" delay="0">
                    <p:tgtEl>
                      <p:spTgt spid="17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17" fill="hold">
                      <p:stCondLst>
                        <p:cond delay="0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2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20" dur="1" fill="hold"/>
                                        <p:tgtEl>
                                          <p:spTgt spid="17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17"/>
                  </p:tgtEl>
                </p:cond>
              </p:nextCondLst>
            </p:seq>
          </p:childTnLst>
        </p:cTn>
      </p:par>
    </p:tnLst>
    <p:bldLst>
      <p:bldP spid="18" grpId="0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3" name="Diagram 4">
            <a:extLst>
              <a:ext uri="{FF2B5EF4-FFF2-40B4-BE49-F238E27FC236}">
                <a16:creationId xmlns:a16="http://schemas.microsoft.com/office/drawing/2014/main" id="{B919F797-3AD1-4A8F-85AA-E4D6A65BA46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5696644"/>
              </p:ext>
            </p:extLst>
          </p:nvPr>
        </p:nvGraphicFramePr>
        <p:xfrm>
          <a:off x="8094940" y="3061452"/>
          <a:ext cx="1415346" cy="217170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graphicFrame>
        <p:nvGraphicFramePr>
          <p:cNvPr id="42" name="Diagram 4">
            <a:extLst>
              <a:ext uri="{FF2B5EF4-FFF2-40B4-BE49-F238E27FC236}">
                <a16:creationId xmlns:a16="http://schemas.microsoft.com/office/drawing/2014/main" id="{B919F797-3AD1-4A8F-85AA-E4D6A65BA46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65723065"/>
              </p:ext>
            </p:extLst>
          </p:nvPr>
        </p:nvGraphicFramePr>
        <p:xfrm>
          <a:off x="1080081" y="589964"/>
          <a:ext cx="6220459" cy="548049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8" r:lo="rId9" r:qs="rId10" r:cs="rId11"/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9DCF5550-E586-2F4D-9BFF-EA2A23A3AC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395588"/>
            <a:ext cx="11233150" cy="375487"/>
          </a:xfrm>
        </p:spPr>
        <p:txBody>
          <a:bodyPr/>
          <a:lstStyle/>
          <a:p>
            <a:r>
              <a:rPr lang="de-DE" dirty="0"/>
              <a:t>Gliederung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6F2406C-7AB3-BA48-4B8A-67E2CFC7E9B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/>
              <a:t>© Universität zu Lübeck</a:t>
            </a:r>
            <a:endParaRPr lang="de-DE" noProof="0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22CA16D0-0D58-A287-9D07-D4F19469A6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 noProof="0"/>
              <a:t>Seite</a:t>
            </a:r>
            <a:r>
              <a:rPr lang="en-US"/>
              <a:t> </a:t>
            </a:r>
            <a:fld id="{401BA3E4-5E55-4F99-AF09-CC6D6B2539E2}" type="slidenum">
              <a:rPr lang="en-US" smtClean="0"/>
              <a:pPr/>
              <a:t>7</a:t>
            </a:fld>
            <a:endParaRPr lang="en-US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607EBF9-EC8B-9F58-CF49-88CB210BFF0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5A82B2D-840F-4167-AD44-C02BC9C87CCB}" type="datetime1">
              <a:rPr lang="de-DE" noProof="0" smtClean="0"/>
              <a:t>15.11.22</a:t>
            </a:fld>
            <a:endParaRPr lang="de-DE" noProof="0" dirty="0"/>
          </a:p>
        </p:txBody>
      </p:sp>
      <p:pic>
        <p:nvPicPr>
          <p:cNvPr id="11" name="Grafik 10" descr="Ein Bild, das Karte enthält.&#10;&#10;Automatisch generierte Beschreibung">
            <a:extLst>
              <a:ext uri="{FF2B5EF4-FFF2-40B4-BE49-F238E27FC236}">
                <a16:creationId xmlns:a16="http://schemas.microsoft.com/office/drawing/2014/main" id="{8DCD45CA-3EE6-58F1-DFB2-13FFBAD61A28}"/>
              </a:ext>
            </a:extLst>
          </p:cNvPr>
          <p:cNvPicPr>
            <a:picLocks noChangeAspect="1"/>
          </p:cNvPicPr>
          <p:nvPr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66337" y="3427303"/>
            <a:ext cx="1920000" cy="1440000"/>
          </a:xfrm>
          <a:prstGeom prst="rect">
            <a:avLst/>
          </a:prstGeom>
          <a:ln>
            <a:solidFill>
              <a:schemeClr val="accent1"/>
            </a:solidFill>
          </a:ln>
        </p:spPr>
      </p:pic>
      <p:pic>
        <p:nvPicPr>
          <p:cNvPr id="13" name="Grafik 12" descr="Ein Bild, das Schuhe enthält.&#10;&#10;Automatisch generierte Beschreibung">
            <a:extLst>
              <a:ext uri="{FF2B5EF4-FFF2-40B4-BE49-F238E27FC236}">
                <a16:creationId xmlns:a16="http://schemas.microsoft.com/office/drawing/2014/main" id="{4267AC41-BE3A-A0E7-56B8-3C950FC8CCA9}"/>
              </a:ext>
            </a:extLst>
          </p:cNvPr>
          <p:cNvPicPr>
            <a:picLocks noChangeAspect="1"/>
          </p:cNvPicPr>
          <p:nvPr/>
        </p:nvPicPr>
        <p:blipFill>
          <a:blip r:embed="rId1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676616" y="3427302"/>
            <a:ext cx="1920000" cy="1440000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4" name="Grafik 13">
            <a:extLst>
              <a:ext uri="{FF2B5EF4-FFF2-40B4-BE49-F238E27FC236}">
                <a16:creationId xmlns:a16="http://schemas.microsoft.com/office/drawing/2014/main" id="{242F2DB2-2B0E-AE0B-37C3-EE40808E80AE}"/>
              </a:ext>
            </a:extLst>
          </p:cNvPr>
          <p:cNvPicPr>
            <a:picLocks noChangeAspect="1"/>
          </p:cNvPicPr>
          <p:nvPr/>
        </p:nvPicPr>
        <p:blipFill>
          <a:blip r:embed="rId1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6000" y="3427303"/>
            <a:ext cx="1920000" cy="1440000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39" name="Textfeld 38">
            <a:extLst>
              <a:ext uri="{FF2B5EF4-FFF2-40B4-BE49-F238E27FC236}">
                <a16:creationId xmlns:a16="http://schemas.microsoft.com/office/drawing/2014/main" id="{888E936E-A2EF-4C6B-BA71-DCCE49BE021D}"/>
              </a:ext>
            </a:extLst>
          </p:cNvPr>
          <p:cNvSpPr txBox="1"/>
          <p:nvPr/>
        </p:nvSpPr>
        <p:spPr bwMode="gray">
          <a:xfrm>
            <a:off x="9638307" y="2679489"/>
            <a:ext cx="1996618" cy="65598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/>
          <a:p>
            <a:pPr algn="ctr"/>
            <a:r>
              <a:rPr lang="de-DE" dirty="0"/>
              <a:t>Segmentierung</a:t>
            </a:r>
          </a:p>
          <a:p>
            <a:pPr algn="ctr"/>
            <a:r>
              <a:rPr lang="de-DE" dirty="0"/>
              <a:t>der Plaques</a:t>
            </a: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71289FB9-BA1E-7C68-0426-32E60CDD3E24}"/>
              </a:ext>
            </a:extLst>
          </p:cNvPr>
          <p:cNvPicPr>
            <a:picLocks noChangeAspect="1"/>
          </p:cNvPicPr>
          <p:nvPr/>
        </p:nvPicPr>
        <p:blipFill>
          <a:blip r:embed="rId1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21502" y="191192"/>
            <a:ext cx="3744886" cy="1130532"/>
          </a:xfrm>
          <a:prstGeom prst="rect">
            <a:avLst/>
          </a:prstGeom>
          <a:noFill/>
        </p:spPr>
      </p:pic>
      <p:sp>
        <p:nvSpPr>
          <p:cNvPr id="15" name="Textfeld 14">
            <a:extLst>
              <a:ext uri="{FF2B5EF4-FFF2-40B4-BE49-F238E27FC236}">
                <a16:creationId xmlns:a16="http://schemas.microsoft.com/office/drawing/2014/main" id="{6ED7849F-B77B-031F-232B-53F1C0071BD2}"/>
              </a:ext>
            </a:extLst>
          </p:cNvPr>
          <p:cNvSpPr txBox="1"/>
          <p:nvPr/>
        </p:nvSpPr>
        <p:spPr bwMode="gray">
          <a:xfrm>
            <a:off x="6096000" y="2668482"/>
            <a:ext cx="1996618" cy="65598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/>
          <a:p>
            <a:pPr algn="ctr"/>
            <a:r>
              <a:rPr lang="de-DE" dirty="0"/>
              <a:t>Segmentierung</a:t>
            </a:r>
          </a:p>
          <a:p>
            <a:pPr algn="ctr"/>
            <a:r>
              <a:rPr lang="de-DE" dirty="0"/>
              <a:t>der Arterien</a:t>
            </a:r>
          </a:p>
        </p:txBody>
      </p:sp>
      <p:sp>
        <p:nvSpPr>
          <p:cNvPr id="28" name="Textfeld 27">
            <a:extLst>
              <a:ext uri="{FF2B5EF4-FFF2-40B4-BE49-F238E27FC236}">
                <a16:creationId xmlns:a16="http://schemas.microsoft.com/office/drawing/2014/main" id="{1C98C6BF-F6CB-E9D9-0B20-0C09110355E8}"/>
              </a:ext>
            </a:extLst>
          </p:cNvPr>
          <p:cNvSpPr txBox="1"/>
          <p:nvPr/>
        </p:nvSpPr>
        <p:spPr bwMode="gray">
          <a:xfrm>
            <a:off x="8068430" y="2216787"/>
            <a:ext cx="1996618" cy="65598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/>
          <a:p>
            <a:pPr algn="ctr"/>
            <a:r>
              <a:rPr lang="de-DE" sz="1400" dirty="0"/>
              <a:t>Morph. K-NN</a:t>
            </a:r>
          </a:p>
        </p:txBody>
      </p:sp>
      <p:sp>
        <p:nvSpPr>
          <p:cNvPr id="30" name="Textfeld 29">
            <a:extLst>
              <a:ext uri="{FF2B5EF4-FFF2-40B4-BE49-F238E27FC236}">
                <a16:creationId xmlns:a16="http://schemas.microsoft.com/office/drawing/2014/main" id="{F587367C-BC98-E609-D58A-F95341C38081}"/>
              </a:ext>
            </a:extLst>
          </p:cNvPr>
          <p:cNvSpPr txBox="1"/>
          <p:nvPr/>
        </p:nvSpPr>
        <p:spPr bwMode="gray">
          <a:xfrm>
            <a:off x="8016000" y="4690082"/>
            <a:ext cx="1996618" cy="65598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/>
          <a:p>
            <a:pPr algn="ctr"/>
            <a:r>
              <a:rPr lang="de-DE" sz="1400" dirty="0"/>
              <a:t>W-Net</a:t>
            </a:r>
          </a:p>
        </p:txBody>
      </p:sp>
      <p:grpSp>
        <p:nvGrpSpPr>
          <p:cNvPr id="95" name="Gruppieren 94">
            <a:extLst>
              <a:ext uri="{FF2B5EF4-FFF2-40B4-BE49-F238E27FC236}">
                <a16:creationId xmlns:a16="http://schemas.microsoft.com/office/drawing/2014/main" id="{BA3F15CF-61A4-7F53-83C8-837E38521BE7}"/>
              </a:ext>
            </a:extLst>
          </p:cNvPr>
          <p:cNvGrpSpPr/>
          <p:nvPr/>
        </p:nvGrpSpPr>
        <p:grpSpPr>
          <a:xfrm>
            <a:off x="8207917" y="5231844"/>
            <a:ext cx="1717643" cy="799363"/>
            <a:chOff x="4554249" y="1721366"/>
            <a:chExt cx="7168120" cy="3335924"/>
          </a:xfrm>
        </p:grpSpPr>
        <p:pic>
          <p:nvPicPr>
            <p:cNvPr id="96" name="Grafik 95" descr="Ein Bild, das Metallwaren enthält.&#10;&#10;Automatisch generierte Beschreibung">
              <a:extLst>
                <a:ext uri="{FF2B5EF4-FFF2-40B4-BE49-F238E27FC236}">
                  <a16:creationId xmlns:a16="http://schemas.microsoft.com/office/drawing/2014/main" id="{2DB799B7-61A5-54FE-CB45-A0C2427B357B}"/>
                </a:ext>
              </a:extLst>
            </p:cNvPr>
            <p:cNvPicPr>
              <a:picLocks noChangeAspect="1"/>
            </p:cNvPicPr>
            <p:nvPr/>
          </p:nvPicPr>
          <p:blipFill>
            <a:blip r:embed="rId1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554249" y="1754999"/>
              <a:ext cx="814157" cy="610618"/>
            </a:xfrm>
            <a:prstGeom prst="rect">
              <a:avLst/>
            </a:prstGeom>
          </p:spPr>
        </p:pic>
        <p:pic>
          <p:nvPicPr>
            <p:cNvPr id="97" name="Grafik 96" descr="Ein Bild, das Metallwaren enthält.&#10;&#10;Automatisch generierte Beschreibung">
              <a:extLst>
                <a:ext uri="{FF2B5EF4-FFF2-40B4-BE49-F238E27FC236}">
                  <a16:creationId xmlns:a16="http://schemas.microsoft.com/office/drawing/2014/main" id="{8E9877AB-38C4-6C25-2B9C-0DDCF31CAC59}"/>
                </a:ext>
              </a:extLst>
            </p:cNvPr>
            <p:cNvPicPr>
              <a:picLocks noChangeAspect="1"/>
            </p:cNvPicPr>
            <p:nvPr/>
          </p:nvPicPr>
          <p:blipFill>
            <a:blip r:embed="rId1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0908212" y="1754999"/>
              <a:ext cx="814157" cy="610618"/>
            </a:xfrm>
            <a:prstGeom prst="rect">
              <a:avLst/>
            </a:prstGeom>
          </p:spPr>
        </p:pic>
        <p:pic>
          <p:nvPicPr>
            <p:cNvPr id="98" name="Grafik 97">
              <a:extLst>
                <a:ext uri="{FF2B5EF4-FFF2-40B4-BE49-F238E27FC236}">
                  <a16:creationId xmlns:a16="http://schemas.microsoft.com/office/drawing/2014/main" id="{9468951C-0962-9012-4365-99B75F364C9B}"/>
                </a:ext>
              </a:extLst>
            </p:cNvPr>
            <p:cNvPicPr>
              <a:picLocks noChangeAspect="1"/>
            </p:cNvPicPr>
            <p:nvPr/>
          </p:nvPicPr>
          <p:blipFill>
            <a:blip r:embed="rId18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323506" y="1721366"/>
              <a:ext cx="5618586" cy="2707328"/>
            </a:xfrm>
            <a:prstGeom prst="rect">
              <a:avLst/>
            </a:prstGeom>
          </p:spPr>
        </p:pic>
        <p:pic>
          <p:nvPicPr>
            <p:cNvPr id="99" name="Grafik 98">
              <a:extLst>
                <a:ext uri="{FF2B5EF4-FFF2-40B4-BE49-F238E27FC236}">
                  <a16:creationId xmlns:a16="http://schemas.microsoft.com/office/drawing/2014/main" id="{5717B2B3-E1AE-BA15-8997-281D0D5A7E26}"/>
                </a:ext>
              </a:extLst>
            </p:cNvPr>
            <p:cNvPicPr>
              <a:picLocks noChangeAspect="1"/>
            </p:cNvPicPr>
            <p:nvPr/>
          </p:nvPicPr>
          <p:blipFill>
            <a:blip r:embed="rId19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581072" y="4446672"/>
              <a:ext cx="814157" cy="610618"/>
            </a:xfrm>
            <a:prstGeom prst="rect">
              <a:avLst/>
            </a:prstGeom>
          </p:spPr>
        </p:pic>
      </p:grpSp>
      <p:pic>
        <p:nvPicPr>
          <p:cNvPr id="103" name="Grafik 102">
            <a:extLst>
              <a:ext uri="{FF2B5EF4-FFF2-40B4-BE49-F238E27FC236}">
                <a16:creationId xmlns:a16="http://schemas.microsoft.com/office/drawing/2014/main" id="{F5218157-4099-86F2-D213-52329BD2CE9E}"/>
              </a:ext>
            </a:extLst>
          </p:cNvPr>
          <p:cNvPicPr>
            <a:picLocks noChangeAspect="1"/>
          </p:cNvPicPr>
          <p:nvPr/>
        </p:nvPicPr>
        <p:blipFill>
          <a:blip r:embed="rId2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661679" y="2728562"/>
            <a:ext cx="740798" cy="547215"/>
          </a:xfrm>
          <a:prstGeom prst="rect">
            <a:avLst/>
          </a:prstGeom>
        </p:spPr>
      </p:pic>
      <p:sp>
        <p:nvSpPr>
          <p:cNvPr id="45" name="Textfeld 44">
            <a:extLst>
              <a:ext uri="{FF2B5EF4-FFF2-40B4-BE49-F238E27FC236}">
                <a16:creationId xmlns:a16="http://schemas.microsoft.com/office/drawing/2014/main" id="{6ED7849F-B77B-031F-232B-53F1C0071BD2}"/>
              </a:ext>
            </a:extLst>
          </p:cNvPr>
          <p:cNvSpPr txBox="1"/>
          <p:nvPr/>
        </p:nvSpPr>
        <p:spPr bwMode="gray">
          <a:xfrm>
            <a:off x="228028" y="2668482"/>
            <a:ext cx="1996618" cy="65598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/>
          <a:p>
            <a:pPr algn="ctr"/>
            <a:r>
              <a:rPr lang="de-DE" dirty="0"/>
              <a:t>Histologischer</a:t>
            </a:r>
          </a:p>
          <a:p>
            <a:pPr algn="ctr"/>
            <a:r>
              <a:rPr lang="de-DE" dirty="0"/>
              <a:t> Schnitt</a:t>
            </a: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EF88658C-D023-BC36-B9F9-49C815C0D52F}"/>
              </a:ext>
            </a:extLst>
          </p:cNvPr>
          <p:cNvSpPr/>
          <p:nvPr/>
        </p:nvSpPr>
        <p:spPr>
          <a:xfrm>
            <a:off x="172704" y="2344220"/>
            <a:ext cx="2509010" cy="3446979"/>
          </a:xfrm>
          <a:prstGeom prst="rect">
            <a:avLst/>
          </a:prstGeom>
          <a:solidFill>
            <a:srgbClr val="FFFF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de-DE" sz="1400" dirty="0">
              <a:solidFill>
                <a:schemeClr val="tx1"/>
              </a:solidFill>
            </a:endParaRP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975E945C-56FE-DA3E-7491-2ABE604026B0}"/>
              </a:ext>
            </a:extLst>
          </p:cNvPr>
          <p:cNvSpPr/>
          <p:nvPr/>
        </p:nvSpPr>
        <p:spPr>
          <a:xfrm>
            <a:off x="2980737" y="493297"/>
            <a:ext cx="3051254" cy="3837403"/>
          </a:xfrm>
          <a:prstGeom prst="rect">
            <a:avLst/>
          </a:prstGeom>
          <a:solidFill>
            <a:srgbClr val="FFFF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de-DE" sz="1400" dirty="0">
              <a:solidFill>
                <a:schemeClr val="tx1"/>
              </a:solidFill>
            </a:endParaRP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B09CDD52-518A-BFB6-7EF9-F1E3396E6112}"/>
              </a:ext>
            </a:extLst>
          </p:cNvPr>
          <p:cNvSpPr/>
          <p:nvPr/>
        </p:nvSpPr>
        <p:spPr>
          <a:xfrm>
            <a:off x="2648077" y="2334358"/>
            <a:ext cx="597334" cy="1852902"/>
          </a:xfrm>
          <a:prstGeom prst="rect">
            <a:avLst/>
          </a:prstGeom>
          <a:solidFill>
            <a:srgbClr val="FFFF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de-DE" sz="1400" dirty="0">
              <a:solidFill>
                <a:schemeClr val="tx1"/>
              </a:solidFill>
            </a:endParaRP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F10D8104-3FD5-141F-69FD-F77D79A9D400}"/>
              </a:ext>
            </a:extLst>
          </p:cNvPr>
          <p:cNvSpPr/>
          <p:nvPr/>
        </p:nvSpPr>
        <p:spPr>
          <a:xfrm>
            <a:off x="2814407" y="4283927"/>
            <a:ext cx="2702853" cy="741984"/>
          </a:xfrm>
          <a:prstGeom prst="rect">
            <a:avLst/>
          </a:prstGeom>
          <a:solidFill>
            <a:srgbClr val="FFFF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de-DE" sz="1400" dirty="0">
              <a:solidFill>
                <a:schemeClr val="tx1"/>
              </a:solidFill>
            </a:endParaRPr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398926A7-4FB8-6E31-22F1-843290C9C1BD}"/>
              </a:ext>
            </a:extLst>
          </p:cNvPr>
          <p:cNvSpPr/>
          <p:nvPr/>
        </p:nvSpPr>
        <p:spPr>
          <a:xfrm>
            <a:off x="2681713" y="4196785"/>
            <a:ext cx="132695" cy="482370"/>
          </a:xfrm>
          <a:prstGeom prst="rect">
            <a:avLst/>
          </a:prstGeom>
          <a:solidFill>
            <a:srgbClr val="FFFF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de-DE" sz="1400" dirty="0">
              <a:solidFill>
                <a:schemeClr val="tx1"/>
              </a:solidFill>
            </a:endParaRP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6CCA3C88-1D55-66F8-90C3-078D9DA8815E}"/>
              </a:ext>
            </a:extLst>
          </p:cNvPr>
          <p:cNvSpPr/>
          <p:nvPr/>
        </p:nvSpPr>
        <p:spPr>
          <a:xfrm>
            <a:off x="2760654" y="5006166"/>
            <a:ext cx="2889300" cy="1064291"/>
          </a:xfrm>
          <a:prstGeom prst="rect">
            <a:avLst/>
          </a:prstGeom>
          <a:solidFill>
            <a:srgbClr val="FFFF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de-DE" sz="1400" dirty="0">
              <a:solidFill>
                <a:schemeClr val="tx1"/>
              </a:solidFill>
            </a:endParaRPr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01B2CFAB-08BD-F8CD-FAFA-9984AFC0B4E2}"/>
              </a:ext>
            </a:extLst>
          </p:cNvPr>
          <p:cNvSpPr/>
          <p:nvPr/>
        </p:nvSpPr>
        <p:spPr>
          <a:xfrm>
            <a:off x="2673596" y="4679154"/>
            <a:ext cx="113396" cy="972345"/>
          </a:xfrm>
          <a:prstGeom prst="rect">
            <a:avLst/>
          </a:prstGeom>
          <a:solidFill>
            <a:srgbClr val="FFFF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de-DE" sz="1400" dirty="0">
              <a:solidFill>
                <a:schemeClr val="tx1"/>
              </a:solidFill>
            </a:endParaRPr>
          </a:p>
        </p:txBody>
      </p:sp>
      <p:sp>
        <p:nvSpPr>
          <p:cNvPr id="19" name="Rechteck 18">
            <a:extLst>
              <a:ext uri="{FF2B5EF4-FFF2-40B4-BE49-F238E27FC236}">
                <a16:creationId xmlns:a16="http://schemas.microsoft.com/office/drawing/2014/main" id="{2E778364-2F0D-628B-4AA3-245CCBC3B286}"/>
              </a:ext>
            </a:extLst>
          </p:cNvPr>
          <p:cNvSpPr/>
          <p:nvPr/>
        </p:nvSpPr>
        <p:spPr>
          <a:xfrm>
            <a:off x="6047280" y="2544779"/>
            <a:ext cx="1994119" cy="2481131"/>
          </a:xfrm>
          <a:prstGeom prst="rect">
            <a:avLst/>
          </a:prstGeom>
          <a:solidFill>
            <a:srgbClr val="FFFF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de-DE" sz="1400" dirty="0">
              <a:solidFill>
                <a:schemeClr val="tx1"/>
              </a:solidFill>
            </a:endParaRPr>
          </a:p>
        </p:txBody>
      </p:sp>
      <p:sp>
        <p:nvSpPr>
          <p:cNvPr id="21" name="Rechteck 20">
            <a:extLst>
              <a:ext uri="{FF2B5EF4-FFF2-40B4-BE49-F238E27FC236}">
                <a16:creationId xmlns:a16="http://schemas.microsoft.com/office/drawing/2014/main" id="{6013A9D5-B919-A15E-7F34-B497C35B6C7C}"/>
              </a:ext>
            </a:extLst>
          </p:cNvPr>
          <p:cNvSpPr/>
          <p:nvPr/>
        </p:nvSpPr>
        <p:spPr>
          <a:xfrm>
            <a:off x="8075742" y="2155191"/>
            <a:ext cx="327265" cy="2963737"/>
          </a:xfrm>
          <a:prstGeom prst="rect">
            <a:avLst/>
          </a:prstGeom>
          <a:solidFill>
            <a:srgbClr val="FFFF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de-DE" sz="1400" dirty="0">
              <a:solidFill>
                <a:schemeClr val="tx1"/>
              </a:solidFill>
            </a:endParaRPr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3F857B42-A50A-4590-6331-19A88662C2EE}"/>
              </a:ext>
            </a:extLst>
          </p:cNvPr>
          <p:cNvSpPr/>
          <p:nvPr/>
        </p:nvSpPr>
        <p:spPr>
          <a:xfrm>
            <a:off x="8368711" y="1945434"/>
            <a:ext cx="1220515" cy="2210136"/>
          </a:xfrm>
          <a:prstGeom prst="rect">
            <a:avLst/>
          </a:prstGeom>
          <a:solidFill>
            <a:srgbClr val="FFFF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de-DE" sz="1400" dirty="0">
              <a:solidFill>
                <a:schemeClr val="tx1"/>
              </a:solidFill>
            </a:endParaRPr>
          </a:p>
        </p:txBody>
      </p:sp>
      <p:sp>
        <p:nvSpPr>
          <p:cNvPr id="23" name="Rechteck 22">
            <a:extLst>
              <a:ext uri="{FF2B5EF4-FFF2-40B4-BE49-F238E27FC236}">
                <a16:creationId xmlns:a16="http://schemas.microsoft.com/office/drawing/2014/main" id="{28B6CABD-0CA3-6437-9ED2-6B19F1C28DD1}"/>
              </a:ext>
            </a:extLst>
          </p:cNvPr>
          <p:cNvSpPr/>
          <p:nvPr/>
        </p:nvSpPr>
        <p:spPr>
          <a:xfrm>
            <a:off x="9559367" y="2135934"/>
            <a:ext cx="2301519" cy="2889976"/>
          </a:xfrm>
          <a:prstGeom prst="rect">
            <a:avLst/>
          </a:prstGeom>
          <a:solidFill>
            <a:srgbClr val="FFFF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de-DE" sz="1400" dirty="0">
              <a:solidFill>
                <a:schemeClr val="tx1"/>
              </a:solidFill>
            </a:endParaRPr>
          </a:p>
        </p:txBody>
      </p:sp>
      <p:sp>
        <p:nvSpPr>
          <p:cNvPr id="24" name="Rechteck 23">
            <a:extLst>
              <a:ext uri="{FF2B5EF4-FFF2-40B4-BE49-F238E27FC236}">
                <a16:creationId xmlns:a16="http://schemas.microsoft.com/office/drawing/2014/main" id="{16C8E6CB-CD67-5742-CA02-C5B0F5ECE2E5}"/>
              </a:ext>
            </a:extLst>
          </p:cNvPr>
          <p:cNvSpPr/>
          <p:nvPr/>
        </p:nvSpPr>
        <p:spPr>
          <a:xfrm>
            <a:off x="8410319" y="4155570"/>
            <a:ext cx="1119166" cy="1914887"/>
          </a:xfrm>
          <a:prstGeom prst="rect">
            <a:avLst/>
          </a:prstGeom>
          <a:solidFill>
            <a:srgbClr val="FFFF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de-DE" sz="1400" dirty="0">
              <a:solidFill>
                <a:schemeClr val="tx1"/>
              </a:solidFill>
            </a:endParaRPr>
          </a:p>
        </p:txBody>
      </p:sp>
      <p:sp>
        <p:nvSpPr>
          <p:cNvPr id="25" name="Rechteck 24">
            <a:extLst>
              <a:ext uri="{FF2B5EF4-FFF2-40B4-BE49-F238E27FC236}">
                <a16:creationId xmlns:a16="http://schemas.microsoft.com/office/drawing/2014/main" id="{9785653E-099B-C552-A112-CAAE4B998E18}"/>
              </a:ext>
            </a:extLst>
          </p:cNvPr>
          <p:cNvSpPr/>
          <p:nvPr/>
        </p:nvSpPr>
        <p:spPr>
          <a:xfrm>
            <a:off x="8152593" y="5160955"/>
            <a:ext cx="1938965" cy="909502"/>
          </a:xfrm>
          <a:prstGeom prst="rect">
            <a:avLst/>
          </a:prstGeom>
          <a:solidFill>
            <a:srgbClr val="FFFF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de-DE" sz="14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6892553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8" grpId="0" animBg="1"/>
      <p:bldP spid="9" grpId="0" animBg="1"/>
      <p:bldP spid="12" grpId="0" animBg="1"/>
      <p:bldP spid="16" grpId="0" animBg="1"/>
      <p:bldP spid="17" grpId="0" animBg="1"/>
      <p:bldP spid="18" grpId="0" animBg="1"/>
      <p:bldP spid="19" grpId="0" animBg="1"/>
      <p:bldP spid="21" grpId="0" animBg="1"/>
      <p:bldP spid="22" grpId="0" animBg="1"/>
      <p:bldP spid="23" grpId="0" animBg="1"/>
      <p:bldP spid="24" grpId="0" animBg="1"/>
      <p:bldP spid="25" grpId="0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Bildplatzhalter 12" descr="Ein Bild, das Text enthält.&#10;&#10;Automatisch generierte Beschreibung">
            <a:extLst>
              <a:ext uri="{FF2B5EF4-FFF2-40B4-BE49-F238E27FC236}">
                <a16:creationId xmlns:a16="http://schemas.microsoft.com/office/drawing/2014/main" id="{E0951D7C-E0DE-541B-F693-CE9CCBA85DA4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63" r="63"/>
          <a:stretch>
            <a:fillRect/>
          </a:stretch>
        </p:blipFill>
        <p:spPr/>
      </p:pic>
      <p:sp>
        <p:nvSpPr>
          <p:cNvPr id="9" name="Textplatzhalter 8">
            <a:extLst>
              <a:ext uri="{FF2B5EF4-FFF2-40B4-BE49-F238E27FC236}">
                <a16:creationId xmlns:a16="http://schemas.microsoft.com/office/drawing/2014/main" id="{78FA5B5F-AED7-6E5C-160A-EAE917108C0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275388" y="3149600"/>
            <a:ext cx="5916612" cy="1226207"/>
          </a:xfrm>
        </p:spPr>
        <p:txBody>
          <a:bodyPr/>
          <a:lstStyle/>
          <a:p>
            <a:r>
              <a:rPr lang="de-DE" dirty="0"/>
              <a:t>Methode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184E8C8A-4376-59AE-7871-6308E55F6D1E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65A82B2D-840F-4167-AD44-C02BC9C87CCB}" type="datetime1">
              <a:rPr lang="de-DE" noProof="0" smtClean="0"/>
              <a:t>15.11.22</a:t>
            </a:fld>
            <a:endParaRPr lang="de-DE" noProof="0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0C4B4224-C910-BB30-7522-22461DCC8596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 noProof="0"/>
              <a:t>© Universität zu Lübeck</a:t>
            </a:r>
            <a:endParaRPr lang="de-DE" noProof="0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07C417D5-1AD9-8D25-7FB1-21260BEDB353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r>
              <a:rPr lang="de-DE" noProof="0"/>
              <a:t>Seite</a:t>
            </a:r>
            <a:r>
              <a:rPr lang="en-US"/>
              <a:t> </a:t>
            </a:r>
            <a:fld id="{401BA3E4-5E55-4F99-AF09-CC6D6B2539E2}" type="slidenum">
              <a:rPr lang="en-US" smtClean="0"/>
              <a:pPr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7671142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E0C3F02-9301-B1B5-BF23-6541B2A99BC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395588"/>
            <a:ext cx="11233150" cy="374398"/>
          </a:xfrm>
        </p:spPr>
        <p:txBody>
          <a:bodyPr/>
          <a:lstStyle/>
          <a:p>
            <a:r>
              <a:rPr lang="de-DE" dirty="0"/>
              <a:t>Methode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98B23D54-B433-8416-EBB9-2247CE1B277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5A82B2D-840F-4167-AD44-C02BC9C87CCB}" type="datetime1">
              <a:rPr lang="de-DE" noProof="0" smtClean="0"/>
              <a:t>15.11.22</a:t>
            </a:fld>
            <a:endParaRPr lang="de-DE" noProof="0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07D74B38-8548-258C-E24A-CC0064A6E9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/>
              <a:t>© Universität zu Lübeck</a:t>
            </a:r>
            <a:endParaRPr lang="de-DE" noProof="0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5D0CA9A8-1676-2235-4614-F6A9FDAD2C4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 noProof="0"/>
              <a:t>Seite</a:t>
            </a:r>
            <a:r>
              <a:rPr lang="en-US"/>
              <a:t> </a:t>
            </a:r>
            <a:fld id="{401BA3E4-5E55-4F99-AF09-CC6D6B2539E2}" type="slidenum">
              <a:rPr lang="en-US" smtClean="0"/>
              <a:pPr/>
              <a:t>9</a:t>
            </a:fld>
            <a:endParaRPr lang="en-US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11B7D8A0-0ED8-25CD-E8BA-150ABFC3D2E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8199" y="1703388"/>
            <a:ext cx="11233150" cy="1877309"/>
          </a:xfrm>
        </p:spPr>
        <p:txBody>
          <a:bodyPr/>
          <a:lstStyle/>
          <a:p>
            <a:pPr lvl="2"/>
            <a:r>
              <a:rPr lang="de-DE" dirty="0"/>
              <a:t>Datensatz</a:t>
            </a:r>
          </a:p>
          <a:p>
            <a:pPr lvl="3"/>
            <a:r>
              <a:rPr lang="de-DE" dirty="0"/>
              <a:t>Bereitgestellt vom Institut für Kardiogenetik (vielen Dank!)</a:t>
            </a:r>
          </a:p>
          <a:p>
            <a:pPr lvl="3"/>
            <a:r>
              <a:rPr lang="de-DE" dirty="0"/>
              <a:t>7357 Schnittbilder, 731 Maus IDs</a:t>
            </a:r>
          </a:p>
          <a:p>
            <a:pPr lvl="3"/>
            <a:r>
              <a:rPr lang="de-DE" dirty="0"/>
              <a:t>Daten vorbereitet mit Skripten</a:t>
            </a:r>
          </a:p>
          <a:p>
            <a:pPr lvl="4"/>
            <a:r>
              <a:rPr lang="de-DE" dirty="0"/>
              <a:t>Rausfiltern von beschädigten Bildern</a:t>
            </a:r>
          </a:p>
          <a:p>
            <a:pPr lvl="4"/>
            <a:r>
              <a:rPr lang="de-DE" dirty="0"/>
              <a:t>Teils große visuelle Unterschiede</a:t>
            </a:r>
          </a:p>
          <a:p>
            <a:pPr lvl="3"/>
            <a:endParaRPr lang="de-DE" dirty="0"/>
          </a:p>
          <a:p>
            <a:pPr lvl="3"/>
            <a:endParaRPr lang="de-DE" dirty="0"/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BABB432D-DA4F-9BCE-D7A8-C5B54655A204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21502" y="191192"/>
            <a:ext cx="3744886" cy="1130532"/>
          </a:xfrm>
          <a:prstGeom prst="rect">
            <a:avLst/>
          </a:prstGeom>
          <a:noFill/>
        </p:spPr>
      </p:pic>
      <p:sp>
        <p:nvSpPr>
          <p:cNvPr id="11" name="Textplatzhalter 8">
            <a:extLst>
              <a:ext uri="{FF2B5EF4-FFF2-40B4-BE49-F238E27FC236}">
                <a16:creationId xmlns:a16="http://schemas.microsoft.com/office/drawing/2014/main" id="{C9E0DEF1-EF96-6235-7D83-68019294224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9425" y="778321"/>
            <a:ext cx="11233150" cy="312008"/>
          </a:xfrm>
        </p:spPr>
        <p:txBody>
          <a:bodyPr/>
          <a:lstStyle/>
          <a:p>
            <a:r>
              <a:rPr lang="de-DE" dirty="0"/>
              <a:t>Datensatz </a:t>
            </a:r>
          </a:p>
        </p:txBody>
      </p:sp>
      <p:pic>
        <p:nvPicPr>
          <p:cNvPr id="6" name="Grafik 5" descr="Ein Bild, das Karte enthält.&#10;&#10;Automatisch generierte Beschreibung">
            <a:extLst>
              <a:ext uri="{FF2B5EF4-FFF2-40B4-BE49-F238E27FC236}">
                <a16:creationId xmlns:a16="http://schemas.microsoft.com/office/drawing/2014/main" id="{D0253086-C4D5-7868-3687-22B91B858F4E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21057" y="3962361"/>
            <a:ext cx="1920000" cy="1440000"/>
          </a:xfrm>
          <a:prstGeom prst="rect">
            <a:avLst/>
          </a:prstGeom>
        </p:spPr>
      </p:pic>
      <p:pic>
        <p:nvPicPr>
          <p:cNvPr id="9" name="Grafik 8" descr="Ein Bild, das Text, Buch enthält.&#10;&#10;Automatisch generierte Beschreibung">
            <a:extLst>
              <a:ext uri="{FF2B5EF4-FFF2-40B4-BE49-F238E27FC236}">
                <a16:creationId xmlns:a16="http://schemas.microsoft.com/office/drawing/2014/main" id="{64A9DCB1-43E2-62DE-2A3F-6CCC5184AD27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933278" y="3962361"/>
            <a:ext cx="1939897" cy="1440000"/>
          </a:xfrm>
          <a:prstGeom prst="rect">
            <a:avLst/>
          </a:prstGeom>
        </p:spPr>
      </p:pic>
      <p:pic>
        <p:nvPicPr>
          <p:cNvPr id="10" name="Grafik 9">
            <a:extLst>
              <a:ext uri="{FF2B5EF4-FFF2-40B4-BE49-F238E27FC236}">
                <a16:creationId xmlns:a16="http://schemas.microsoft.com/office/drawing/2014/main" id="{7D189FDF-F57E-9C1D-2D7B-D403CB6966F7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5498" y="3962361"/>
            <a:ext cx="1939897" cy="1440000"/>
          </a:xfrm>
          <a:prstGeom prst="rect">
            <a:avLst/>
          </a:prstGeom>
        </p:spPr>
      </p:pic>
      <p:pic>
        <p:nvPicPr>
          <p:cNvPr id="15" name="Grafik 14" descr="Ein Bild, das Karte enthält.&#10;&#10;Automatisch generierte Beschreibung">
            <a:extLst>
              <a:ext uri="{FF2B5EF4-FFF2-40B4-BE49-F238E27FC236}">
                <a16:creationId xmlns:a16="http://schemas.microsoft.com/office/drawing/2014/main" id="{CC8C3211-2711-9D3A-E630-2CD792C413ED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59509" y="1703388"/>
            <a:ext cx="1920000" cy="1440000"/>
          </a:xfrm>
          <a:prstGeom prst="rect">
            <a:avLst/>
          </a:prstGeom>
        </p:spPr>
      </p:pic>
      <p:pic>
        <p:nvPicPr>
          <p:cNvPr id="16" name="Grafik 15">
            <a:extLst>
              <a:ext uri="{FF2B5EF4-FFF2-40B4-BE49-F238E27FC236}">
                <a16:creationId xmlns:a16="http://schemas.microsoft.com/office/drawing/2014/main" id="{A40567AD-5698-4C8D-CC63-86C5E64518F8}"/>
              </a:ext>
            </a:extLst>
          </p:cNvPr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982642" y="1703388"/>
            <a:ext cx="1920000" cy="144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2415179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3634,796"/>
  <p:tag name="ORIGINALWIDTH" val="4734,908"/>
  <p:tag name="LATEXADDIN" val="\documentclass{article}&#10;\usepackage{amsmath}&#10;\pagestyle{empty}&#10;\usepackage{tikz}&#10;\usepackage{amssymb}&#10;\usetikzlibrary{arrows.meta}&#10;\usetikzlibrary{quotes,angles}&#10;\usetikzlibrary{arrows}&#10;\usepackage{amsmath}&#10;\usepackage{tabularx}&#10;%\usepackage{tabular*}&#10;\usepackage{multirow}&#10;\usepackage{graphicx}&#10;\usepackage{colortbl}&#10;\usepackage{color}&#10;\usepackage{tikz}&#10;\usepackage{amssymb}&#10;\usetikzlibrary{arrows.meta}&#10;\usetikzlibrary{quotes,angles}&#10;\usetikzlibrary{arrows}&#10;\usepackage{amsmath}&#10;\usepackage{longtable}&#10;\usepackage{adjustbox}&#10;\usepackage{multirow}&#10;\usepackage{makecell}&#10;\begin{document}&#10;&#10;\begin{table}[h!]&#10;\centering&#10;\begin{adjustbox}{max width=\linewidth}&#10;\begin{tabular}{|c|c|c|c|c|c|}&#10;    %\hline&#10;    %\multicolumn{2}{|c|}{1. order risk factor, effective independent of other factors} \\&#10;    \hline&#10;   \makecell{Folder\\ID}&amp; \makecell{Number of\\images} &amp; \makecell{Number\\of IDs} &amp; Microscope(s) &amp; \makecell{Acquisition\\date(s)} &amp; Resolution(s) \\ % &amp; \makecell{Knockout\\Gene(s)} \\ %&#10;    \hline&#10;    1  &amp; 353 &amp; 35 &amp; \multirow{3}{*}{Keyence BZ-9000}  &amp; 06.03.2020 &amp; \multirow{2}{*}{$2720 \times 2048$} \\ % &amp; Apoe  \\&#10;    %\hline&#10;    \cline{1-3}&#10;    \cline{5-5}&#10;    2  &amp; 165 &amp; 16 &amp;  &amp; 09.10.2020 &amp; \\ % &amp; Apoe  \\&#10;    %\hline&#10;    \cline{1-3}&#10;    \cline{5-6}&#10;    3  &amp; 391 &amp; 34 &amp;  &amp; 01.07.2020 &amp; \multirow{2}{*}{$ 1040 \times 772 $} \\ % &amp; Apoe  \\&#10;    \cline{1-5}&#10;    4  &amp; 1075 &amp; 63 &amp; Olympus IX70  &amp; 26.01.2015 &amp; \\ % &amp; Apoe ± Cyp17a1  \\&#10;    \hline&#10;    5 &amp; 278 &amp; 16 &amp; Keyence BZ-X800 &amp; 13.06.2020 &amp; $ 4080 \times 2048 $ \\ % &amp; Apoe ± Phactr1  \\&#10;    \hline&#10;    6  &amp; 271 &amp; 25 &amp; \multirow{3}{*}{Keyence BZ-9000} &amp; 10.04.2020 &amp; $ 1040 \times 772 $ \\ % &amp; Apoe  \\&#10;    %\hline&#10;    \cline{1-3}&#10;    \cline{5-6}&#10;    7  &amp; 216 &amp; 3 &amp;  &amp; \multirow{2}{*}{12.05.2020}  &amp; $ 2720 \times 2048 $ \\ % &amp; Apoe ± Adamts7  \\&#10;    %\hline&#10;    \cline{1-3}&#10;    \cline{6-6}&#10;    8  &amp; 322 &amp; 29 &amp; &amp; &amp; \multirow{2}{*}{$ 1040 \times 772 $}  \\ % &amp; Apoe ± Adamts7  \\&#10;    \cline{1-5}&#10;    9  &amp; 396 &amp; 32 &amp; Olympus IX70 &amp; 05.02.2014 &amp; \\ % &amp; Apoe ± Zc3hc1  \\&#10;    \hline&#10;    10  &amp; 483 &amp; 44  &amp; \makecell{Keyence BZ-9000\\Keyence BZ-X800} &amp; \makecell{20.05.2020\\07.07.2020} &amp; \makecell{$ 1920 \times 1440 $\\$ 2720 \times 2048 $} \\ % &amp; Apoe ± Cxcl12  \\&#10;    \hline&#10;    11  &amp; 232 &amp; 23 &amp; \multirow{8}{*}{Keyence BZ-X800} &amp; 17.12.2020 &amp; \multirow{2}{*}{$ 1920 \times 1440 $} \\ % &amp; Apoe ± Mras  \\&#10;    %\hline&#10;    \cline{1-3}&#10;    \cline{5-5}&#10;    12  &amp; 565 &amp; 50 &amp; &amp; 24.11.2021 &amp;  \\ % &amp; Apoe ± Mras  \\&#10;    %\hline&#10;    \cline{1-3}&#10;    \cline{5-6}&#10;    13  &amp; 642 &amp; 179 &amp;  &amp; 18.11.2020 &amp; \makecell{$ 960 \times 720 $\\$ 1920 \times 1440 $\\$ 2720 \times 2048 $} \\ % &amp; Apoe, Inbred mice   \\&#10;    %\hline&#10;    \cline{1-3}&#10;    \cline{5-6}&#10;    14  &amp; 569 &amp; 48 &amp;  &amp; 01.07.2022 &amp; $ 1920 \times 1440 $  \\ %&amp; \makecell{Apoe treated\\with siRNA\\ against Adamts7}  \\&#10;    %\hline&#10;    \cline{1-3}&#10;    \cline{5-6}&#10;    15  &amp; 1103 &amp; 104 &amp; &amp; 15.02.2022 &amp;  \makecell{$ 960 \times 720 $\\$ 1920 \times 1440 $} \\ % &amp; Apoe + AAV-PCSK9  \\&#10;    \hline&#10;    16  &amp; 296 &amp; 30 &amp; Keyence BZ-9000 &amp; 01.09.2020 &amp; $ 2720 \times 2048 $  \\ %&amp; Apoe ± Cxcl12  \\&#10;    \hline&#10;    16 total &amp; 7357 total &amp; 731 total &amp; \makecell{3 different\\microscopes} &amp; 8+ years &amp; \makecell{5 different\\resolutions} \\ % &amp; \makecell{multiple Apoe\\knockout variants} \\&#10;    \hline&#10;&#10;    \hline&#10;\end{tabular} &#10;\end{adjustbox}&#10;\end{table}&#10;&#10;&#10;\end{document}"/>
  <p:tag name="IGUANATEXSIZE" val="14"/>
  <p:tag name="IGUANATEXCURSOR" val="3342"/>
  <p:tag name="TRANSPARENCY" val="Wahr"/>
  <p:tag name="LATEXENGINEID" val="0"/>
  <p:tag name="TEMPFOLDER" val="c:\temp\"/>
  <p:tag name="LATEXFORMHEIGHT" val="312"/>
  <p:tag name="LATEXFORMWIDTH" val="384"/>
  <p:tag name="LATEXFORMWRAP" val="Wahr"/>
  <p:tag name="BITMAPVECTOR" val="0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3634.796"/>
  <p:tag name="ORIGINALWIDTH" val="4734.908"/>
  <p:tag name="LATEXADDIN" val="\documentclass{article}&#10;\usepackage{amsmath}&#10;\pagestyle{empty}&#10;\usepackage{tikz}&#10;\usepackage{amssymb}&#10;\usetikzlibrary{arrows.meta}&#10;\usetikzlibrary{quotes,angles}&#10;\usetikzlibrary{arrows}&#10;\usepackage{amsmath}&#10;\usepackage{tabularx}&#10;%\usepackage{tabular*}&#10;\usepackage{multirow}&#10;\usepackage{graphicx}&#10;\usepackage{colortbl}&#10;\usepackage{color}&#10;\usepackage{tikz}&#10;\usepackage{amssymb}&#10;\usetikzlibrary{arrows.meta}&#10;\usetikzlibrary{quotes,angles}&#10;\usetikzlibrary{arrows}&#10;\usepackage{amsmath}&#10;\usepackage{longtable}&#10;\usepackage{adjustbox}&#10;\usepackage{multirow}&#10;\usepackage{makecell}&#10;\begin{document}&#10;&#10;\begin{table}[h!]&#10;\centering&#10;\begin{adjustbox}{max width=\linewidth}&#10;\begin{tabular}{|c|c|c|c|c|c|}&#10;    %\hline&#10;    %\multicolumn{2}{|c|}{1. order risk factor, effective independent of other factors} \\&#10;    \hline&#10;   \makecell{Folder\\ID}&amp; \makecell{Number of\\images} &amp; \makecell{Number\\of IDs} &amp; Microscope(s) &amp; \makecell{Acquisition\\date(s)} &amp; Resolution(s) \\ % &amp; \makecell{Knockout\\Gene(s)} \\ %&#10;    \hline&#10;    1  &amp; 353 &amp; 35 &amp; \multirow{3}{*}{Keyence BZ-9000}  &amp; 06.03.2020 &amp; \multirow{2}{*}{$2720 \times 2048$} \\ % &amp; Apoe  \\&#10;    %\hline&#10;    \cline{1-3}&#10;    \cline{5-5}&#10;    2  &amp; 165 &amp; 16 &amp;  &amp; 09.10.2020 &amp; \\ % &amp; Apoe  \\&#10;    %\hline&#10;    \cline{1-3}&#10;    \cline{5-6}&#10;    3  &amp; 391 &amp; 34 &amp;  &amp; 01.07.2020 &amp; \multirow{2}{*}{$ 1040 \times 772 $} \\ % &amp; Apoe  \\&#10;    \cline{1-5}&#10;    4  &amp; 1075 &amp; 63 &amp; Olympus IX70  &amp; 26.01.2015 &amp; \\ % &amp; Apoe ± Cyp17a1  \\&#10;    \hline&#10;    5 &amp; 278 &amp; 16 &amp; Keyence BZ-X800 &amp; 13.06.2020 &amp; $ 4080 \times 2048 $ \\ % &amp; Apoe ± Phactr1  \\&#10;    \hline&#10;    6  &amp; 271 &amp; 25 &amp; \multirow{3}{*}{Keyence BZ-9000} &amp; 10.04.2020 &amp; $ 1040 \times 772 $ \\ % &amp; Apoe  \\&#10;    %\hline&#10;    \cline{1-3}&#10;    \cline{5-6}&#10;    7  &amp; 216 &amp; 3 &amp;  &amp; \multirow{2}{*}{12.05.2020}  &amp; $ 2720 \times 2048 $ \\ % &amp; Apoe ± Adamts7  \\&#10;    %\hline&#10;    \cline{1-3}&#10;    \cline{6-6}&#10;    8  &amp; 322 &amp; 29 &amp; &amp; &amp; \multirow{2}{*}{$ 1040 \times 772 $}  \\ % &amp; Apoe ± Adamts7  \\&#10;    \cline{1-5}&#10;    9  &amp; 396 &amp; 32 &amp; Olympus IX70 &amp; 05.02.2014 &amp; \\ % &amp; Apoe ± Zc3hc1  \\&#10;    \hline&#10;    10  &amp; 483 &amp; 44  &amp; \makecell{Keyence BZ-9000\\Keyence BZ-X800} &amp; \makecell{20.05.2020\\07.07.2020} &amp; \makecell{$ 1920 \times 1440 $\\$ 2720 \times 2048 $} \\ % &amp; Apoe ± Cxcl12  \\&#10;    \hline&#10;    11  &amp; 232 &amp; 23 &amp; \multirow{8}{*}{Keyence BZ-X800} &amp; 17.12.2020 &amp; \multirow{2}{*}{$ 1920 \times 1440 $} \\ % &amp; Apoe ± Mras  \\&#10;    %\hline&#10;    \cline{1-3}&#10;    \cline{5-5}&#10;    12  &amp; 565 &amp; 50 &amp; &amp; 24.11.2021 &amp;  \\ % &amp; Apoe ± Mras  \\&#10;    %\hline&#10;    \cline{1-3}&#10;    \cline{5-6}&#10;    13  &amp; 642 &amp; 179 &amp;  &amp; 18.11.2020 &amp; \makecell{$ 960 \times 720 $\\$ 1920 \times 1440 $\\$ 2720 \times 2048 $} \\ % &amp; Apoe, Inbred mice   \\&#10;    %\hline&#10;    \cline{1-3}&#10;    \cline{5-6}&#10;    14  &amp; 569 &amp; 48 &amp;  &amp; 01.07.2022 &amp; $ 1920 \times 1440 $  \\ %&amp; \makecell{Apoe treated\\with siRNA\\ against Adamts7}  \\&#10;    %\hline&#10;    \cline{1-3}&#10;    \cline{5-6}&#10;    15  &amp; 1103 &amp; 104 &amp; &amp; 15.02.2022 &amp;  \makecell{$ 960 \times 720 $\\$ 1920 \times 1440 $} \\ % &amp; Apoe + AAV-PCSK9  \\&#10;    \hline&#10;    16  &amp; 296 &amp; 30 &amp; Keyence BZ-9000 &amp; 01.09.2020 &amp; $ 2720 \times 2048 $  \\ %&amp; Apoe ± Cxcl12  \\&#10;    \hline&#10;    16 total &amp; 7357 total &amp; 731 total &amp; \makecell{3 different\\microscopes} &amp; 8+ years &amp; \makecell{5 different\\resolutions} \\ % &amp; \makecell{multiple Apoe\\knockout variants} \\&#10;    \hline&#10;&#10;    \hline&#10;\end{tabular} &#10;\end{adjustbox}&#10;\end{table}&#10;&#10;&#10;\end{document}"/>
  <p:tag name="IGUANATEXSIZE" val="14"/>
  <p:tag name="IGUANATEXCURSOR" val="3342"/>
  <p:tag name="TRANSPARENCY" val="Falsch"/>
  <p:tag name="LATEXENGINEID" val="0"/>
  <p:tag name="TEMPFOLDER" val="c:\temp\"/>
  <p:tag name="LATEXFORMHEIGHT" val="312"/>
  <p:tag name="LATEXFORMWIDTH" val="384"/>
  <p:tag name="LATEXFORMWRAP" val="Wahr"/>
  <p:tag name="BITMAPVECTOR" val="0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767.1541"/>
  <p:tag name="ORIGINALWIDTH" val="4229.471"/>
  <p:tag name="LATEXADDIN" val="\documentclass{article}&#10;\usepackage{amsmath}&#10;\pagestyle{empty}&#10;\usepackage{adjustbox}&#10;\usepackage{tabularx}&#10;\usepackage{makecell}&#10;\usepackage{multirow}&#10;\begin{document}&#10;&#10;&#10;\begin{table}[!h]&#10;\centering&#10;\begin{adjustbox}{max width=\linewidth}&#10;\begin{tabular}{|c|c|c|c|c|}&#10;    %\hline&#10;    %\multicolumn{2}{|c|}{1. order risk factor, effective independent of other factors} \\&#10;    \hline&#10;    Method &amp; Mean IOU &amp; SD &amp; \makecell{Mean IOU\\$&lt; 0.5$ in $\%$}  &amp;\makecell{Mean IOU\\$&lt; 0.7$ in $\%$} \\&#10;    \hline&#10;    single-network approach &amp; 0.7793 &amp; 0.1042 &amp; 1.3 &amp; 19.2\\&#10;    \hline&#10;    GT ROI &amp; \textbf{0.7884} &amp; \textbf{0.0896} &amp; \textbf{0.8} &amp; \textbf{17.4} \\&#10;    GT ROI scaled &amp; 0.7859 &amp; 0.0904 &amp; 0.9 &amp; 17.9 \\&#10;    \hline&#10;\end{tabular} &#10;\end{adjustbox}&#10;\end{table}&#10;&#10;\end{document}"/>
  <p:tag name="IGUANATEXSIZE" val="14"/>
  <p:tag name="IGUANATEXCURSOR" val="748"/>
  <p:tag name="TRANSPARENCY" val="Falsch"/>
  <p:tag name="LATEXENGINEID" val="0"/>
  <p:tag name="TEMPFOLDER" val="c:\temp\"/>
  <p:tag name="LATEXFORMHEIGHT" val="312"/>
  <p:tag name="LATEXFORMWIDTH" val="384"/>
  <p:tag name="LATEXFORMWRAP" val="Wahr"/>
  <p:tag name="BITMAPVECTOR" val="0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767.1541"/>
  <p:tag name="ORIGINALWIDTH" val="4229.471"/>
  <p:tag name="LATEXADDIN" val="\documentclass{article}&#10;\usepackage{amsmath}&#10;\pagestyle{empty}&#10;\usepackage{adjustbox}&#10;\usepackage{tabularx}&#10;\usepackage{makecell}&#10;\usepackage{multirow}&#10;\begin{document}&#10;&#10;&#10;\begin{table}[!h]&#10;\centering&#10;\begin{adjustbox}{max width=\linewidth}&#10;\begin{tabular}{|c|c|c|c|c|}&#10;    %\hline&#10;    %\multicolumn{2}{|c|}{1. order risk factor, effective independent of other factors} \\&#10;    \hline&#10;    Method &amp; Mean IOU &amp; SD &amp; \makecell{Mean IOU\\$&lt; 0.5$ in $\%$}  &amp;\makecell{Mean IOU\\$&lt; 0.7$ in $\%$} \\&#10;    \hline&#10;    single-network approach &amp; 0.7793 &amp; 0.1042 &amp; 1.3 &amp; 19.2\\&#10;    \hline&#10;    GT ROI &amp; \textbf{0.7884} &amp; \textbf{0.0896} &amp; \textbf{0.8} &amp; \textbf{17.4} \\&#10;    GT ROI scaled &amp; 0.7859 &amp; 0.0904 &amp; 0.9 &amp; 17.9 \\&#10;    \hline&#10;\end{tabular} &#10;\end{adjustbox}&#10;\end{table}&#10;&#10;\end{document}"/>
  <p:tag name="IGUANATEXSIZE" val="14"/>
  <p:tag name="IGUANATEXCURSOR" val="748"/>
  <p:tag name="TRANSPARENCY" val="Falsch"/>
  <p:tag name="LATEXENGINEID" val="0"/>
  <p:tag name="TEMPFOLDER" val="c:\temp\"/>
  <p:tag name="LATEXFORMHEIGHT" val="312"/>
  <p:tag name="LATEXFORMWIDTH" val="384"/>
  <p:tag name="LATEXFORMWRAP" val="Wahr"/>
  <p:tag name="BITMAPVECTOR" val="0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767.1541"/>
  <p:tag name="ORIGINALWIDTH" val="4229.471"/>
  <p:tag name="LATEXADDIN" val="\documentclass{article}&#10;\usepackage{amsmath}&#10;\pagestyle{empty}&#10;\usepackage{adjustbox}&#10;\usepackage{tabularx}&#10;\usepackage{makecell}&#10;\usepackage{multirow}&#10;\begin{document}&#10;&#10;&#10;\begin{table}[!h]&#10;\centering&#10;\begin{adjustbox}{max width=\linewidth}&#10;\begin{tabular}{|c|c|c|c|c|}&#10;    %\hline&#10;    %\multicolumn{2}{|c|}{1. order risk factor, effective independent of other factors} \\&#10;    \hline&#10;    Method &amp; Mean IOU &amp; SD &amp; \makecell{Mean IOU\\$&lt; 0.5$ in $\%$}  &amp;\makecell{Mean IOU\\$&lt; 0.7$ in $\%$} \\&#10;    \hline&#10;    single-network approach &amp; 0.7793 &amp; 0.1042 &amp; 1.3 &amp; 19.2\\&#10;    \hline&#10;    GT ROI &amp; \textbf{0.7884} &amp; \textbf{0.0896} &amp; \textbf{0.8} &amp; \textbf{17.4} \\&#10;    GT ROI scaled &amp; 0.7859 &amp; 0.0904 &amp; 0.9 &amp; 17.9 \\&#10;    \hline&#10;\end{tabular} &#10;\end{adjustbox}&#10;\end{table}&#10;&#10;\end{document}"/>
  <p:tag name="IGUANATEXSIZE" val="14"/>
  <p:tag name="IGUANATEXCURSOR" val="748"/>
  <p:tag name="TRANSPARENCY" val="Falsch"/>
  <p:tag name="LATEXENGINEID" val="0"/>
  <p:tag name="TEMPFOLDER" val="c:\temp\"/>
  <p:tag name="LATEXFORMHEIGHT" val="312"/>
  <p:tag name="LATEXFORMWIDTH" val="384"/>
  <p:tag name="LATEXFORMWRAP" val="Wahr"/>
  <p:tag name="BITMAPVECTOR" val="0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070.866"/>
  <p:tag name="ORIGINALWIDTH" val="3747.281"/>
  <p:tag name="LATEXADDIN" val="\documentclass{article}&#10;\usepackage{amsmath}&#10;\pagestyle{empty}&#10;\usepackage{adjustbox}&#10;\usepackage{tabularx}&#10;\usepackage{makecell}&#10;\usepackage{multirow}&#10;\begin{document}&#10;&#10;&#10;\begin{table}[!h]&#10;\centering&#10;\begin{adjustbox}{max width=\linewidth}&#10;\begin{tabular}{|c|c|c|c|c|}&#10;    %\hline&#10;    %\multicolumn{2}{|c|}{1. order risk factor, effective independent of other factors} \\&#10;    \hline&#10;    Method &amp; Mean IOU &amp; SD &amp; \makecell{Mean IOU\\$&lt; 0.5$ in $\%$}  &amp;\makecell{Mean IOU\\$&lt; 0.7$ in $\%$} \\&#10;    \hline&#10;    \makecell{single-network \\approach} &amp; 0.7793 &amp; 0.1042 &amp; 1.3 &amp; 19.2\\&#10;    \hline&#10;    \makecell{single-network \\approach ROI} &amp; 0.7835 &amp; 0.1009 &amp; 1.4 &amp; 17.9\\&#10;    \hline&#10;    YOLOv5n ROI &amp; \textbf{0.7906} &amp; \textbf{0.0892} &amp; \textbf{0.7} &amp; \textbf{16.1}\\&#10;\hline&#10;\end{tabular} &#10;\end{adjustbox}&#10;\end{table}&#10;&#10;\end{document}"/>
  <p:tag name="IGUANATEXSIZE" val="14"/>
  <p:tag name="IGUANATEXCURSOR" val="767"/>
  <p:tag name="TRANSPARENCY" val="Falsch"/>
  <p:tag name="LATEXENGINEID" val="0"/>
  <p:tag name="TEMPFOLDER" val="c:\temp\"/>
  <p:tag name="LATEXFORMHEIGHT" val="312"/>
  <p:tag name="LATEXFORMWIDTH" val="384"/>
  <p:tag name="LATEXFORMWRAP" val="Wahr"/>
  <p:tag name="BITMAPVECTOR" val="0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070.866"/>
  <p:tag name="ORIGINALWIDTH" val="3747.281"/>
  <p:tag name="LATEXADDIN" val="\documentclass{article}&#10;\usepackage{amsmath}&#10;\pagestyle{empty}&#10;\usepackage{adjustbox}&#10;\usepackage{tabularx}&#10;\usepackage{makecell}&#10;\usepackage{multirow}&#10;\begin{document}&#10;&#10;&#10;\begin{table}[!h]&#10;\centering&#10;\begin{adjustbox}{max width=\linewidth}&#10;\begin{tabular}{|c|c|c|c|c|}&#10;    %\hline&#10;    %\multicolumn{2}{|c|}{1. order risk factor, effective independent of other factors} \\&#10;    \hline&#10;    Method &amp; Mean IOU &amp; SD &amp; \makecell{Mean IOU\\$&lt; 0.5$ in $\%$}  &amp;\makecell{Mean IOU\\$&lt; 0.7$ in $\%$} \\&#10;    \hline&#10;    \makecell{single-network \\approach} &amp; 0.7793 &amp; 0.1042 &amp; 1.3 &amp; 19.2\\&#10;    \hline&#10;    \makecell{single-network \\approach ROI} &amp; 0.7835 &amp; 0.1009 &amp; 1.4 &amp; 17.9\\&#10;    \hline&#10;    YOLOv5n ROI &amp; \textbf{0.7906} &amp; \textbf{0.0892} &amp; \textbf{0.7} &amp; \textbf{16.1}\\&#10;\hline&#10;\end{tabular} &#10;\end{adjustbox}&#10;\end{table}&#10;&#10;\end{document}"/>
  <p:tag name="IGUANATEXSIZE" val="14"/>
  <p:tag name="IGUANATEXCURSOR" val="767"/>
  <p:tag name="TRANSPARENCY" val="Falsch"/>
  <p:tag name="LATEXENGINEID" val="0"/>
  <p:tag name="TEMPFOLDER" val="c:\temp\"/>
  <p:tag name="LATEXFORMHEIGHT" val="312"/>
  <p:tag name="LATEXFORMWIDTH" val="384"/>
  <p:tag name="LATEXFORMWRAP" val="Wahr"/>
  <p:tag name="BITMAPVECTOR" val="0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592,4259"/>
  <p:tag name="ORIGINALWIDTH" val="3768,279"/>
  <p:tag name="LATEXADDIN" val="\documentclass{article}&#10;\usepackage{amsmath}&#10;\pagestyle{empty}&#10;\begin{document}&#10;&#10;&#10;\begin{align*}&#10;J_{\text{reconstruction}}&amp;=\left\|\mathbf{X}-U_{Dec}\left(U_{Enc}\left(\mathbf{X} ; W_{Enc}\right) ; W_{Dec}\right)\right\|_2^2 \\&#10;J_{\text {soft N-cut}}(V, K)&amp;=K-\sum_{k=1}^K \frac{\sum_{u \in V} p\left(u=A_k\right) \sum_{u \in V} w(u, v) p\left(v=A_k\right)}{\sum_{u \in V} p\left(u=A_k\right) \sum_{t \in V} w(u, t)}&#10;\end{align*}&#10;&#10;\end{document}"/>
  <p:tag name="IGUANATEXSIZE" val="14"/>
  <p:tag name="IGUANATEXCURSOR" val="416"/>
  <p:tag name="TRANSPARENCY" val="Wahr"/>
  <p:tag name="LATEXENGINEID" val="0"/>
  <p:tag name="TEMPFOLDER" val="c:\temp\"/>
  <p:tag name="LATEXFORMHEIGHT" val="312"/>
  <p:tag name="LATEXFORMWIDTH" val="384"/>
  <p:tag name="LATEXFORMWRAP" val="Wahr"/>
  <p:tag name="BITMAPVECTOR" val="0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365.9543"/>
  <p:tag name="ORIGINALWIDTH" val="3313.836"/>
  <p:tag name="LATEXADDIN" val="\documentclass{article}&#10;\usepackage{amsmath}&#10;\pagestyle{empty}&#10;\begin{document}&#10;&#10;&#10;\begin{equation*}&#10;\begin{aligned}&#10;J_{\text{Soft N-Cut}}&amp;=K-\sum_{k=1}^K \frac{\sum_{u \in V, v \in V} w(u, v) p\left(u=A_k\right) p\left(v=A_k\right)}{\sum_{u \in A_k, t \in V} w(u, t) p\left(u=A_k\right)}&#10;\end{aligned}&#10;\end{equation*}&#10;&#10;\end{document}"/>
  <p:tag name="IGUANATEXSIZE" val="14"/>
  <p:tag name="IGUANATEXCURSOR" val="136"/>
  <p:tag name="TRANSPARENCY" val="Wahr"/>
  <p:tag name="LATEXENGINEID" val="0"/>
  <p:tag name="TEMPFOLDER" val="c:\temp\"/>
  <p:tag name="LATEXFORMHEIGHT" val="312"/>
  <p:tag name="LATEXFORMWIDTH" val="384"/>
  <p:tag name="LATEXFORMWRAP" val="Wahr"/>
  <p:tag name="BITMAPVECTOR" val="0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568,429"/>
  <p:tag name="ORIGINALWIDTH" val="2983,877"/>
  <p:tag name="LATEXADDIN" val="\documentclass{article}&#10;\usepackage{amsmath}&#10;\pagestyle{empty}&#10;\begin{document}&#10;&#10;\begin{equation*}&#10;\begin{array}{ll}&#10;A_k &amp; \text { Set of pixels in segment } k \\&#10;V &amp; \text { Set of all pixels } \\&#10;w &amp; \text { Weight between two pixels } \\&#10;p\left(u=A_k\right) &amp; \text { Probability of node } u \text { belongs to class } A_k&#10;\end{array}&#10;\end{equation*}&#10;&#10;&#10;\end{document}"/>
  <p:tag name="IGUANATEXSIZE" val="14"/>
  <p:tag name="IGUANATEXCURSOR" val="97"/>
  <p:tag name="TRANSPARENCY" val="Wahr"/>
  <p:tag name="LATEXENGINEID" val="0"/>
  <p:tag name="TEMPFOLDER" val="c:\temp\"/>
  <p:tag name="LATEXFORMHEIGHT" val="312"/>
  <p:tag name="LATEXFORMWIDTH" val="384"/>
  <p:tag name="LATEXFORMWRAP" val="Wahr"/>
  <p:tag name="BITMAPVECTOR" val="0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87,73905"/>
  <p:tag name="ORIGINALWIDTH" val="89,23882"/>
  <p:tag name="LATEXADDIN" val="\documentclass{article}&#10;\usepackage{amsmath}&#10;\pagestyle{empty}&#10;\begin{document}&#10;&#10;$V$&#10;&#10;&#10;\end{document}"/>
  <p:tag name="IGUANATEXSIZE" val="14"/>
  <p:tag name="IGUANATEXCURSOR" val="84"/>
  <p:tag name="TRANSPARENCY" val="Wahr"/>
  <p:tag name="LATEXENGINEID" val="0"/>
  <p:tag name="TEMPFOLDER" val="c:\temp\"/>
  <p:tag name="LATEXFORMHEIGHT" val="312"/>
  <p:tag name="LATEXFORMWIDTH" val="384"/>
  <p:tag name="LATEXFORMWRAP" val="Wahr"/>
  <p:tag name="BITMAPVECTOR" val="0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10,2362"/>
  <p:tag name="ORIGINALWIDTH" val="1129,359"/>
  <p:tag name="LATEXADDIN" val="\documentclass{article}&#10;\usepackage{amsmath}&#10;\pagestyle{empty}&#10;\begin{document}&#10;&#10;Example: $k=1,...,5$&#10;&#10;&#10;\end{document}"/>
  <p:tag name="IGUANATEXSIZE" val="14"/>
  <p:tag name="IGUANATEXCURSOR" val="101"/>
  <p:tag name="TRANSPARENCY" val="Wahr"/>
  <p:tag name="LATEXENGINEID" val="0"/>
  <p:tag name="TEMPFOLDER" val="c:\temp\"/>
  <p:tag name="LATEXFORMHEIGHT" val="312"/>
  <p:tag name="LATEXFORMWIDTH" val="384"/>
  <p:tag name="LATEXFORMWRAP" val="Wahr"/>
  <p:tag name="BITMAPVECTOR" val="0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07,9865"/>
  <p:tag name="ORIGINALWIDTH" val="130,4837"/>
  <p:tag name="LATEXADDIN" val="\documentclass{article}&#10;\usepackage{amsmath}&#10;\pagestyle{empty}&#10;\begin{document}&#10;&#10;&#10;$A_1$&#10;&#10;\end{document}"/>
  <p:tag name="IGUANATEXSIZE" val="14"/>
  <p:tag name="IGUANATEXCURSOR" val="0"/>
  <p:tag name="TRANSPARENCY" val="Wahr"/>
  <p:tag name="LATEXENGINEID" val="0"/>
  <p:tag name="TEMPFOLDER" val="c:\temp\"/>
  <p:tag name="LATEXFORMHEIGHT" val="312"/>
  <p:tag name="LATEXFORMWIDTH" val="384"/>
  <p:tag name="LATEXFORMWRAP" val="Wahr"/>
  <p:tag name="BITMAPVECTOR" val="0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07,9865"/>
  <p:tag name="ORIGINALWIDTH" val="380,2025"/>
  <p:tag name="LATEXADDIN" val="\documentclass{article}&#10;\usepackage{amsmath}&#10;\pagestyle{empty}&#10;\begin{document}&#10;&#10;&#10;$V - A_1$&#10;&#10;\end{document}"/>
  <p:tag name="IGUANATEXSIZE" val="14"/>
  <p:tag name="IGUANATEXCURSOR" val="87"/>
  <p:tag name="TRANSPARENCY" val="Wahr"/>
  <p:tag name="LATEXENGINEID" val="0"/>
  <p:tag name="TEMPFOLDER" val="c:\temp\"/>
  <p:tag name="LATEXFORMHEIGHT" val="312"/>
  <p:tag name="LATEXFORMWIDTH" val="384"/>
  <p:tag name="LATEXFORMWRAP" val="Wahr"/>
  <p:tag name="BITMAPVECTOR" val="0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391.4511"/>
  <p:tag name="ORIGINALWIDTH" val="3448.819"/>
  <p:tag name="LATEXADDIN" val="\documentclass{article}&#10;\usepackage{amsmath}&#10;\pagestyle{empty}&#10;\begin{document}&#10;&#10;&#10;\begin{equation*}&#10;w_{i j}=e^{\frac{-\|F(i)-F(j)\|_2^2}{\sigma_I^2}} *\left\{\begin{array}{cc}&#10;e^\frac{-\|X(i)-X(j)\|_2^2}{\sigma_X^2} &amp; \text { if }\|X(i)-X(j)\|_2&lt;r_1 \\&#10;0 &amp; \text { otherwise }&#10;\end{array}\right.&#10;\end{equation*}&#10;&#10;\end{document}"/>
  <p:tag name="IGUANATEXSIZE" val="14"/>
  <p:tag name="IGUANATEXCURSOR" val="295"/>
  <p:tag name="TRANSPARENCY" val="Wahr"/>
  <p:tag name="LATEXENGINEID" val="0"/>
  <p:tag name="TEMPFOLDER" val="c:\temp\"/>
  <p:tag name="LATEXFORMHEIGHT" val="312"/>
  <p:tag name="LATEXFORMWIDTH" val="384"/>
  <p:tag name="LATEXFORMWRAP" val="Wahr"/>
  <p:tag name="BITMAPVECTOR" val="0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451.4435"/>
  <p:tag name="ORIGINALWIDTH" val="3642.295"/>
  <p:tag name="LATEXADDIN" val="\documentclass{article}&#10;\usepackage{amsmath}&#10;\pagestyle{empty}&#10;\begin{document}&#10;&#10;\begin{equation*}&#10;w_{i j}=e^{\frac{-\|F(i)-F(j)\|_2^2}{\sigma_I^2}} *\left\{\begin{array}{ccc}&#10;1 &amp; \text { if }\|X(i)-X(j)\|_2=0 \\&#10;\frac{1}{\|X(i)-X(j)\|_2^2} &amp; \text { else if }\|X(i)-X(j)\|_2&lt;r_1 %\text{ and }\|X(i)-X(j)\|_2\neq0 &#10;\\&#10;0 &amp; \text { otherwise }&#10;\end{array}\right.&#10;\end{equation*}&#10;&#10;\end{document}"/>
  <p:tag name="IGUANATEXSIZE" val="14"/>
  <p:tag name="IGUANATEXCURSOR" val="97"/>
  <p:tag name="TRANSPARENCY" val="Wahr"/>
  <p:tag name="LATEXENGINEID" val="0"/>
  <p:tag name="TEMPFOLDER" val="c:\temp\"/>
  <p:tag name="LATEXFORMHEIGHT" val="312"/>
  <p:tag name="LATEXFORMWIDTH" val="384"/>
  <p:tag name="LATEXFORMWRAP" val="Wahr"/>
  <p:tag name="BITMAPVECTOR" val="0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332.9583"/>
  <p:tag name="ORIGINALWIDTH" val="2778.403"/>
  <p:tag name="LATEXADDIN" val="\documentclass{article}&#10;\usepackage{amsmath}&#10;\pagestyle{empty}&#10;\begin{document}&#10;\begin{equation*}&#10;w_{i j}=e^{\frac{-\|F(i)-F(j)\|_2^2}{\sigma_I^2}} *\left\{\begin{array}{cc}&#10;1 &amp; \text { if }\|X(i)-X(j)\|_2&lt;r_1&#10;\\&#10;0 &amp; \text { otherwise }&#10;\end{array}\right.&#10;\end{equation*}&#10;&#10;&#10;&#10;\end{document}"/>
  <p:tag name="IGUANATEXSIZE" val="14"/>
  <p:tag name="IGUANATEXCURSOR" val="255"/>
  <p:tag name="TRANSPARENCY" val="Wahr"/>
  <p:tag name="LATEXENGINEID" val="0"/>
  <p:tag name="TEMPFOLDER" val="c:\temp\"/>
  <p:tag name="LATEXFORMHEIGHT" val="312"/>
  <p:tag name="LATEXFORMWIDTH" val="384"/>
  <p:tag name="LATEXFORMWRAP" val="Wahr"/>
  <p:tag name="BITMAPVECTOR" val="0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540.6824"/>
  <p:tag name="ORIGINALWIDTH" val="4280.465"/>
  <p:tag name="LATEXADDIN" val="\documentclass{article}&#10;\usepackage{amsmath}&#10;\pagestyle{empty}&#10;\begin{document}&#10;\begin{equation*}&#10;w_{i j}=e^{\frac{-\|F(i)-F(j)\|_2^2}{\sigma_I^2}} *\left\{\begin{array}{ccc}&#10;e^\frac{-\|X(i)-X(j)\|_2^2}{\sigma_X^2} &amp; \text { if }\|X(i)-X(j)\|_2&lt;r_1 \\&#10;1 &amp; \text { if } r_1&lt;\|X(i)-X(j)\|_2&lt;r_2&#10;\\&#10;0 &amp; \text { otherwise }&#10;\end{array}\right.&#10;, r_1 &lt; r_2 &#10;\end{equation*}&#10;&#10;&#10;&#10;\end{document}"/>
  <p:tag name="IGUANATEXSIZE" val="14"/>
  <p:tag name="IGUANATEXCURSOR" val="351"/>
  <p:tag name="TRANSPARENCY" val="Wahr"/>
  <p:tag name="LATEXENGINEID" val="0"/>
  <p:tag name="TEMPFOLDER" val="c:\temp\"/>
  <p:tag name="LATEXFORMHEIGHT" val="312"/>
  <p:tag name="LATEXFORMWIDTH" val="384"/>
  <p:tag name="LATEXFORMWRAP" val="Wahr"/>
  <p:tag name="BITMAPVECTOR" val="0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25,2343"/>
  <p:tag name="ORIGINALWIDTH" val="220,4724"/>
  <p:tag name="LATEXADDIN" val="\documentclass{article}&#10;\usepackage{amsmath}&#10;\pagestyle{empty}&#10;\begin{document}&#10;&#10;&#10;$F(i)$&#10;&#10;\end{document}"/>
  <p:tag name="IGUANATEXSIZE" val="14"/>
  <p:tag name="IGUANATEXCURSOR" val="82"/>
  <p:tag name="TRANSPARENCY" val="Wahr"/>
  <p:tag name="FILENAME" val=""/>
  <p:tag name="LATEXENGINEID" val="0"/>
  <p:tag name="TEMPFOLDER" val="c:\temp\"/>
  <p:tag name="LATEXFORMHEIGHT" val="312"/>
  <p:tag name="LATEXFORMWIDTH" val="384"/>
  <p:tag name="LATEXFORMWRAP" val="Wahr"/>
  <p:tag name="BITMAPVECTOR" val="0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25,2343"/>
  <p:tag name="ORIGINALWIDTH" val="235,4706"/>
  <p:tag name="LATEXADDIN" val="\documentclass{article}&#10;\usepackage{amsmath}&#10;\pagestyle{empty}&#10;\begin{document}&#10;&#10;&#10;$F(j)$&#10;\end{document}"/>
  <p:tag name="IGUANATEXSIZE" val="14"/>
  <p:tag name="IGUANATEXCURSOR" val="86"/>
  <p:tag name="TRANSPARENCY" val="Wahr"/>
  <p:tag name="FILENAME" val=""/>
  <p:tag name="LATEXENGINEID" val="0"/>
  <p:tag name="TEMPFOLDER" val="c:\temp\"/>
  <p:tag name="LATEXFORMHEIGHT" val="312"/>
  <p:tag name="LATEXFORMWIDTH" val="384"/>
  <p:tag name="LATEXFORMWRAP" val="Wahr"/>
  <p:tag name="BITMAPVECTOR" val="0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25,2343"/>
  <p:tag name="ORIGINALWIDTH" val="237,7203"/>
  <p:tag name="LATEXADDIN" val="\documentclass{article}&#10;\usepackage{amsmath}&#10;\pagestyle{empty}&#10;\begin{document}&#10;&#10;&#10;$X(i)$&#10;&#10;\end{document}"/>
  <p:tag name="IGUANATEXSIZE" val="14"/>
  <p:tag name="IGUANATEXCURSOR" val="84"/>
  <p:tag name="TRANSPARENCY" val="Wahr"/>
  <p:tag name="FILENAME" val=""/>
  <p:tag name="LATEXENGINEID" val="0"/>
  <p:tag name="TEMPFOLDER" val="c:\temp\"/>
  <p:tag name="LATEXFORMHEIGHT" val="312"/>
  <p:tag name="LATEXFORMWIDTH" val="384"/>
  <p:tag name="LATEXFORMWRAP" val="Wahr"/>
  <p:tag name="BITMAPVECTOR" val="0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25,2343"/>
  <p:tag name="ORIGINALWIDTH" val="252,7184"/>
  <p:tag name="LATEXADDIN" val="\documentclass{article}&#10;\usepackage{amsmath}&#10;\pagestyle{empty}&#10;\begin{document}&#10;&#10;&#10;$X(j)$&#10;&#10;\end{document}"/>
  <p:tag name="IGUANATEXSIZE" val="14"/>
  <p:tag name="IGUANATEXCURSOR" val="84"/>
  <p:tag name="TRANSPARENCY" val="Wahr"/>
  <p:tag name="FILENAME" val=""/>
  <p:tag name="LATEXENGINEID" val="0"/>
  <p:tag name="TEMPFOLDER" val="c:\temp\"/>
  <p:tag name="LATEXFORMHEIGHT" val="312"/>
  <p:tag name="LATEXFORMWIDTH" val="384"/>
  <p:tag name="LATEXFORMWRAP" val="Wahr"/>
  <p:tag name="BITMAPVECTOR" val="0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56,24299"/>
  <p:tag name="ORIGINALWIDTH" val="51,74354"/>
  <p:tag name="LATEXADDIN" val="\documentclass{article}&#10;\usepackage{amsmath}&#10;\pagestyle{empty}&#10;\begin{document}&#10;&#10;&#10;$r$&#10;&#10;\end{document}"/>
  <p:tag name="IGUANATEXSIZE" val="14"/>
  <p:tag name="IGUANATEXCURSOR" val="84"/>
  <p:tag name="TRANSPARENCY" val="Wahr"/>
  <p:tag name="FILENAME" val=""/>
  <p:tag name="LATEXENGINEID" val="0"/>
  <p:tag name="TEMPFOLDER" val="c:\temp\"/>
  <p:tag name="LATEXFORMHEIGHT" val="312"/>
  <p:tag name="LATEXFORMWIDTH" val="384"/>
  <p:tag name="LATEXFORMWRAP" val="Wahr"/>
  <p:tag name="BITMAPVECTOR" val="0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IMT_Master">
  <a:themeElements>
    <a:clrScheme name="Benutzerdefiniert ">
      <a:dk1>
        <a:srgbClr val="000000"/>
      </a:dk1>
      <a:lt1>
        <a:srgbClr val="FFFFFF"/>
      </a:lt1>
      <a:dk2>
        <a:srgbClr val="ED7308"/>
      </a:dk2>
      <a:lt2>
        <a:srgbClr val="A6B4BB"/>
      </a:lt2>
      <a:accent1>
        <a:srgbClr val="5F93A0"/>
      </a:accent1>
      <a:accent2>
        <a:srgbClr val="084653"/>
      </a:accent2>
      <a:accent3>
        <a:srgbClr val="218F85"/>
      </a:accent3>
      <a:accent4>
        <a:srgbClr val="95BA22"/>
      </a:accent4>
      <a:accent5>
        <a:srgbClr val="3EA6D5"/>
      </a:accent5>
      <a:accent6>
        <a:srgbClr val="0868A2"/>
      </a:accent6>
      <a:hlink>
        <a:srgbClr val="ED7209"/>
      </a:hlink>
      <a:folHlink>
        <a:srgbClr val="813411"/>
      </a:folHlink>
    </a:clrScheme>
    <a:fontScheme name="Benutzerdefiniert 4">
      <a:majorFont>
        <a:latin typeface="Myriad Pro Bold"/>
        <a:ea typeface=""/>
        <a:cs typeface=""/>
      </a:majorFont>
      <a:minorFont>
        <a:latin typeface="Myriad Pr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CCDEE5"/>
        </a:solidFill>
        <a:ln w="9525">
          <a:noFill/>
        </a:ln>
      </a:spPr>
      <a:bodyPr lIns="108000" tIns="108000" rIns="108000" bIns="108000" rtlCol="0" anchor="ctr"/>
      <a:lstStyle>
        <a:defPPr marL="180000" indent="-180000" algn="l">
          <a:lnSpc>
            <a:spcPts val="1960"/>
          </a:lnSpc>
          <a:buClr>
            <a:schemeClr val="accent1"/>
          </a:buClr>
          <a:buFont typeface="Wingdings" panose="05000000000000000000" pitchFamily="2" charset="2"/>
          <a:buChar char="§"/>
          <a:defRPr sz="1400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bg2"/>
          </a:solidFill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/>
      <a:bodyPr vert="horz" lIns="0" tIns="0" rIns="0" bIns="0" rtlCol="0" anchor="ctr">
        <a:noAutofit/>
      </a:bodyPr>
      <a:lstStyle>
        <a:defPPr algn="l">
          <a:defRPr dirty="0" smtClean="0"/>
        </a:defPPr>
      </a:lstStyle>
    </a:txDef>
  </a:objectDefaults>
  <a:extraClrSchemeLst/>
  <a:custClrLst>
    <a:custClr>
      <a:srgbClr val="C32434"/>
    </a:custClr>
    <a:custClr>
      <a:srgbClr val="823511"/>
    </a:custClr>
    <a:custClr>
      <a:srgbClr val="F9BC01"/>
    </a:custClr>
    <a:custClr>
      <a:srgbClr val="96BC21"/>
    </a:custClr>
    <a:custClr>
      <a:srgbClr val="3CB2A0"/>
    </a:custClr>
    <a:custClr>
      <a:srgbClr val="02AFC9"/>
    </a:custClr>
    <a:custClr>
      <a:srgbClr val="3DA8D7"/>
    </a:custClr>
    <a:custClr>
      <a:srgbClr val="6DA5CF"/>
    </a:custClr>
    <a:custClr>
      <a:srgbClr val="046AA4"/>
    </a:custClr>
    <a:custClr>
      <a:srgbClr val="00466F"/>
    </a:custClr>
    <a:custClr>
      <a:srgbClr val="FFFFFF"/>
    </a:custClr>
    <a:custClr>
      <a:srgbClr val="C3D8E7"/>
    </a:custClr>
    <a:custClr>
      <a:srgbClr val="E2E3E9"/>
    </a:custClr>
    <a:custClr>
      <a:srgbClr val="EC7409"/>
    </a:custClr>
    <a:custClr>
      <a:srgbClr val="228F85"/>
    </a:custClr>
    <a:custClr>
      <a:srgbClr val="005878"/>
    </a:custClr>
    <a:custClr>
      <a:srgbClr val="A8B4BC"/>
    </a:custClr>
    <a:custClr>
      <a:srgbClr val="748A95"/>
    </a:custClr>
    <a:custClr>
      <a:srgbClr val="416674"/>
    </a:custClr>
    <a:custClr>
      <a:srgbClr val="084855"/>
    </a:custClr>
  </a:custClrLst>
  <a:extLst>
    <a:ext uri="{05A4C25C-085E-4340-85A3-A5531E510DB2}">
      <thm15:themeFamily xmlns:thm15="http://schemas.microsoft.com/office/thememl/2012/main" name="Präsentation2" id="{8DB28FF1-EF0C-AB47-ADD2-B3701622A942}" vid="{7A9445FB-DF54-6245-977A-FB91E1CC7E65}"/>
    </a:ext>
  </a:extLst>
</a:theme>
</file>

<file path=ppt/theme/theme2.xml><?xml version="1.0" encoding="utf-8"?>
<a:theme xmlns:a="http://schemas.openxmlformats.org/drawingml/2006/main" name="Office">
  <a:themeElements>
    <a:clrScheme name="Fraunhofer_Color">
      <a:dk1>
        <a:sysClr val="windowText" lastClr="000000"/>
      </a:dk1>
      <a:lt1>
        <a:sysClr val="window" lastClr="FFFFFF"/>
      </a:lt1>
      <a:dk2>
        <a:srgbClr val="F58220"/>
      </a:dk2>
      <a:lt2>
        <a:srgbClr val="A6BBC8"/>
      </a:lt2>
      <a:accent1>
        <a:srgbClr val="179C7D"/>
      </a:accent1>
      <a:accent2>
        <a:srgbClr val="005B7F"/>
      </a:accent2>
      <a:accent3>
        <a:srgbClr val="A6BBC8"/>
      </a:accent3>
      <a:accent4>
        <a:srgbClr val="008598"/>
      </a:accent4>
      <a:accent5>
        <a:srgbClr val="39C1CD"/>
      </a:accent5>
      <a:accent6>
        <a:srgbClr val="B2D235"/>
      </a:accent6>
      <a:hlink>
        <a:srgbClr val="179C7D"/>
      </a:hlink>
      <a:folHlink>
        <a:srgbClr val="005B7F"/>
      </a:folHlink>
    </a:clrScheme>
    <a:fontScheme name="Fraunhofer_Fonts">
      <a:majorFont>
        <a:latin typeface="Frutiger LT Com 65 Bold"/>
        <a:ea typeface=""/>
        <a:cs typeface=""/>
      </a:majorFont>
      <a:minorFont>
        <a:latin typeface="Frutiger LT Com 45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">
  <a:themeElements>
    <a:clrScheme name="Fraunhofer_Color">
      <a:dk1>
        <a:sysClr val="windowText" lastClr="000000"/>
      </a:dk1>
      <a:lt1>
        <a:sysClr val="window" lastClr="FFFFFF"/>
      </a:lt1>
      <a:dk2>
        <a:srgbClr val="F58220"/>
      </a:dk2>
      <a:lt2>
        <a:srgbClr val="A6BBC8"/>
      </a:lt2>
      <a:accent1>
        <a:srgbClr val="179C7D"/>
      </a:accent1>
      <a:accent2>
        <a:srgbClr val="005B7F"/>
      </a:accent2>
      <a:accent3>
        <a:srgbClr val="A6BBC8"/>
      </a:accent3>
      <a:accent4>
        <a:srgbClr val="008598"/>
      </a:accent4>
      <a:accent5>
        <a:srgbClr val="39C1CD"/>
      </a:accent5>
      <a:accent6>
        <a:srgbClr val="B2D235"/>
      </a:accent6>
      <a:hlink>
        <a:srgbClr val="179C7D"/>
      </a:hlink>
      <a:folHlink>
        <a:srgbClr val="005B7F"/>
      </a:folHlink>
    </a:clrScheme>
    <a:fontScheme name="Fraunhofer_Fonts">
      <a:majorFont>
        <a:latin typeface="Frutiger LT Com 65 Bold"/>
        <a:ea typeface=""/>
        <a:cs typeface=""/>
      </a:majorFont>
      <a:minorFont>
        <a:latin typeface="Frutiger LT Com 45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039377FE83A67F4988E961D192D3414D" ma:contentTypeVersion="8" ma:contentTypeDescription="Ein neues Dokument erstellen." ma:contentTypeScope="" ma:versionID="849b618796bbc7b8f96673b85e864ec5">
  <xsd:schema xmlns:xsd="http://www.w3.org/2001/XMLSchema" xmlns:xs="http://www.w3.org/2001/XMLSchema" xmlns:p="http://schemas.microsoft.com/office/2006/metadata/properties" xmlns:ns2="facc5145-35ff-4c0a-9b46-e9e93fea1c16" xmlns:ns3="19f10573-07cb-4dde-a70b-e6033e9777e6" targetNamespace="http://schemas.microsoft.com/office/2006/metadata/properties" ma:root="true" ma:fieldsID="a00fb642c64faeeee8071a711f5fc577" ns2:_="" ns3:_="">
    <xsd:import namespace="facc5145-35ff-4c0a-9b46-e9e93fea1c16"/>
    <xsd:import namespace="19f10573-07cb-4dde-a70b-e6033e9777e6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acc5145-35ff-4c0a-9b46-e9e93fea1c16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Bildmarkierungen" ma:readOnly="false" ma:fieldId="{5cf76f15-5ced-4ddc-b409-7134ff3c332f}" ma:taxonomyMulti="true" ma:sspId="6eb20c4f-c5c2-492b-9954-d638c64bfe97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9f10573-07cb-4dde-a70b-e6033e9777e6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117e9eea-ee7b-458e-b9d7-e82240a1a0ea}" ma:internalName="TaxCatchAll" ma:showField="CatchAllData" ma:web="19f10573-07cb-4dde-a70b-e6033e9777e6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042178E5-70D4-4B18-92A8-2C91B414C51A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facc5145-35ff-4c0a-9b46-e9e93fea1c16"/>
    <ds:schemaRef ds:uri="19f10573-07cb-4dde-a70b-e6033e9777e6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80F9F46C-4E95-4A86-9B6B-3C1F7C22D650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</TotalTime>
  <Words>2372</Words>
  <Application>Microsoft Macintosh PowerPoint</Application>
  <PresentationFormat>Widescreen</PresentationFormat>
  <Paragraphs>749</Paragraphs>
  <Slides>53</Slides>
  <Notes>21</Notes>
  <HiddenSlides>0</HiddenSlides>
  <MMClips>1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3</vt:i4>
      </vt:variant>
    </vt:vector>
  </HeadingPairs>
  <TitlesOfParts>
    <vt:vector size="63" baseType="lpstr">
      <vt:lpstr>Arial</vt:lpstr>
      <vt:lpstr>Cambria Math</vt:lpstr>
      <vt:lpstr>Frutiger LT Com 45 Light</vt:lpstr>
      <vt:lpstr>Frutiger LT Com 55 Roman</vt:lpstr>
      <vt:lpstr>Frutiger LT Com 65 Bold</vt:lpstr>
      <vt:lpstr>Myriad Pro</vt:lpstr>
      <vt:lpstr>Myriad Pro Bold</vt:lpstr>
      <vt:lpstr>Wingdings</vt:lpstr>
      <vt:lpstr>IMT_Master</vt:lpstr>
      <vt:lpstr>think-cell Folie</vt:lpstr>
      <vt:lpstr>PowerPoint Presentation</vt:lpstr>
      <vt:lpstr>Gliederung</vt:lpstr>
      <vt:lpstr>PowerPoint Presentation</vt:lpstr>
      <vt:lpstr>Einleitung</vt:lpstr>
      <vt:lpstr>Einleitung</vt:lpstr>
      <vt:lpstr>Einleitung</vt:lpstr>
      <vt:lpstr>Gliederung</vt:lpstr>
      <vt:lpstr>PowerPoint Presentation</vt:lpstr>
      <vt:lpstr>Methoden</vt:lpstr>
      <vt:lpstr>Methoden</vt:lpstr>
      <vt:lpstr>Gliederung</vt:lpstr>
      <vt:lpstr>Methoden</vt:lpstr>
      <vt:lpstr>Methoden</vt:lpstr>
      <vt:lpstr>Methoden</vt:lpstr>
      <vt:lpstr>Methoden</vt:lpstr>
      <vt:lpstr>Methoden</vt:lpstr>
      <vt:lpstr>Methoden</vt:lpstr>
      <vt:lpstr>Methoden</vt:lpstr>
      <vt:lpstr>Methoden</vt:lpstr>
      <vt:lpstr>Methoden</vt:lpstr>
      <vt:lpstr>Gliederung</vt:lpstr>
      <vt:lpstr>Methoden</vt:lpstr>
      <vt:lpstr>Methoden</vt:lpstr>
      <vt:lpstr>Methoden</vt:lpstr>
      <vt:lpstr>Methoden</vt:lpstr>
      <vt:lpstr>Methoden</vt:lpstr>
      <vt:lpstr>Methoden</vt:lpstr>
      <vt:lpstr>Methoden</vt:lpstr>
      <vt:lpstr>Gliederung</vt:lpstr>
      <vt:lpstr>Methoden</vt:lpstr>
      <vt:lpstr>Methoden</vt:lpstr>
      <vt:lpstr>Methoden</vt:lpstr>
      <vt:lpstr>Methoden</vt:lpstr>
      <vt:lpstr>Methoden</vt:lpstr>
      <vt:lpstr>Methoden</vt:lpstr>
      <vt:lpstr>Methoden</vt:lpstr>
      <vt:lpstr>Methoden</vt:lpstr>
      <vt:lpstr>Methoden</vt:lpstr>
      <vt:lpstr>Evaluation</vt:lpstr>
      <vt:lpstr>Gliederung</vt:lpstr>
      <vt:lpstr>Methoden</vt:lpstr>
      <vt:lpstr>Methoden</vt:lpstr>
      <vt:lpstr>Methoden</vt:lpstr>
      <vt:lpstr>Methoden</vt:lpstr>
      <vt:lpstr>Gliederung</vt:lpstr>
      <vt:lpstr>Methoden</vt:lpstr>
      <vt:lpstr>Grundlagen</vt:lpstr>
      <vt:lpstr>Methoden</vt:lpstr>
      <vt:lpstr>Evaluation</vt:lpstr>
      <vt:lpstr>Methoden</vt:lpstr>
      <vt:lpstr>PowerPoint Presentation</vt:lpstr>
      <vt:lpstr>Diskussion und Ausblick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Sandy Bever</dc:creator>
  <cp:lastModifiedBy>Malte Schmitz</cp:lastModifiedBy>
  <cp:revision>64</cp:revision>
  <dcterms:created xsi:type="dcterms:W3CDTF">2022-10-20T09:14:10Z</dcterms:created>
  <dcterms:modified xsi:type="dcterms:W3CDTF">2022-11-15T20:55:00Z</dcterms:modified>
</cp:coreProperties>
</file>